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1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2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3.xml" ContentType="application/vnd.openxmlformats-officedocument.themeOverr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4.xml" ContentType="application/vnd.openxmlformats-officedocument.themeOverr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5.xml" ContentType="application/vnd.openxmlformats-officedocument.themeOverr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5.xml" ContentType="application/vnd.openxmlformats-officedocument.presentationml.notesSlide+xml"/>
  <Override PartName="/ppt/comments/modernComment_7FFFD5FF_EE8FD724.xml" ContentType="application/vnd.ms-powerpoint.comment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omments/modernComment_7FFFD5DD_D5B8D47B.xml" ContentType="application/vnd.ms-powerpoint.comment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1.xml" ContentType="application/vnd.openxmlformats-officedocument.presentationml.tags+xml"/>
  <Override PartName="/ppt/notesSlides/notesSlide16.xml" ContentType="application/vnd.openxmlformats-officedocument.presentationml.notesSlide+xml"/>
  <Override PartName="/ppt/tags/tag2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7" r:id="rId2"/>
    <p:sldMasterId id="2147483694" r:id="rId3"/>
  </p:sldMasterIdLst>
  <p:notesMasterIdLst>
    <p:notesMasterId r:id="rId56"/>
  </p:notesMasterIdLst>
  <p:sldIdLst>
    <p:sldId id="263" r:id="rId4"/>
    <p:sldId id="260" r:id="rId5"/>
    <p:sldId id="337" r:id="rId6"/>
    <p:sldId id="838841311" r:id="rId7"/>
    <p:sldId id="838841305" r:id="rId8"/>
    <p:sldId id="838841306" r:id="rId9"/>
    <p:sldId id="838841307" r:id="rId10"/>
    <p:sldId id="838841308" r:id="rId11"/>
    <p:sldId id="838841309" r:id="rId12"/>
    <p:sldId id="838841310" r:id="rId13"/>
    <p:sldId id="838841312" r:id="rId14"/>
    <p:sldId id="2147375939" r:id="rId15"/>
    <p:sldId id="2147375941" r:id="rId16"/>
    <p:sldId id="2765" r:id="rId17"/>
    <p:sldId id="838841314" r:id="rId18"/>
    <p:sldId id="2147375945" r:id="rId19"/>
    <p:sldId id="2147375946" r:id="rId20"/>
    <p:sldId id="2147375947" r:id="rId21"/>
    <p:sldId id="2147375949" r:id="rId22"/>
    <p:sldId id="2147375954" r:id="rId23"/>
    <p:sldId id="2147375955" r:id="rId24"/>
    <p:sldId id="2147375953" r:id="rId25"/>
    <p:sldId id="2147375952" r:id="rId26"/>
    <p:sldId id="2147375956" r:id="rId27"/>
    <p:sldId id="2147472884" r:id="rId28"/>
    <p:sldId id="280" r:id="rId29"/>
    <p:sldId id="2147472842" r:id="rId30"/>
    <p:sldId id="2147472895" r:id="rId31"/>
    <p:sldId id="2147472869" r:id="rId32"/>
    <p:sldId id="2147472849" r:id="rId33"/>
    <p:sldId id="2145705383" r:id="rId34"/>
    <p:sldId id="2147472883" r:id="rId35"/>
    <p:sldId id="2147472854" r:id="rId36"/>
    <p:sldId id="2147472853" r:id="rId37"/>
    <p:sldId id="2147472861" r:id="rId38"/>
    <p:sldId id="2147374379" r:id="rId39"/>
    <p:sldId id="2145705388" r:id="rId40"/>
    <p:sldId id="2147472836" r:id="rId41"/>
    <p:sldId id="2147472837" r:id="rId42"/>
    <p:sldId id="2147472896" r:id="rId43"/>
    <p:sldId id="312" r:id="rId44"/>
    <p:sldId id="313" r:id="rId45"/>
    <p:sldId id="2145705289" r:id="rId46"/>
    <p:sldId id="2147472902" r:id="rId47"/>
    <p:sldId id="2147472897" r:id="rId48"/>
    <p:sldId id="2147472898" r:id="rId49"/>
    <p:sldId id="2147472899" r:id="rId50"/>
    <p:sldId id="2147472900" r:id="rId51"/>
    <p:sldId id="2147472901" r:id="rId52"/>
    <p:sldId id="2141411857" r:id="rId53"/>
    <p:sldId id="2147375938" r:id="rId54"/>
    <p:sldId id="2699" r:id="rId55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ção Padrão" id="{3BB8083F-8884-43EA-A82F-ABBF6E99A148}">
          <p14:sldIdLst>
            <p14:sldId id="263"/>
            <p14:sldId id="260"/>
            <p14:sldId id="337"/>
          </p14:sldIdLst>
        </p14:section>
        <p14:section name="Itaú Estratégia" id="{B5882446-0924-4D51-9998-63296B06BC5C}">
          <p14:sldIdLst>
            <p14:sldId id="838841311"/>
            <p14:sldId id="838841305"/>
            <p14:sldId id="838841306"/>
            <p14:sldId id="838841307"/>
            <p14:sldId id="838841308"/>
            <p14:sldId id="838841309"/>
            <p14:sldId id="838841310"/>
          </p14:sldIdLst>
        </p14:section>
        <p14:section name="DT + Produtos Digitais" id="{04FD0B06-92D0-4ED8-A4E5-2ED739D3692C}">
          <p14:sldIdLst>
            <p14:sldId id="838841312"/>
            <p14:sldId id="2147375939"/>
            <p14:sldId id="2147375941"/>
            <p14:sldId id="2765"/>
            <p14:sldId id="838841314"/>
            <p14:sldId id="2147375945"/>
            <p14:sldId id="2147375946"/>
            <p14:sldId id="2147375947"/>
            <p14:sldId id="2147375949"/>
            <p14:sldId id="2147375954"/>
            <p14:sldId id="2147375955"/>
            <p14:sldId id="2147375953"/>
            <p14:sldId id="2147375952"/>
            <p14:sldId id="2147375956"/>
          </p14:sldIdLst>
        </p14:section>
        <p14:section name="Case - Gestão de Conteúdos" id="{D48ADEB2-ECF6-4BEF-BA2B-0805C457FAF8}">
          <p14:sldIdLst>
            <p14:sldId id="2147472884"/>
            <p14:sldId id="280"/>
            <p14:sldId id="2147472842"/>
            <p14:sldId id="2147472895"/>
            <p14:sldId id="2147472869"/>
            <p14:sldId id="2147472849"/>
            <p14:sldId id="2145705383"/>
            <p14:sldId id="2147472883"/>
            <p14:sldId id="2147472854"/>
            <p14:sldId id="2147472853"/>
            <p14:sldId id="2147472861"/>
            <p14:sldId id="2147374379"/>
            <p14:sldId id="2145705388"/>
            <p14:sldId id="2147472836"/>
            <p14:sldId id="2147472837"/>
            <p14:sldId id="2147472896"/>
            <p14:sldId id="312"/>
            <p14:sldId id="313"/>
            <p14:sldId id="2145705289"/>
            <p14:sldId id="2147472902"/>
            <p14:sldId id="2147472897"/>
            <p14:sldId id="2147472898"/>
            <p14:sldId id="2147472899"/>
            <p14:sldId id="2147472900"/>
            <p14:sldId id="2147472901"/>
            <p14:sldId id="2141411857"/>
            <p14:sldId id="2147375938"/>
          </p14:sldIdLst>
        </p14:section>
        <p14:section name="Anexos" id="{2A9F657F-70A1-4383-A684-9411C4241610}">
          <p14:sldIdLst>
            <p14:sldId id="269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9EDA733-6F08-32CB-2B5F-090E3B12BBCD}" name="BEATRIZ" initials="B" userId="S::beatriz.yoshida@itau-unibanco.com.br::84685f39-0541-4cea-b5f4-a0a1a702fe7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F53FF"/>
    <a:srgbClr val="FEBB5A"/>
    <a:srgbClr val="FFFFFF"/>
    <a:srgbClr val="FF6200"/>
    <a:srgbClr val="FF914D"/>
    <a:srgbClr val="EB86B9"/>
    <a:srgbClr val="00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967" autoAdjust="0"/>
    <p:restoredTop sz="94660"/>
  </p:normalViewPr>
  <p:slideViewPr>
    <p:cSldViewPr snapToGrid="0">
      <p:cViewPr varScale="1">
        <p:scale>
          <a:sx n="58" d="100"/>
          <a:sy n="58" d="100"/>
        </p:scale>
        <p:origin x="728" y="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slide" Target="slides/slide50.xml"/><Relationship Id="rId58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presProps" Target="presProps.xml"/><Relationship Id="rId61" Type="http://schemas.microsoft.com/office/2018/10/relationships/authors" Target="author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notesMaster" Target="notesMasters/notesMaster1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51600986394234"/>
          <c:y val="4.6348209528345133E-2"/>
          <c:w val="0.74432561483018977"/>
          <c:h val="0.7282266575496171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DA1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6DF-4C6F-9FD1-46FFB66BFAA6}"/>
              </c:ext>
            </c:extLst>
          </c:dPt>
          <c:dPt>
            <c:idx val="1"/>
            <c:invertIfNegative val="0"/>
            <c:bubble3D val="0"/>
            <c:spPr>
              <a:solidFill>
                <a:srgbClr val="FF78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6DF-4C6F-9FD1-46FFB66BFAA6}"/>
              </c:ext>
            </c:extLst>
          </c:dPt>
          <c:dPt>
            <c:idx val="2"/>
            <c:invertIfNegative val="0"/>
            <c:bubble3D val="0"/>
            <c:spPr>
              <a:solidFill>
                <a:srgbClr val="BF5A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6DF-4C6F-9FD1-46FFB66BFAA6}"/>
              </c:ext>
            </c:extLst>
          </c:dPt>
          <c:dPt>
            <c:idx val="3"/>
            <c:invertIfNegative val="0"/>
            <c:bubble3D val="0"/>
            <c:spPr>
              <a:solidFill>
                <a:srgbClr val="47484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6DF-4C6F-9FD1-46FFB66BFAA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rgbClr val="5F6062"/>
                    </a:solidFill>
                    <a:latin typeface="Itau Display Pro XBold" panose="020B0803020204020204" pitchFamily="34" charset="0"/>
                    <a:ea typeface="+mn-ea"/>
                    <a:cs typeface="Itau Display Pro XBold" panose="020B0803020204020204" pitchFamily="34" charset="0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5</c:f>
              <c:strCache>
                <c:ptCount val="4"/>
                <c:pt idx="0">
                  <c:v>Baixissima</c:v>
                </c:pt>
                <c:pt idx="1">
                  <c:v>Baixa</c:v>
                </c:pt>
                <c:pt idx="2">
                  <c:v>Média</c:v>
                </c:pt>
                <c:pt idx="3">
                  <c:v>Alta</c:v>
                </c:pt>
              </c:strCache>
            </c:strRef>
          </c:cat>
          <c:val>
            <c:numRef>
              <c:f>Planilha1!$B$2:$B$5</c:f>
              <c:numCache>
                <c:formatCode>General</c:formatCode>
                <c:ptCount val="4"/>
                <c:pt idx="0">
                  <c:v>25.4</c:v>
                </c:pt>
                <c:pt idx="1">
                  <c:v>26.2</c:v>
                </c:pt>
                <c:pt idx="2">
                  <c:v>12.5</c:v>
                </c:pt>
                <c:pt idx="3">
                  <c:v>2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6DF-4C6F-9FD1-46FFB66BFAA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0"/>
        <c:axId val="1079260895"/>
        <c:axId val="1706068367"/>
      </c:barChart>
      <c:catAx>
        <c:axId val="107926089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47484A"/>
                </a:solidFill>
                <a:latin typeface="Itau Text" panose="020B0503020204020203" pitchFamily="34" charset="0"/>
                <a:ea typeface="+mn-ea"/>
                <a:cs typeface="Itau Text" panose="020B0503020204020203" pitchFamily="34" charset="0"/>
              </a:defRPr>
            </a:pPr>
            <a:endParaRPr lang="pt-BR"/>
          </a:p>
        </c:txPr>
        <c:crossAx val="1706068367"/>
        <c:crosses val="autoZero"/>
        <c:auto val="1"/>
        <c:lblAlgn val="ctr"/>
        <c:lblOffset val="100"/>
        <c:noMultiLvlLbl val="0"/>
      </c:catAx>
      <c:valAx>
        <c:axId val="1706068367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0792608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32088759785894E-2"/>
          <c:y val="8.2442382374376011E-2"/>
          <c:w val="0.74432561483018977"/>
          <c:h val="0.72822665754961713"/>
        </c:manualLayout>
      </c:layout>
      <c:doughnutChart>
        <c:varyColors val="1"/>
        <c:ser>
          <c:idx val="0"/>
          <c:order val="0"/>
          <c:tx>
            <c:strRef>
              <c:f>Planilha1!$B$1</c:f>
              <c:strCache>
                <c:ptCount val="1"/>
                <c:pt idx="0">
                  <c:v>Série 1</c:v>
                </c:pt>
              </c:strCache>
            </c:strRef>
          </c:tx>
          <c:dPt>
            <c:idx val="0"/>
            <c:bubble3D val="0"/>
            <c:spPr>
              <a:solidFill>
                <a:srgbClr val="47484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DBF-4D64-B661-16EE209C1A4A}"/>
              </c:ext>
            </c:extLst>
          </c:dPt>
          <c:dPt>
            <c:idx val="1"/>
            <c:bubble3D val="0"/>
            <c:spPr>
              <a:solidFill>
                <a:srgbClr val="FDA1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DBF-4D64-B661-16EE209C1A4A}"/>
              </c:ext>
            </c:extLst>
          </c:dPt>
          <c:dPt>
            <c:idx val="2"/>
            <c:bubble3D val="0"/>
            <c:spPr>
              <a:solidFill>
                <a:srgbClr val="FF78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DBF-4D64-B661-16EE209C1A4A}"/>
              </c:ext>
            </c:extLst>
          </c:dPt>
          <c:dLbls>
            <c:dLbl>
              <c:idx val="0"/>
              <c:layout>
                <c:manualLayout>
                  <c:x val="0.18391320872879105"/>
                  <c:y val="-9.2510644187308561E-2"/>
                </c:manualLayout>
              </c:layout>
              <c:tx>
                <c:rich>
                  <a:bodyPr/>
                  <a:lstStyle/>
                  <a:p>
                    <a:fld id="{6AC9390C-DD69-458D-9C29-73729325D457}" type="CATEGORYNAME">
                      <a:rPr lang="en-US"/>
                      <a:pPr/>
                      <a:t>[NOME DA CATEGORIA]</a:t>
                    </a:fld>
                    <a:r>
                      <a:rPr lang="en-US" baseline="0"/>
                      <a:t> </a:t>
                    </a:r>
                  </a:p>
                  <a:p>
                    <a:fld id="{9C213AD2-8AF1-4ABC-B372-A054F5F801EF}" type="VALUE">
                      <a:rPr lang="en-US" baseline="0" smtClean="0"/>
                      <a:pPr/>
                      <a:t>[VALOR]</a:t>
                    </a:fld>
                    <a:r>
                      <a:rPr lang="en-US" baseline="0"/>
                      <a:t> (</a:t>
                    </a:r>
                    <a:fld id="{073BA421-E0CC-4EBD-927D-6C6B81AB30C2}" type="PERCENTAGE">
                      <a:rPr lang="en-US" baseline="0" smtClean="0"/>
                      <a:pPr/>
                      <a:t>[PORCENTAGEM]</a:t>
                    </a:fld>
                    <a:r>
                      <a:rPr lang="en-US" baseline="0"/>
                      <a:t>)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separator>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EDBF-4D64-B661-16EE209C1A4A}"/>
                </c:ext>
              </c:extLst>
            </c:dLbl>
            <c:dLbl>
              <c:idx val="1"/>
              <c:layout>
                <c:manualLayout>
                  <c:x val="-0.1658233849194018"/>
                  <c:y val="0.17577022395588626"/>
                </c:manualLayout>
              </c:layout>
              <c:tx>
                <c:rich>
                  <a:bodyPr/>
                  <a:lstStyle/>
                  <a:p>
                    <a:fld id="{538FCA42-8774-4EA3-AE63-49ADF966BA66}" type="CATEGORYNAME">
                      <a:rPr lang="en-US"/>
                      <a:pPr/>
                      <a:t>[NOME DA CATEGORIA]</a:t>
                    </a:fld>
                    <a:r>
                      <a:rPr lang="en-US" baseline="0"/>
                      <a:t> </a:t>
                    </a:r>
                  </a:p>
                  <a:p>
                    <a:fld id="{E3A4F5EB-B970-496F-BEA6-6A9E0431BFC6}" type="VALUE">
                      <a:rPr lang="en-US" baseline="0" smtClean="0"/>
                      <a:pPr/>
                      <a:t>[VALOR]</a:t>
                    </a:fld>
                    <a:r>
                      <a:rPr lang="en-US" baseline="0"/>
                      <a:t> (</a:t>
                    </a:r>
                    <a:fld id="{8848BE6D-9C53-49B1-BA77-77E8537FEC47}" type="PERCENTAGE">
                      <a:rPr lang="en-US" baseline="0" smtClean="0"/>
                      <a:pPr/>
                      <a:t>[PORCENTAGEM]</a:t>
                    </a:fld>
                    <a:r>
                      <a:rPr lang="en-US" baseline="0"/>
                      <a:t>)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separator>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EDBF-4D64-B661-16EE209C1A4A}"/>
                </c:ext>
              </c:extLst>
            </c:dLbl>
            <c:dLbl>
              <c:idx val="2"/>
              <c:layout>
                <c:manualLayout>
                  <c:x val="-0.22612279761736606"/>
                  <c:y val="-3.7004257674923421E-2"/>
                </c:manualLayout>
              </c:layout>
              <c:tx>
                <c:rich>
                  <a:bodyPr/>
                  <a:lstStyle/>
                  <a:p>
                    <a:fld id="{744CE31A-7045-4535-964C-EF8631C8C627}" type="CATEGORYNAME">
                      <a:rPr lang="en-US"/>
                      <a:pPr/>
                      <a:t>[NOME DA CATEGORIA]</a:t>
                    </a:fld>
                    <a:r>
                      <a:rPr lang="en-US" baseline="0"/>
                      <a:t> </a:t>
                    </a:r>
                    <a:fld id="{C1983774-02FE-433B-9F2B-1F20737D3B3D}" type="VALUE">
                      <a:rPr lang="en-US" baseline="0"/>
                      <a:pPr/>
                      <a:t>[VALOR]</a:t>
                    </a:fld>
                    <a:r>
                      <a:rPr lang="en-US" baseline="0"/>
                      <a:t> (</a:t>
                    </a:r>
                    <a:fld id="{8755837E-0E78-4ABB-88DE-96C11CA51931}" type="PERCENTAGE">
                      <a:rPr lang="en-US" baseline="0" smtClean="0"/>
                      <a:pPr/>
                      <a:t>[PORCENTAGEM]</a:t>
                    </a:fld>
                    <a:r>
                      <a:rPr lang="en-US" baseline="0"/>
                      <a:t>)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separator>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EDBF-4D64-B661-16EE209C1A4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rgbClr val="5F6062"/>
                    </a:solidFill>
                    <a:latin typeface="Itau Display Pro XBold" panose="020B0803020204020204" pitchFamily="34" charset="0"/>
                    <a:ea typeface="+mn-ea"/>
                    <a:cs typeface="Itau Display Pro XBold" panose="020B0803020204020204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1"/>
            <c:showSerName val="0"/>
            <c:showPercent val="1"/>
            <c:showBubbleSize val="0"/>
            <c:separator> 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Planilha1!$A$2:$A$4</c:f>
              <c:strCache>
                <c:ptCount val="3"/>
                <c:pt idx="0">
                  <c:v>Físico</c:v>
                </c:pt>
                <c:pt idx="1">
                  <c:v>Digital</c:v>
                </c:pt>
                <c:pt idx="2">
                  <c:v>Phygital</c:v>
                </c:pt>
              </c:strCache>
            </c:strRef>
          </c:cat>
          <c:val>
            <c:numRef>
              <c:f>Planilha1!$B$2:$B$4</c:f>
              <c:numCache>
                <c:formatCode>General</c:formatCode>
                <c:ptCount val="3"/>
                <c:pt idx="0">
                  <c:v>5.4</c:v>
                </c:pt>
                <c:pt idx="1">
                  <c:v>24.1</c:v>
                </c:pt>
                <c:pt idx="2">
                  <c:v>3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DBF-4D64-B661-16EE209C1A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8512876194364069"/>
          <c:y val="3.1939605110336819E-2"/>
          <c:w val="0.45351624689425585"/>
          <c:h val="0.8605880819775576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rgbClr val="FDA1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DFDFE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6DA1-4A34-A401-5B0092FBDA88}"/>
              </c:ext>
            </c:extLst>
          </c:dPt>
          <c:dPt>
            <c:idx val="1"/>
            <c:invertIfNegative val="0"/>
            <c:bubble3D val="0"/>
            <c:spPr>
              <a:solidFill>
                <a:srgbClr val="DFDFE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6DA1-4A34-A401-5B0092FBDA88}"/>
              </c:ext>
            </c:extLst>
          </c:dPt>
          <c:dPt>
            <c:idx val="2"/>
            <c:invertIfNegative val="0"/>
            <c:bubble3D val="0"/>
            <c:spPr>
              <a:solidFill>
                <a:srgbClr val="DFDFE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6DA1-4A34-A401-5B0092FBDA88}"/>
              </c:ext>
            </c:extLst>
          </c:dPt>
          <c:dPt>
            <c:idx val="3"/>
            <c:invertIfNegative val="0"/>
            <c:bubble3D val="0"/>
            <c:spPr>
              <a:solidFill>
                <a:srgbClr val="DFDFE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6DA1-4A34-A401-5B0092FBDA88}"/>
              </c:ext>
            </c:extLst>
          </c:dPt>
          <c:dPt>
            <c:idx val="4"/>
            <c:invertIfNegative val="0"/>
            <c:bubble3D val="0"/>
            <c:spPr>
              <a:solidFill>
                <a:srgbClr val="1D408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AB8D-421D-9886-FEC7B7AE89B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ctr"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Itau Display Bold" panose="020B0703020204020204" pitchFamily="34" charset="0"/>
                    <a:ea typeface="+mn-ea"/>
                    <a:cs typeface="Itau Display Bold" panose="020B0703020204020204" pitchFamily="34" charset="0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6</c:f>
              <c:strCache>
                <c:ptCount val="5"/>
                <c:pt idx="0">
                  <c:v>Seguros</c:v>
                </c:pt>
                <c:pt idx="1">
                  <c:v>Banco PF</c:v>
                </c:pt>
                <c:pt idx="2">
                  <c:v>Consig Ext</c:v>
                </c:pt>
                <c:pt idx="3">
                  <c:v>WMS</c:v>
                </c:pt>
                <c:pt idx="4">
                  <c:v>Cartões</c:v>
                </c:pt>
              </c:strCache>
            </c:strRef>
          </c:cat>
          <c:val>
            <c:numRef>
              <c:f>Planilha1!$B$2:$B$6</c:f>
              <c:numCache>
                <c:formatCode>General</c:formatCode>
                <c:ptCount val="5"/>
                <c:pt idx="0">
                  <c:v>189</c:v>
                </c:pt>
                <c:pt idx="1">
                  <c:v>515</c:v>
                </c:pt>
                <c:pt idx="2">
                  <c:v>270</c:v>
                </c:pt>
                <c:pt idx="3">
                  <c:v>587</c:v>
                </c:pt>
                <c:pt idx="4">
                  <c:v>1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DA1-4A34-A401-5B0092FBDA88}"/>
            </c:ext>
          </c:extLst>
        </c:ser>
        <c:ser>
          <c:idx val="1"/>
          <c:order val="1"/>
          <c:tx>
            <c:strRef>
              <c:f>Planilha1!$C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rgbClr val="FF78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D408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6DA1-4A34-A401-5B0092FBDA88}"/>
              </c:ext>
            </c:extLst>
          </c:dPt>
          <c:dPt>
            <c:idx val="1"/>
            <c:invertIfNegative val="0"/>
            <c:bubble3D val="0"/>
            <c:spPr>
              <a:solidFill>
                <a:srgbClr val="DFDFE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6DA1-4A34-A401-5B0092FBDA88}"/>
              </c:ext>
            </c:extLst>
          </c:dPt>
          <c:dPt>
            <c:idx val="2"/>
            <c:invertIfNegative val="0"/>
            <c:bubble3D val="0"/>
            <c:spPr>
              <a:solidFill>
                <a:srgbClr val="1D408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6DA1-4A34-A401-5B0092FBDA88}"/>
              </c:ext>
            </c:extLst>
          </c:dPt>
          <c:dPt>
            <c:idx val="3"/>
            <c:invertIfNegative val="0"/>
            <c:bubble3D val="0"/>
            <c:spPr>
              <a:solidFill>
                <a:srgbClr val="DFDFE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DA1-4A34-A401-5B0092FBDA88}"/>
              </c:ext>
            </c:extLst>
          </c:dPt>
          <c:dPt>
            <c:idx val="4"/>
            <c:invertIfNegative val="0"/>
            <c:bubble3D val="0"/>
            <c:spPr>
              <a:solidFill>
                <a:srgbClr val="1D408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AB8D-421D-9886-FEC7B7AE89B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ctr"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Itau Display Bold" panose="020B0703020204020204" pitchFamily="34" charset="0"/>
                    <a:ea typeface="+mn-ea"/>
                    <a:cs typeface="Itau Display Bold" panose="020B0703020204020204" pitchFamily="34" charset="0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6</c:f>
              <c:strCache>
                <c:ptCount val="5"/>
                <c:pt idx="0">
                  <c:v>Seguros</c:v>
                </c:pt>
                <c:pt idx="1">
                  <c:v>Banco PF</c:v>
                </c:pt>
                <c:pt idx="2">
                  <c:v>Consig Ext</c:v>
                </c:pt>
                <c:pt idx="3">
                  <c:v>WMS</c:v>
                </c:pt>
                <c:pt idx="4">
                  <c:v>Cartões</c:v>
                </c:pt>
              </c:strCache>
            </c:strRef>
          </c:cat>
          <c:val>
            <c:numRef>
              <c:f>Planilha1!$C$2:$C$6</c:f>
              <c:numCache>
                <c:formatCode>General</c:formatCode>
                <c:ptCount val="5"/>
                <c:pt idx="0">
                  <c:v>235</c:v>
                </c:pt>
                <c:pt idx="1">
                  <c:v>563</c:v>
                </c:pt>
                <c:pt idx="2">
                  <c:v>333</c:v>
                </c:pt>
                <c:pt idx="3">
                  <c:v>3004</c:v>
                </c:pt>
                <c:pt idx="4">
                  <c:v>1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DA1-4A34-A401-5B0092FBDA88}"/>
            </c:ext>
          </c:extLst>
        </c:ser>
        <c:ser>
          <c:idx val="2"/>
          <c:order val="2"/>
          <c:tx>
            <c:strRef>
              <c:f>Planilha1!$D$1</c:f>
              <c:strCache>
                <c:ptCount val="1"/>
                <c:pt idx="0">
                  <c:v>Série 3</c:v>
                </c:pt>
              </c:strCache>
            </c:strRef>
          </c:tx>
          <c:spPr>
            <a:solidFill>
              <a:srgbClr val="BF5A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D408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6DA1-4A34-A401-5B0092FBDA88}"/>
              </c:ext>
            </c:extLst>
          </c:dPt>
          <c:dPt>
            <c:idx val="1"/>
            <c:invertIfNegative val="0"/>
            <c:bubble3D val="0"/>
            <c:spPr>
              <a:solidFill>
                <a:srgbClr val="1D408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6DA1-4A34-A401-5B0092FBDA88}"/>
              </c:ext>
            </c:extLst>
          </c:dPt>
          <c:dPt>
            <c:idx val="2"/>
            <c:invertIfNegative val="0"/>
            <c:bubble3D val="0"/>
            <c:spPr>
              <a:solidFill>
                <a:srgbClr val="1D408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DA1-4A34-A401-5B0092FBDA88}"/>
              </c:ext>
            </c:extLst>
          </c:dPt>
          <c:dPt>
            <c:idx val="3"/>
            <c:invertIfNegative val="0"/>
            <c:bubble3D val="0"/>
            <c:spPr>
              <a:solidFill>
                <a:srgbClr val="1D408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6DA1-4A34-A401-5B0092FBDA88}"/>
              </c:ext>
            </c:extLst>
          </c:dPt>
          <c:dPt>
            <c:idx val="4"/>
            <c:invertIfNegative val="0"/>
            <c:bubble3D val="0"/>
            <c:spPr>
              <a:solidFill>
                <a:srgbClr val="DFDFE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D-AB8D-421D-9886-FEC7B7AE89B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Itau Display Bold" panose="020B0703020204020204" pitchFamily="34" charset="0"/>
                    <a:ea typeface="+mn-ea"/>
                    <a:cs typeface="Itau Display Bold" panose="020B0703020204020204" pitchFamily="34" charset="0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6</c:f>
              <c:strCache>
                <c:ptCount val="5"/>
                <c:pt idx="0">
                  <c:v>Seguros</c:v>
                </c:pt>
                <c:pt idx="1">
                  <c:v>Banco PF</c:v>
                </c:pt>
                <c:pt idx="2">
                  <c:v>Consig Ext</c:v>
                </c:pt>
                <c:pt idx="3">
                  <c:v>WMS</c:v>
                </c:pt>
                <c:pt idx="4">
                  <c:v>Cartões</c:v>
                </c:pt>
              </c:strCache>
            </c:strRef>
          </c:cat>
          <c:val>
            <c:numRef>
              <c:f>Planilha1!$D$2:$D$6</c:f>
              <c:numCache>
                <c:formatCode>General</c:formatCode>
                <c:ptCount val="5"/>
                <c:pt idx="0">
                  <c:v>713</c:v>
                </c:pt>
                <c:pt idx="1">
                  <c:v>1245</c:v>
                </c:pt>
                <c:pt idx="2">
                  <c:v>2339</c:v>
                </c:pt>
                <c:pt idx="3">
                  <c:v>5123</c:v>
                </c:pt>
                <c:pt idx="4">
                  <c:v>4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DA1-4A34-A401-5B0092FBDA88}"/>
            </c:ext>
          </c:extLst>
        </c:ser>
        <c:ser>
          <c:idx val="3"/>
          <c:order val="3"/>
          <c:tx>
            <c:strRef>
              <c:f>Planilha1!$E$1</c:f>
              <c:strCache>
                <c:ptCount val="1"/>
                <c:pt idx="0">
                  <c:v>Série 4</c:v>
                </c:pt>
              </c:strCache>
            </c:strRef>
          </c:tx>
          <c:spPr>
            <a:solidFill>
              <a:srgbClr val="1D4080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1D408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6DA1-4A34-A401-5B0092FBDA8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ctr"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Itau Display Bold" panose="020B0703020204020204" pitchFamily="34" charset="0"/>
                    <a:ea typeface="+mn-ea"/>
                    <a:cs typeface="Itau Display Bold" panose="020B0703020204020204" pitchFamily="34" charset="0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6</c:f>
              <c:strCache>
                <c:ptCount val="5"/>
                <c:pt idx="0">
                  <c:v>Seguros</c:v>
                </c:pt>
                <c:pt idx="1">
                  <c:v>Banco PF</c:v>
                </c:pt>
                <c:pt idx="2">
                  <c:v>Consig Ext</c:v>
                </c:pt>
                <c:pt idx="3">
                  <c:v>WMS</c:v>
                </c:pt>
                <c:pt idx="4">
                  <c:v>Cartões</c:v>
                </c:pt>
              </c:strCache>
            </c:strRef>
          </c:cat>
          <c:val>
            <c:numRef>
              <c:f>Planilha1!$E$2:$E$6</c:f>
              <c:numCache>
                <c:formatCode>General</c:formatCode>
                <c:ptCount val="5"/>
                <c:pt idx="0">
                  <c:v>775</c:v>
                </c:pt>
                <c:pt idx="1">
                  <c:v>1442</c:v>
                </c:pt>
                <c:pt idx="2">
                  <c:v>4320</c:v>
                </c:pt>
                <c:pt idx="4">
                  <c:v>145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DA1-4A34-A401-5B0092FBDA8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40"/>
        <c:overlap val="-20"/>
        <c:axId val="256185695"/>
        <c:axId val="253811215"/>
      </c:barChart>
      <c:catAx>
        <c:axId val="25618569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53811215"/>
        <c:crosses val="autoZero"/>
        <c:auto val="1"/>
        <c:lblAlgn val="ctr"/>
        <c:lblOffset val="100"/>
        <c:noMultiLvlLbl val="0"/>
      </c:catAx>
      <c:valAx>
        <c:axId val="253811215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561856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Itau Display Bold" panose="020B0703020204020204" pitchFamily="34" charset="0"/>
          <a:cs typeface="Itau Display Bold" panose="020B0703020204020204" pitchFamily="34" charset="0"/>
        </a:defRPr>
      </a:pPr>
      <a:endParaRPr lang="pt-BR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754269629291852E-2"/>
          <c:y val="1.2804527412958313E-2"/>
          <c:w val="0.91242869541427107"/>
          <c:h val="0.7850077136469688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Não correntista</c:v>
                </c:pt>
              </c:strCache>
            </c:strRef>
          </c:tx>
          <c:spPr>
            <a:solidFill>
              <a:srgbClr val="5F6062"/>
            </a:solidFill>
            <a:ln>
              <a:noFill/>
            </a:ln>
            <a:effectLst/>
          </c:spPr>
          <c:invertIfNegative val="0"/>
          <c:cat>
            <c:strRef>
              <c:f>Planilha1!$A$2:$A$14</c:f>
              <c:strCache>
                <c:ptCount val="13"/>
                <c:pt idx="0">
                  <c:v>Cartões</c:v>
                </c:pt>
                <c:pt idx="1">
                  <c:v>WMS</c:v>
                </c:pt>
                <c:pt idx="2">
                  <c:v>Consignado Canal Externo</c:v>
                </c:pt>
                <c:pt idx="3">
                  <c:v>Banco PF</c:v>
                </c:pt>
                <c:pt idx="4">
                  <c:v>Seguros</c:v>
                </c:pt>
                <c:pt idx="5">
                  <c:v>Prev</c:v>
                </c:pt>
                <c:pt idx="6">
                  <c:v>Veículos</c:v>
                </c:pt>
                <c:pt idx="7">
                  <c:v>Consignado Canal Interno</c:v>
                </c:pt>
                <c:pt idx="8">
                  <c:v>IBBA</c:v>
                </c:pt>
                <c:pt idx="9">
                  <c:v>Empresas</c:v>
                </c:pt>
                <c:pt idx="10">
                  <c:v>Crédito Imobiliário</c:v>
                </c:pt>
                <c:pt idx="11">
                  <c:v>Consórcio</c:v>
                </c:pt>
                <c:pt idx="12">
                  <c:v>iti</c:v>
                </c:pt>
              </c:strCache>
            </c:strRef>
          </c:cat>
          <c:val>
            <c:numRef>
              <c:f>Planilha1!$B$2:$B$14</c:f>
              <c:numCache>
                <c:formatCode>General</c:formatCode>
                <c:ptCount val="13"/>
                <c:pt idx="0">
                  <c:v>10421</c:v>
                </c:pt>
                <c:pt idx="1">
                  <c:v>2295</c:v>
                </c:pt>
                <c:pt idx="2">
                  <c:v>6462</c:v>
                </c:pt>
                <c:pt idx="3">
                  <c:v>1015</c:v>
                </c:pt>
                <c:pt idx="4">
                  <c:v>439</c:v>
                </c:pt>
                <c:pt idx="5">
                  <c:v>1023</c:v>
                </c:pt>
                <c:pt idx="6">
                  <c:v>695</c:v>
                </c:pt>
                <c:pt idx="7">
                  <c:v>339</c:v>
                </c:pt>
                <c:pt idx="8">
                  <c:v>287</c:v>
                </c:pt>
                <c:pt idx="9">
                  <c:v>104</c:v>
                </c:pt>
                <c:pt idx="10">
                  <c:v>102</c:v>
                </c:pt>
                <c:pt idx="11">
                  <c:v>78</c:v>
                </c:pt>
                <c:pt idx="12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4F-4B1A-AE74-D3008F37F96C}"/>
            </c:ext>
          </c:extLst>
        </c:ser>
        <c:ser>
          <c:idx val="1"/>
          <c:order val="1"/>
          <c:tx>
            <c:strRef>
              <c:f>Planilha1!$C$1</c:f>
              <c:strCache>
                <c:ptCount val="1"/>
                <c:pt idx="0">
                  <c:v>Correntista</c:v>
                </c:pt>
              </c:strCache>
            </c:strRef>
          </c:tx>
          <c:spPr>
            <a:solidFill>
              <a:srgbClr val="FE9600"/>
            </a:solidFill>
            <a:ln>
              <a:noFill/>
            </a:ln>
            <a:effectLst/>
          </c:spPr>
          <c:invertIfNegative val="0"/>
          <c:cat>
            <c:strRef>
              <c:f>Planilha1!$A$2:$A$14</c:f>
              <c:strCache>
                <c:ptCount val="13"/>
                <c:pt idx="0">
                  <c:v>Cartões</c:v>
                </c:pt>
                <c:pt idx="1">
                  <c:v>WMS</c:v>
                </c:pt>
                <c:pt idx="2">
                  <c:v>Consignado Canal Externo</c:v>
                </c:pt>
                <c:pt idx="3">
                  <c:v>Banco PF</c:v>
                </c:pt>
                <c:pt idx="4">
                  <c:v>Seguros</c:v>
                </c:pt>
                <c:pt idx="5">
                  <c:v>Prev</c:v>
                </c:pt>
                <c:pt idx="6">
                  <c:v>Veículos</c:v>
                </c:pt>
                <c:pt idx="7">
                  <c:v>Consignado Canal Interno</c:v>
                </c:pt>
                <c:pt idx="8">
                  <c:v>IBBA</c:v>
                </c:pt>
                <c:pt idx="9">
                  <c:v>Empresas</c:v>
                </c:pt>
                <c:pt idx="10">
                  <c:v>Crédito Imobiliário</c:v>
                </c:pt>
                <c:pt idx="11">
                  <c:v>Consórcio</c:v>
                </c:pt>
                <c:pt idx="12">
                  <c:v>iti</c:v>
                </c:pt>
              </c:strCache>
            </c:strRef>
          </c:cat>
          <c:val>
            <c:numRef>
              <c:f>Planilha1!$C$2:$C$14</c:f>
              <c:numCache>
                <c:formatCode>General</c:formatCode>
                <c:ptCount val="13"/>
                <c:pt idx="0">
                  <c:v>6269</c:v>
                </c:pt>
                <c:pt idx="1">
                  <c:v>6616</c:v>
                </c:pt>
                <c:pt idx="2">
                  <c:v>1154</c:v>
                </c:pt>
                <c:pt idx="3">
                  <c:v>4924</c:v>
                </c:pt>
                <c:pt idx="4">
                  <c:v>2133</c:v>
                </c:pt>
                <c:pt idx="5">
                  <c:v>1141</c:v>
                </c:pt>
                <c:pt idx="6">
                  <c:v>1123</c:v>
                </c:pt>
                <c:pt idx="7">
                  <c:v>1049</c:v>
                </c:pt>
                <c:pt idx="8">
                  <c:v>798</c:v>
                </c:pt>
                <c:pt idx="9">
                  <c:v>702</c:v>
                </c:pt>
                <c:pt idx="10">
                  <c:v>609</c:v>
                </c:pt>
                <c:pt idx="11">
                  <c:v>275</c:v>
                </c:pt>
                <c:pt idx="12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B4F-4B1A-AE74-D3008F37F96C}"/>
            </c:ext>
          </c:extLst>
        </c:ser>
        <c:ser>
          <c:idx val="2"/>
          <c:order val="2"/>
          <c:tx>
            <c:strRef>
              <c:f>Planilha1!$D$1</c:f>
              <c:strCache>
                <c:ptCount val="1"/>
                <c:pt idx="0">
                  <c:v>Coluna1</c:v>
                </c:pt>
              </c:strCache>
            </c:strRef>
          </c:tx>
          <c:spPr>
            <a:solidFill>
              <a:srgbClr val="FFFFFF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F3AA82B7-B538-40BB-A012-B3DD61097097}" type="CELLRANGE">
                      <a:rPr lang="en-US"/>
                      <a:pPr/>
                      <a:t>[INTERVALODACÉLULA]</a:t>
                    </a:fld>
                    <a:endParaRPr lang="pt-B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5B4F-4B1A-AE74-D3008F37F96C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0E086D56-9711-4DE7-9FE1-42D6586869B3}" type="CELLRANGE">
                      <a:rPr lang="pt-BR"/>
                      <a:pPr/>
                      <a:t>[INTERVALODACÉLULA]</a:t>
                    </a:fld>
                    <a:endParaRPr lang="pt-B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0-0E76-4696-9DD3-290CE30D2F20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2BAD93A9-37CD-4748-AC7F-9E78AEB7591C}" type="CELLRANGE">
                      <a:rPr lang="pt-BR"/>
                      <a:pPr/>
                      <a:t>[INTERVALODACÉLULA]</a:t>
                    </a:fld>
                    <a:endParaRPr lang="pt-B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0E76-4696-9DD3-290CE30D2F20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B0893EB8-1309-4040-A88B-0D8295233BBA}" type="CELLRANGE">
                      <a:rPr lang="pt-BR"/>
                      <a:pPr/>
                      <a:t>[INTERVALODACÉLULA]</a:t>
                    </a:fld>
                    <a:endParaRPr lang="pt-B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0E76-4696-9DD3-290CE30D2F20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83B8A53D-D4C1-45FE-AF31-943F4980565E}" type="CELLRANGE">
                      <a:rPr lang="pt-BR"/>
                      <a:pPr/>
                      <a:t>[INTERVALODACÉLULA]</a:t>
                    </a:fld>
                    <a:endParaRPr lang="pt-B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0E76-4696-9DD3-290CE30D2F20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239504E3-6FF8-4FDA-BF29-B00B931C76C3}" type="CELLRANGE">
                      <a:rPr lang="pt-BR"/>
                      <a:pPr/>
                      <a:t>[INTERVALODACÉLULA]</a:t>
                    </a:fld>
                    <a:endParaRPr lang="pt-B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0E76-4696-9DD3-290CE30D2F20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9FF76043-7EFE-463A-883A-29038D7CAFC3}" type="CELLRANGE">
                      <a:rPr lang="pt-BR"/>
                      <a:pPr/>
                      <a:t>[INTERVALODACÉLULA]</a:t>
                    </a:fld>
                    <a:endParaRPr lang="pt-B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0E76-4696-9DD3-290CE30D2F20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217E685D-63DA-4695-9158-4323BB6BF330}" type="CELLRANGE">
                      <a:rPr lang="pt-BR"/>
                      <a:pPr/>
                      <a:t>[INTERVALODACÉLULA]</a:t>
                    </a:fld>
                    <a:endParaRPr lang="pt-B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0E76-4696-9DD3-290CE30D2F20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94EBE3A5-26D4-4F22-BF47-FC49B4C8550C}" type="CELLRANGE">
                      <a:rPr lang="pt-BR"/>
                      <a:pPr/>
                      <a:t>[INTERVALODACÉLULA]</a:t>
                    </a:fld>
                    <a:endParaRPr lang="pt-B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0E76-4696-9DD3-290CE30D2F20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6B990FD4-DCA1-401B-A7A7-C95FDD845843}" type="CELLRANGE">
                      <a:rPr lang="pt-BR"/>
                      <a:pPr/>
                      <a:t>[INTERVALODACÉLULA]</a:t>
                    </a:fld>
                    <a:endParaRPr lang="pt-B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0E76-4696-9DD3-290CE30D2F20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A0C62F62-36C1-43FF-AD02-D59EC5075F34}" type="CELLRANGE">
                      <a:rPr lang="pt-BR"/>
                      <a:pPr/>
                      <a:t>[INTERVALODACÉLULA]</a:t>
                    </a:fld>
                    <a:endParaRPr lang="pt-B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0E76-4696-9DD3-290CE30D2F20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2D98B96E-06E8-40C2-888F-82B6251EA859}" type="CELLRANGE">
                      <a:rPr lang="pt-BR"/>
                      <a:pPr/>
                      <a:t>[INTERVALODACÉLULA]</a:t>
                    </a:fld>
                    <a:endParaRPr lang="pt-B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0E76-4696-9DD3-290CE30D2F20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B4A26AAA-9CF7-4D6D-8B88-80159E5B81D3}" type="CELLRANGE">
                      <a:rPr lang="pt-BR"/>
                      <a:pPr/>
                      <a:t>[INTERVALODACÉLULA]</a:t>
                    </a:fld>
                    <a:endParaRPr lang="pt-B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0E76-4696-9DD3-290CE30D2F2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Itau Display Pro App" panose="020B0503020204020204" pitchFamily="34" charset="0"/>
                    <a:ea typeface="+mn-ea"/>
                    <a:cs typeface="Itau Display Pro App" panose="020B0503020204020204" pitchFamily="34" charset="0"/>
                  </a:defRPr>
                </a:pPr>
                <a:endParaRPr lang="pt-BR"/>
              </a:p>
            </c:txPr>
            <c:dLblPos val="inBase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cat>
            <c:strRef>
              <c:f>Planilha1!$A$2:$A$14</c:f>
              <c:strCache>
                <c:ptCount val="13"/>
                <c:pt idx="0">
                  <c:v>Cartões</c:v>
                </c:pt>
                <c:pt idx="1">
                  <c:v>WMS</c:v>
                </c:pt>
                <c:pt idx="2">
                  <c:v>Consignado Canal Externo</c:v>
                </c:pt>
                <c:pt idx="3">
                  <c:v>Banco PF</c:v>
                </c:pt>
                <c:pt idx="4">
                  <c:v>Seguros</c:v>
                </c:pt>
                <c:pt idx="5">
                  <c:v>Prev</c:v>
                </c:pt>
                <c:pt idx="6">
                  <c:v>Veículos</c:v>
                </c:pt>
                <c:pt idx="7">
                  <c:v>Consignado Canal Interno</c:v>
                </c:pt>
                <c:pt idx="8">
                  <c:v>IBBA</c:v>
                </c:pt>
                <c:pt idx="9">
                  <c:v>Empresas</c:v>
                </c:pt>
                <c:pt idx="10">
                  <c:v>Crédito Imobiliário</c:v>
                </c:pt>
                <c:pt idx="11">
                  <c:v>Consórcio</c:v>
                </c:pt>
                <c:pt idx="12">
                  <c:v>iti</c:v>
                </c:pt>
              </c:strCache>
            </c:strRef>
          </c:cat>
          <c:val>
            <c:numRef>
              <c:f>Planilha1!$D$2:$D$14</c:f>
              <c:numCache>
                <c:formatCode>General</c:formatCode>
                <c:ptCount val="13"/>
                <c:pt idx="0">
                  <c:v>500</c:v>
                </c:pt>
                <c:pt idx="1">
                  <c:v>500</c:v>
                </c:pt>
                <c:pt idx="2">
                  <c:v>500</c:v>
                </c:pt>
                <c:pt idx="3">
                  <c:v>500</c:v>
                </c:pt>
                <c:pt idx="4">
                  <c:v>500</c:v>
                </c:pt>
                <c:pt idx="5">
                  <c:v>500</c:v>
                </c:pt>
                <c:pt idx="6">
                  <c:v>500</c:v>
                </c:pt>
                <c:pt idx="7">
                  <c:v>500</c:v>
                </c:pt>
                <c:pt idx="8">
                  <c:v>500</c:v>
                </c:pt>
                <c:pt idx="9">
                  <c:v>500</c:v>
                </c:pt>
                <c:pt idx="10">
                  <c:v>500</c:v>
                </c:pt>
                <c:pt idx="11">
                  <c:v>500</c:v>
                </c:pt>
                <c:pt idx="12">
                  <c:v>50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Planilha1!$G$2:$G$14</c15:f>
                <c15:dlblRangeCache>
                  <c:ptCount val="13"/>
                  <c:pt idx="0">
                    <c:v>16690</c:v>
                  </c:pt>
                  <c:pt idx="1">
                    <c:v>8911</c:v>
                  </c:pt>
                  <c:pt idx="2">
                    <c:v>7616</c:v>
                  </c:pt>
                  <c:pt idx="3">
                    <c:v>5939</c:v>
                  </c:pt>
                  <c:pt idx="4">
                    <c:v>2572</c:v>
                  </c:pt>
                  <c:pt idx="5">
                    <c:v>2164</c:v>
                  </c:pt>
                  <c:pt idx="6">
                    <c:v>1818</c:v>
                  </c:pt>
                  <c:pt idx="7">
                    <c:v>1388</c:v>
                  </c:pt>
                  <c:pt idx="8">
                    <c:v>1085</c:v>
                  </c:pt>
                  <c:pt idx="9">
                    <c:v>806</c:v>
                  </c:pt>
                  <c:pt idx="10">
                    <c:v>711</c:v>
                  </c:pt>
                  <c:pt idx="11">
                    <c:v>353</c:v>
                  </c:pt>
                  <c:pt idx="12">
                    <c:v>87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2-5B4F-4B1A-AE74-D3008F37F9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1821973903"/>
        <c:axId val="1821971023"/>
      </c:barChart>
      <c:lineChart>
        <c:grouping val="standard"/>
        <c:varyColors val="0"/>
        <c:ser>
          <c:idx val="3"/>
          <c:order val="3"/>
          <c:tx>
            <c:strRef>
              <c:f>Planilha1!$E$1</c:f>
              <c:strCache>
                <c:ptCount val="1"/>
                <c:pt idx="0">
                  <c:v>% não correntista</c:v>
                </c:pt>
              </c:strCache>
            </c:strRef>
          </c:tx>
          <c:spPr>
            <a:ln w="28575" cap="rnd">
              <a:solidFill>
                <a:srgbClr val="5F606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Itau Display Pro App" panose="020B0503020204020204" pitchFamily="34" charset="0"/>
                    <a:ea typeface="+mn-ea"/>
                    <a:cs typeface="Itau Display Pro App" panose="020B0503020204020204" pitchFamily="34" charset="0"/>
                  </a:defRPr>
                </a:pPr>
                <a:endParaRPr lang="pt-BR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14</c:f>
              <c:strCache>
                <c:ptCount val="13"/>
                <c:pt idx="0">
                  <c:v>Cartões</c:v>
                </c:pt>
                <c:pt idx="1">
                  <c:v>WMS</c:v>
                </c:pt>
                <c:pt idx="2">
                  <c:v>Consignado Canal Externo</c:v>
                </c:pt>
                <c:pt idx="3">
                  <c:v>Banco PF</c:v>
                </c:pt>
                <c:pt idx="4">
                  <c:v>Seguros</c:v>
                </c:pt>
                <c:pt idx="5">
                  <c:v>Prev</c:v>
                </c:pt>
                <c:pt idx="6">
                  <c:v>Veículos</c:v>
                </c:pt>
                <c:pt idx="7">
                  <c:v>Consignado Canal Interno</c:v>
                </c:pt>
                <c:pt idx="8">
                  <c:v>IBBA</c:v>
                </c:pt>
                <c:pt idx="9">
                  <c:v>Empresas</c:v>
                </c:pt>
                <c:pt idx="10">
                  <c:v>Crédito Imobiliário</c:v>
                </c:pt>
                <c:pt idx="11">
                  <c:v>Consórcio</c:v>
                </c:pt>
                <c:pt idx="12">
                  <c:v>iti</c:v>
                </c:pt>
              </c:strCache>
            </c:strRef>
          </c:cat>
          <c:val>
            <c:numRef>
              <c:f>Planilha1!$E$2:$E$14</c:f>
              <c:numCache>
                <c:formatCode>0%</c:formatCode>
                <c:ptCount val="13"/>
                <c:pt idx="0">
                  <c:v>0.62438585979628525</c:v>
                </c:pt>
                <c:pt idx="1">
                  <c:v>0.25754685220513973</c:v>
                </c:pt>
                <c:pt idx="2">
                  <c:v>0.8484768907563025</c:v>
                </c:pt>
                <c:pt idx="3">
                  <c:v>0.17090419262502105</c:v>
                </c:pt>
                <c:pt idx="4">
                  <c:v>0.17068429237947122</c:v>
                </c:pt>
                <c:pt idx="5">
                  <c:v>0.47273567467652494</c:v>
                </c:pt>
                <c:pt idx="6">
                  <c:v>0.38228822882288227</c:v>
                </c:pt>
                <c:pt idx="7">
                  <c:v>0.24423631123919309</c:v>
                </c:pt>
                <c:pt idx="8">
                  <c:v>0.26451612903225807</c:v>
                </c:pt>
                <c:pt idx="9">
                  <c:v>0.12903225806451613</c:v>
                </c:pt>
                <c:pt idx="10">
                  <c:v>0.14345991561181434</c:v>
                </c:pt>
                <c:pt idx="11">
                  <c:v>0.22096317280453256</c:v>
                </c:pt>
                <c:pt idx="12">
                  <c:v>0.919540229885057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5B4F-4B1A-AE74-D3008F37F9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08241679"/>
        <c:axId val="1908244079"/>
      </c:lineChart>
      <c:catAx>
        <c:axId val="18219739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Itau Display Pro App" panose="020B0503020204020204" pitchFamily="34" charset="0"/>
                <a:ea typeface="+mn-ea"/>
                <a:cs typeface="Itau Display Pro App" panose="020B0503020204020204" pitchFamily="34" charset="0"/>
              </a:defRPr>
            </a:pPr>
            <a:endParaRPr lang="pt-BR"/>
          </a:p>
        </c:txPr>
        <c:crossAx val="1821971023"/>
        <c:crosses val="autoZero"/>
        <c:auto val="1"/>
        <c:lblAlgn val="ctr"/>
        <c:lblOffset val="100"/>
        <c:noMultiLvlLbl val="0"/>
      </c:catAx>
      <c:valAx>
        <c:axId val="182197102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821973903"/>
        <c:crosses val="autoZero"/>
        <c:crossBetween val="between"/>
      </c:valAx>
      <c:valAx>
        <c:axId val="1908244079"/>
        <c:scaling>
          <c:orientation val="minMax"/>
          <c:max val="1"/>
          <c:min val="-1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08241679"/>
        <c:crosses val="max"/>
        <c:crossBetween val="between"/>
      </c:valAx>
      <c:catAx>
        <c:axId val="190824167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90824407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layout>
        <c:manualLayout>
          <c:xMode val="edge"/>
          <c:yMode val="edge"/>
          <c:x val="2.6678244200293185E-2"/>
          <c:y val="0.92126355335971155"/>
          <c:w val="0.53885026706280792"/>
          <c:h val="7.543971197208584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Itau Display Pro App" panose="020B0503020204020204" pitchFamily="34" charset="0"/>
              <a:ea typeface="+mn-ea"/>
              <a:cs typeface="Itau Display Pro App" panose="020B0503020204020204" pitchFamily="34" charset="0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13254558686303E-2"/>
          <c:y val="0.22239190004165238"/>
          <c:w val="0.95168752133787815"/>
          <c:h val="0.640151567689601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rgbClr val="FE96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DFDFE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C82-45DA-B4C8-BE531FBC2F61}"/>
              </c:ext>
            </c:extLst>
          </c:dPt>
          <c:dPt>
            <c:idx val="1"/>
            <c:invertIfNegative val="0"/>
            <c:bubble3D val="0"/>
            <c:spPr>
              <a:solidFill>
                <a:srgbClr val="DFDFE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C82-45DA-B4C8-BE531FBC2F61}"/>
              </c:ext>
            </c:extLst>
          </c:dPt>
          <c:dPt>
            <c:idx val="2"/>
            <c:invertIfNegative val="0"/>
            <c:bubble3D val="0"/>
            <c:spPr>
              <a:solidFill>
                <a:srgbClr val="DFDFE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C82-45DA-B4C8-BE531FBC2F61}"/>
              </c:ext>
            </c:extLst>
          </c:dPt>
          <c:dPt>
            <c:idx val="3"/>
            <c:invertIfNegative val="0"/>
            <c:bubble3D val="0"/>
            <c:spPr>
              <a:solidFill>
                <a:srgbClr val="FE96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C82-45DA-B4C8-BE531FBC2F61}"/>
              </c:ext>
            </c:extLst>
          </c:dPt>
          <c:dPt>
            <c:idx val="4"/>
            <c:invertIfNegative val="0"/>
            <c:bubble3D val="0"/>
            <c:spPr>
              <a:solidFill>
                <a:srgbClr val="DFDFE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DC82-45DA-B4C8-BE531FBC2F61}"/>
              </c:ext>
            </c:extLst>
          </c:dPt>
          <c:dPt>
            <c:idx val="5"/>
            <c:invertIfNegative val="0"/>
            <c:bubble3D val="0"/>
            <c:spPr>
              <a:solidFill>
                <a:srgbClr val="DFDFE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DC82-45DA-B4C8-BE531FBC2F6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rgbClr val="5F6062"/>
                    </a:solidFill>
                    <a:latin typeface="Itau Display Pro XBold" panose="020B0803020204020204" pitchFamily="34" charset="0"/>
                    <a:ea typeface="+mn-ea"/>
                    <a:cs typeface="Itau Display XBold" panose="020B0803020204020204" pitchFamily="34" charset="0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8</c:f>
              <c:strCache>
                <c:ptCount val="7"/>
                <c:pt idx="0">
                  <c:v>&lt;25</c:v>
                </c:pt>
                <c:pt idx="1">
                  <c:v>25-29</c:v>
                </c:pt>
                <c:pt idx="2">
                  <c:v>30-35</c:v>
                </c:pt>
                <c:pt idx="3">
                  <c:v>36-45</c:v>
                </c:pt>
                <c:pt idx="4">
                  <c:v>46-54</c:v>
                </c:pt>
                <c:pt idx="5">
                  <c:v>55-60</c:v>
                </c:pt>
                <c:pt idx="6">
                  <c:v>&gt;60</c:v>
                </c:pt>
              </c:strCache>
            </c:strRef>
          </c:cat>
          <c:val>
            <c:numRef>
              <c:f>Planilha1!$B$2:$B$8</c:f>
              <c:numCache>
                <c:formatCode>0.0</c:formatCode>
                <c:ptCount val="7"/>
                <c:pt idx="0">
                  <c:v>7.4974230000000004</c:v>
                </c:pt>
                <c:pt idx="1">
                  <c:v>7.0586510000000002</c:v>
                </c:pt>
                <c:pt idx="2">
                  <c:v>8.2390129999999999</c:v>
                </c:pt>
                <c:pt idx="3">
                  <c:v>13.726919000000001</c:v>
                </c:pt>
                <c:pt idx="4">
                  <c:v>9.4318310000000007</c:v>
                </c:pt>
                <c:pt idx="5">
                  <c:v>5.4031589999999996</c:v>
                </c:pt>
                <c:pt idx="6">
                  <c:v>13.7566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C82-45DA-B4C8-BE531FBC2F6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overlap val="-27"/>
        <c:axId val="1079260895"/>
        <c:axId val="1706068367"/>
      </c:barChart>
      <c:catAx>
        <c:axId val="10792608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47484A"/>
                </a:solidFill>
                <a:latin typeface="Itau Text" panose="020B0503020204020203" pitchFamily="34" charset="0"/>
                <a:ea typeface="+mn-ea"/>
                <a:cs typeface="Itau Text" panose="020B0503020204020203" pitchFamily="34" charset="0"/>
              </a:defRPr>
            </a:pPr>
            <a:endParaRPr lang="pt-BR"/>
          </a:p>
        </c:txPr>
        <c:crossAx val="1706068367"/>
        <c:crosses val="autoZero"/>
        <c:auto val="1"/>
        <c:lblAlgn val="ctr"/>
        <c:lblOffset val="100"/>
        <c:noMultiLvlLbl val="0"/>
      </c:catAx>
      <c:valAx>
        <c:axId val="1706068367"/>
        <c:scaling>
          <c:orientation val="minMax"/>
        </c:scaling>
        <c:delete val="1"/>
        <c:axPos val="l"/>
        <c:numFmt formatCode="0.0" sourceLinked="1"/>
        <c:majorTickMark val="none"/>
        <c:minorTickMark val="none"/>
        <c:tickLblPos val="nextTo"/>
        <c:crossAx val="10792608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51600986394234"/>
          <c:y val="4.6348209528345133E-2"/>
          <c:w val="0.74432561483018977"/>
          <c:h val="0.728226657549617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rgbClr val="595959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DFDFE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D53-466A-A27F-322B588E97A5}"/>
              </c:ext>
            </c:extLst>
          </c:dPt>
          <c:dPt>
            <c:idx val="1"/>
            <c:invertIfNegative val="0"/>
            <c:bubble3D val="0"/>
            <c:spPr>
              <a:solidFill>
                <a:srgbClr val="DFDFE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D53-466A-A27F-322B588E97A5}"/>
              </c:ext>
            </c:extLst>
          </c:dPt>
          <c:dPt>
            <c:idx val="2"/>
            <c:invertIfNegative val="0"/>
            <c:bubble3D val="0"/>
            <c:spPr>
              <a:solidFill>
                <a:srgbClr val="DFDFE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D53-466A-A27F-322B588E97A5}"/>
              </c:ext>
            </c:extLst>
          </c:dPt>
          <c:dPt>
            <c:idx val="3"/>
            <c:invertIfNegative val="0"/>
            <c:bubble3D val="0"/>
            <c:spPr>
              <a:solidFill>
                <a:srgbClr val="FE96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ED53-466A-A27F-322B588E97A5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rgbClr val="5F6062"/>
                    </a:solidFill>
                    <a:latin typeface="Itau Display Pro XBold" panose="020B0803020204020204" pitchFamily="34" charset="0"/>
                    <a:ea typeface="+mn-ea"/>
                    <a:cs typeface="Itau Display XBold" panose="020B0803020204020204" pitchFamily="34" charset="0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5</c:f>
              <c:strCache>
                <c:ptCount val="4"/>
                <c:pt idx="0">
                  <c:v>PR</c:v>
                </c:pt>
                <c:pt idx="1">
                  <c:v>GO</c:v>
                </c:pt>
                <c:pt idx="2">
                  <c:v>SP</c:v>
                </c:pt>
                <c:pt idx="3">
                  <c:v>RJ</c:v>
                </c:pt>
              </c:strCache>
            </c:strRef>
          </c:cat>
          <c:val>
            <c:numRef>
              <c:f>Planilha1!$B$2:$B$5</c:f>
              <c:numCache>
                <c:formatCode>0.00%</c:formatCode>
                <c:ptCount val="4"/>
                <c:pt idx="0">
                  <c:v>0.34100000000000003</c:v>
                </c:pt>
                <c:pt idx="1">
                  <c:v>0.35699999999999998</c:v>
                </c:pt>
                <c:pt idx="2">
                  <c:v>0.36599999999999999</c:v>
                </c:pt>
                <c:pt idx="3">
                  <c:v>0.421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D53-466A-A27F-322B588E97A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0"/>
        <c:axId val="1079260895"/>
        <c:axId val="1706068367"/>
      </c:barChart>
      <c:catAx>
        <c:axId val="10792608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47484A"/>
                </a:solidFill>
                <a:latin typeface="Itau Text" panose="020B0503020204020203" pitchFamily="34" charset="0"/>
                <a:ea typeface="+mn-ea"/>
                <a:cs typeface="Itau Text" panose="020B0503020204020203" pitchFamily="34" charset="0"/>
              </a:defRPr>
            </a:pPr>
            <a:endParaRPr lang="pt-BR"/>
          </a:p>
        </c:txPr>
        <c:crossAx val="1706068367"/>
        <c:crosses val="autoZero"/>
        <c:auto val="1"/>
        <c:lblAlgn val="ctr"/>
        <c:lblOffset val="100"/>
        <c:noMultiLvlLbl val="0"/>
      </c:catAx>
      <c:valAx>
        <c:axId val="1706068367"/>
        <c:scaling>
          <c:orientation val="minMax"/>
        </c:scaling>
        <c:delete val="1"/>
        <c:axPos val="l"/>
        <c:numFmt formatCode="0.00%" sourceLinked="1"/>
        <c:majorTickMark val="none"/>
        <c:minorTickMark val="none"/>
        <c:tickLblPos val="nextTo"/>
        <c:crossAx val="10792608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5929635586670821"/>
          <c:y val="0.15345819905842475"/>
          <c:w val="0.68266062543357842"/>
          <c:h val="0.73385615410385951"/>
        </c:manualLayout>
      </c:layout>
      <c:doughnut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Vendas</c:v>
                </c:pt>
              </c:strCache>
            </c:strRef>
          </c:tx>
          <c:spPr>
            <a:ln w="25400">
              <a:noFill/>
            </a:ln>
            <a:effectLst/>
          </c:spPr>
          <c:dPt>
            <c:idx val="0"/>
            <c:bubble3D val="0"/>
            <c:spPr>
              <a:solidFill>
                <a:srgbClr val="FE9600"/>
              </a:solidFill>
              <a:ln w="254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F9D-4368-9B24-6B67C45132A2}"/>
              </c:ext>
            </c:extLst>
          </c:dPt>
          <c:dPt>
            <c:idx val="1"/>
            <c:bubble3D val="0"/>
            <c:spPr>
              <a:solidFill>
                <a:srgbClr val="DFDFE0"/>
              </a:solidFill>
              <a:ln w="254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F9D-4368-9B24-6B67C45132A2}"/>
              </c:ext>
            </c:extLst>
          </c:dPt>
          <c:dLbls>
            <c:dLbl>
              <c:idx val="0"/>
              <c:layout>
                <c:manualLayout>
                  <c:x val="-0.25605500303651213"/>
                  <c:y val="4.571821380717816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800" b="0" i="0" u="none" strike="noStrike" kern="1200" baseline="0">
                        <a:solidFill>
                          <a:srgbClr val="595959"/>
                        </a:solidFill>
                        <a:latin typeface="Itau Display Heavy" panose="020B0803020204020204" pitchFamily="34" charset="0"/>
                        <a:ea typeface="+mn-ea"/>
                        <a:cs typeface="Itau Display Heavy" panose="020B0803020204020204" pitchFamily="34" charset="0"/>
                      </a:defRPr>
                    </a:pPr>
                    <a:fld id="{1235C244-0624-4D5E-BE80-804B1882FC8B}" type="VALUE">
                      <a:rPr lang="en-US" sz="1800"/>
                      <a:pPr>
                        <a:defRPr sz="1800">
                          <a:solidFill>
                            <a:srgbClr val="595959"/>
                          </a:solidFill>
                          <a:latin typeface="Itau Display Heavy" panose="020B0803020204020204" pitchFamily="34" charset="0"/>
                          <a:cs typeface="Itau Display Heavy" panose="020B0803020204020204" pitchFamily="34" charset="0"/>
                        </a:defRPr>
                      </a:pPr>
                      <a:t>[VALOR]</a:t>
                    </a:fld>
                    <a:endParaRPr lang="pt-BR"/>
                  </a:p>
                </c:rich>
              </c:tx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rgbClr val="595959"/>
                      </a:solidFill>
                      <a:latin typeface="Itau Display Heavy" panose="020B0803020204020204" pitchFamily="34" charset="0"/>
                      <a:ea typeface="+mn-ea"/>
                      <a:cs typeface="Itau Display Heavy" panose="020B0803020204020204" pitchFamily="34" charset="0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3648276342989247"/>
                      <c:h val="0.20585346640323737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8F9D-4368-9B24-6B67C45132A2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F9D-4368-9B24-6B67C45132A2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rgbClr val="595959"/>
                    </a:solidFill>
                    <a:latin typeface="Itau Display Heavy" panose="020B0803020204020204" pitchFamily="34" charset="0"/>
                    <a:ea typeface="+mn-ea"/>
                    <a:cs typeface="Itau Display Heavy" panose="020B0803020204020204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Plan1!$A$2:$A$3</c:f>
              <c:strCache>
                <c:ptCount val="2"/>
                <c:pt idx="0">
                  <c:v>N corr</c:v>
                </c:pt>
                <c:pt idx="1">
                  <c:v>Corr</c:v>
                </c:pt>
              </c:strCache>
            </c:strRef>
          </c:cat>
          <c:val>
            <c:numRef>
              <c:f>Plan1!$B$2:$B$3</c:f>
              <c:numCache>
                <c:formatCode>General</c:formatCode>
                <c:ptCount val="2"/>
                <c:pt idx="0">
                  <c:v>0.49717275108760145</c:v>
                </c:pt>
                <c:pt idx="1">
                  <c:v>0.502827248912398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F9D-4368-9B24-6B67C45132A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5929635586670821"/>
          <c:y val="0.15345819905842475"/>
          <c:w val="0.68266062543357842"/>
          <c:h val="0.73385615410385951"/>
        </c:manualLayout>
      </c:layout>
      <c:doughnut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Vendas</c:v>
                </c:pt>
              </c:strCache>
            </c:strRef>
          </c:tx>
          <c:spPr>
            <a:ln w="25400">
              <a:noFill/>
            </a:ln>
            <a:effectLst/>
          </c:spPr>
          <c:dPt>
            <c:idx val="0"/>
            <c:bubble3D val="0"/>
            <c:spPr>
              <a:solidFill>
                <a:srgbClr val="FE9600"/>
              </a:solidFill>
              <a:ln w="254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4E0-4DD1-B4A9-29D6E50DBD6F}"/>
              </c:ext>
            </c:extLst>
          </c:dPt>
          <c:dPt>
            <c:idx val="1"/>
            <c:bubble3D val="0"/>
            <c:spPr>
              <a:solidFill>
                <a:srgbClr val="DFDFE0"/>
              </a:solidFill>
              <a:ln w="254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4E0-4DD1-B4A9-29D6E50DBD6F}"/>
              </c:ext>
            </c:extLst>
          </c:dPt>
          <c:dLbls>
            <c:dLbl>
              <c:idx val="0"/>
              <c:layout>
                <c:manualLayout>
                  <c:x val="-0.2134698640895811"/>
                  <c:y val="0.11554898862181034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rgbClr val="595959"/>
                        </a:solidFill>
                        <a:latin typeface="Itau Display Heavy" panose="020B0803020204020204" pitchFamily="34" charset="0"/>
                        <a:ea typeface="+mn-ea"/>
                        <a:cs typeface="Itau Display Heavy" panose="020B0803020204020204" pitchFamily="34" charset="0"/>
                      </a:defRPr>
                    </a:pPr>
                    <a:fld id="{1235C244-0624-4D5E-BE80-804B1882FC8B}" type="VALUE">
                      <a:rPr lang="en-US" sz="1200"/>
                      <a:pPr>
                        <a:defRPr sz="1200">
                          <a:solidFill>
                            <a:srgbClr val="595959"/>
                          </a:solidFill>
                          <a:latin typeface="Itau Display Heavy" panose="020B0803020204020204" pitchFamily="34" charset="0"/>
                          <a:cs typeface="Itau Display Heavy" panose="020B0803020204020204" pitchFamily="34" charset="0"/>
                        </a:defRPr>
                      </a:pPr>
                      <a:t>[VALOR]</a:t>
                    </a:fld>
                    <a:endParaRPr lang="pt-BR"/>
                  </a:p>
                </c:rich>
              </c:tx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rgbClr val="595959"/>
                      </a:solidFill>
                      <a:latin typeface="Itau Display Heavy" panose="020B0803020204020204" pitchFamily="34" charset="0"/>
                      <a:ea typeface="+mn-ea"/>
                      <a:cs typeface="Itau Display Heavy" panose="020B0803020204020204" pitchFamily="34" charset="0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3648276342989247"/>
                      <c:h val="0.20585346640323737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64E0-4DD1-B4A9-29D6E50DBD6F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4E0-4DD1-B4A9-29D6E50DBD6F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rgbClr val="595959"/>
                    </a:solidFill>
                    <a:latin typeface="Itau Display Heavy" panose="020B0803020204020204" pitchFamily="34" charset="0"/>
                    <a:ea typeface="+mn-ea"/>
                    <a:cs typeface="Itau Display Heavy" panose="020B0803020204020204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Plan1!$A$2:$A$3</c:f>
              <c:strCache>
                <c:ptCount val="2"/>
                <c:pt idx="0">
                  <c:v>Cart</c:v>
                </c:pt>
                <c:pt idx="1">
                  <c:v>Não cart</c:v>
                </c:pt>
              </c:strCache>
            </c:strRef>
          </c:cat>
          <c:val>
            <c:numRef>
              <c:f>Plan1!$B$2:$B$3</c:f>
              <c:numCache>
                <c:formatCode>General</c:formatCode>
                <c:ptCount val="2"/>
                <c:pt idx="0">
                  <c:v>0.35058768888888892</c:v>
                </c:pt>
                <c:pt idx="1">
                  <c:v>0.649412311111111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4E0-4DD1-B4A9-29D6E50DBD6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5929635586670821"/>
          <c:y val="0.15345819905842475"/>
          <c:w val="0.68266062543357842"/>
          <c:h val="0.73385615410385951"/>
        </c:manualLayout>
      </c:layout>
      <c:doughnut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Vendas</c:v>
                </c:pt>
              </c:strCache>
            </c:strRef>
          </c:tx>
          <c:spPr>
            <a:ln w="25400">
              <a:noFill/>
            </a:ln>
            <a:effectLst/>
          </c:spPr>
          <c:dPt>
            <c:idx val="0"/>
            <c:bubble3D val="0"/>
            <c:spPr>
              <a:solidFill>
                <a:srgbClr val="FE9600"/>
              </a:solidFill>
              <a:ln w="254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A14-4885-A5B9-91D1A98DC590}"/>
              </c:ext>
            </c:extLst>
          </c:dPt>
          <c:dPt>
            <c:idx val="1"/>
            <c:bubble3D val="0"/>
            <c:spPr>
              <a:solidFill>
                <a:srgbClr val="DFDFE0"/>
              </a:solidFill>
              <a:ln w="254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A14-4885-A5B9-91D1A98DC590}"/>
              </c:ext>
            </c:extLst>
          </c:dPt>
          <c:dLbls>
            <c:dLbl>
              <c:idx val="0"/>
              <c:layout>
                <c:manualLayout>
                  <c:x val="-0.10415185722104388"/>
                  <c:y val="0.28173717815105154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rgbClr val="595959"/>
                        </a:solidFill>
                        <a:latin typeface="Itau Display Heavy" panose="020B0803020204020204" pitchFamily="34" charset="0"/>
                        <a:ea typeface="+mn-ea"/>
                        <a:cs typeface="Itau Display Heavy" panose="020B0803020204020204" pitchFamily="34" charset="0"/>
                      </a:defRPr>
                    </a:pPr>
                    <a:fld id="{1235C244-0624-4D5E-BE80-804B1882FC8B}" type="VALUE">
                      <a:rPr lang="en-US" sz="1200"/>
                      <a:pPr>
                        <a:defRPr sz="1200">
                          <a:solidFill>
                            <a:srgbClr val="595959"/>
                          </a:solidFill>
                          <a:latin typeface="Itau Display Heavy" panose="020B0803020204020204" pitchFamily="34" charset="0"/>
                          <a:cs typeface="Itau Display Heavy" panose="020B0803020204020204" pitchFamily="34" charset="0"/>
                        </a:defRPr>
                      </a:pPr>
                      <a:t>[VALOR]</a:t>
                    </a:fld>
                    <a:endParaRPr lang="pt-BR"/>
                  </a:p>
                </c:rich>
              </c:tx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rgbClr val="595959"/>
                      </a:solidFill>
                      <a:latin typeface="Itau Display Heavy" panose="020B0803020204020204" pitchFamily="34" charset="0"/>
                      <a:ea typeface="+mn-ea"/>
                      <a:cs typeface="Itau Display Heavy" panose="020B0803020204020204" pitchFamily="34" charset="0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3648276342989247"/>
                      <c:h val="0.20585346640323737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8A14-4885-A5B9-91D1A98DC590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A14-4885-A5B9-91D1A98DC590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rgbClr val="595959"/>
                    </a:solidFill>
                    <a:latin typeface="Itau Display Heavy" panose="020B0803020204020204" pitchFamily="34" charset="0"/>
                    <a:ea typeface="+mn-ea"/>
                    <a:cs typeface="Itau Display Heavy" panose="020B0803020204020204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Plan1!$A$2:$A$3</c:f>
              <c:strCache>
                <c:ptCount val="2"/>
                <c:pt idx="0">
                  <c:v>Seguros</c:v>
                </c:pt>
                <c:pt idx="1">
                  <c:v>Não seg</c:v>
                </c:pt>
              </c:strCache>
            </c:strRef>
          </c:cat>
          <c:val>
            <c:numRef>
              <c:f>Plan1!$B$2:$B$3</c:f>
              <c:numCache>
                <c:formatCode>General</c:formatCode>
                <c:ptCount val="2"/>
                <c:pt idx="0">
                  <c:v>0.13777777777777778</c:v>
                </c:pt>
                <c:pt idx="1">
                  <c:v>0.862222222222222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A14-4885-A5B9-91D1A98DC59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5929635586670821"/>
          <c:y val="0.15345819905842475"/>
          <c:w val="0.68266062543357842"/>
          <c:h val="0.73385615410385951"/>
        </c:manualLayout>
      </c:layout>
      <c:doughnut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Vendas</c:v>
                </c:pt>
              </c:strCache>
            </c:strRef>
          </c:tx>
          <c:spPr>
            <a:ln w="25400">
              <a:noFill/>
            </a:ln>
            <a:effectLst/>
          </c:spPr>
          <c:dPt>
            <c:idx val="0"/>
            <c:bubble3D val="0"/>
            <c:spPr>
              <a:solidFill>
                <a:srgbClr val="FE9600"/>
              </a:solidFill>
              <a:ln w="254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7CF-4DC1-A1CA-C22E49151295}"/>
              </c:ext>
            </c:extLst>
          </c:dPt>
          <c:dPt>
            <c:idx val="1"/>
            <c:bubble3D val="0"/>
            <c:spPr>
              <a:solidFill>
                <a:srgbClr val="DFDFE0"/>
              </a:solidFill>
              <a:ln w="254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7CF-4DC1-A1CA-C22E49151295}"/>
              </c:ext>
            </c:extLst>
          </c:dPt>
          <c:dLbls>
            <c:dLbl>
              <c:idx val="0"/>
              <c:layout>
                <c:manualLayout>
                  <c:x val="-0.19525012212188661"/>
                  <c:y val="0.1749020678155257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rgbClr val="595959"/>
                        </a:solidFill>
                        <a:latin typeface="Itau Display Heavy" panose="020B0803020204020204" pitchFamily="34" charset="0"/>
                        <a:ea typeface="+mn-ea"/>
                        <a:cs typeface="Itau Display Heavy" panose="020B0803020204020204" pitchFamily="34" charset="0"/>
                      </a:defRPr>
                    </a:pPr>
                    <a:fld id="{1235C244-0624-4D5E-BE80-804B1882FC8B}" type="VALUE">
                      <a:rPr lang="en-US" sz="1200"/>
                      <a:pPr>
                        <a:defRPr sz="1200">
                          <a:solidFill>
                            <a:srgbClr val="595959"/>
                          </a:solidFill>
                          <a:latin typeface="Itau Display Heavy" panose="020B0803020204020204" pitchFamily="34" charset="0"/>
                          <a:cs typeface="Itau Display Heavy" panose="020B0803020204020204" pitchFamily="34" charset="0"/>
                        </a:defRPr>
                      </a:pPr>
                      <a:t>[VALOR]</a:t>
                    </a:fld>
                    <a:endParaRPr lang="pt-BR"/>
                  </a:p>
                </c:rich>
              </c:tx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rgbClr val="595959"/>
                      </a:solidFill>
                      <a:latin typeface="Itau Display Heavy" panose="020B0803020204020204" pitchFamily="34" charset="0"/>
                      <a:ea typeface="+mn-ea"/>
                      <a:cs typeface="Itau Display Heavy" panose="020B0803020204020204" pitchFamily="34" charset="0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3648276342989247"/>
                      <c:h val="0.20585346640323737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D7CF-4DC1-A1CA-C22E49151295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7CF-4DC1-A1CA-C22E49151295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rgbClr val="595959"/>
                    </a:solidFill>
                    <a:latin typeface="Itau Display Heavy" panose="020B0803020204020204" pitchFamily="34" charset="0"/>
                    <a:ea typeface="+mn-ea"/>
                    <a:cs typeface="Itau Display Heavy" panose="020B0803020204020204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Plan1!$A$2:$A$3</c:f>
              <c:strCache>
                <c:ptCount val="2"/>
                <c:pt idx="0">
                  <c:v>iti</c:v>
                </c:pt>
                <c:pt idx="1">
                  <c:v>Não iti</c:v>
                </c:pt>
              </c:strCache>
            </c:strRef>
          </c:cat>
          <c:val>
            <c:numRef>
              <c:f>Plan1!$B$2:$B$3</c:f>
              <c:numCache>
                <c:formatCode>General</c:formatCode>
                <c:ptCount val="2"/>
                <c:pt idx="0">
                  <c:v>0.29777777777777781</c:v>
                </c:pt>
                <c:pt idx="1">
                  <c:v>0.702222222222222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7CF-4DC1-A1CA-C22E4915129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5929635586670821"/>
          <c:y val="0.15345819905842475"/>
          <c:w val="0.68266062543357842"/>
          <c:h val="0.73385615410385951"/>
        </c:manualLayout>
      </c:layout>
      <c:doughnut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Vendas</c:v>
                </c:pt>
              </c:strCache>
            </c:strRef>
          </c:tx>
          <c:spPr>
            <a:ln w="25400">
              <a:noFill/>
            </a:ln>
            <a:effectLst/>
          </c:spPr>
          <c:dPt>
            <c:idx val="0"/>
            <c:bubble3D val="0"/>
            <c:spPr>
              <a:solidFill>
                <a:srgbClr val="FE9600"/>
              </a:solidFill>
              <a:ln w="254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DE5-4D69-8991-BD212BF70E2D}"/>
              </c:ext>
            </c:extLst>
          </c:dPt>
          <c:dPt>
            <c:idx val="1"/>
            <c:bubble3D val="0"/>
            <c:spPr>
              <a:solidFill>
                <a:srgbClr val="DFDFE0"/>
              </a:solidFill>
              <a:ln w="254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DE5-4D69-8991-BD212BF70E2D}"/>
              </c:ext>
            </c:extLst>
          </c:dPt>
          <c:dLbls>
            <c:dLbl>
              <c:idx val="0"/>
              <c:layout>
                <c:manualLayout>
                  <c:x val="-0.10415185722104388"/>
                  <c:y val="0.28173717815105154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rgbClr val="595959"/>
                        </a:solidFill>
                        <a:latin typeface="Itau Display Heavy" panose="020B0803020204020204" pitchFamily="34" charset="0"/>
                        <a:ea typeface="+mn-ea"/>
                        <a:cs typeface="Itau Display Heavy" panose="020B0803020204020204" pitchFamily="34" charset="0"/>
                      </a:defRPr>
                    </a:pPr>
                    <a:fld id="{1235C244-0624-4D5E-BE80-804B1882FC8B}" type="VALUE">
                      <a:rPr lang="en-US" sz="1200"/>
                      <a:pPr>
                        <a:defRPr sz="1200">
                          <a:solidFill>
                            <a:srgbClr val="595959"/>
                          </a:solidFill>
                          <a:latin typeface="Itau Display Heavy" panose="020B0803020204020204" pitchFamily="34" charset="0"/>
                          <a:cs typeface="Itau Display Heavy" panose="020B0803020204020204" pitchFamily="34" charset="0"/>
                        </a:defRPr>
                      </a:pPr>
                      <a:t>[VALOR]</a:t>
                    </a:fld>
                    <a:endParaRPr lang="pt-BR"/>
                  </a:p>
                </c:rich>
              </c:tx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rgbClr val="595959"/>
                      </a:solidFill>
                      <a:latin typeface="Itau Display Heavy" panose="020B0803020204020204" pitchFamily="34" charset="0"/>
                      <a:ea typeface="+mn-ea"/>
                      <a:cs typeface="Itau Display Heavy" panose="020B0803020204020204" pitchFamily="34" charset="0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3648276342989247"/>
                      <c:h val="0.20585346640323737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8DE5-4D69-8991-BD212BF70E2D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DE5-4D69-8991-BD212BF70E2D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rgbClr val="595959"/>
                    </a:solidFill>
                    <a:latin typeface="Itau Display Heavy" panose="020B0803020204020204" pitchFamily="34" charset="0"/>
                    <a:ea typeface="+mn-ea"/>
                    <a:cs typeface="Itau Display Heavy" panose="020B0803020204020204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Plan1!$A$2:$A$3</c:f>
              <c:strCache>
                <c:ptCount val="2"/>
                <c:pt idx="0">
                  <c:v>Consignado</c:v>
                </c:pt>
                <c:pt idx="1">
                  <c:v>Não consig</c:v>
                </c:pt>
              </c:strCache>
            </c:strRef>
          </c:cat>
          <c:val>
            <c:numRef>
              <c:f>Plan1!$B$2:$B$3</c:f>
              <c:numCache>
                <c:formatCode>General</c:formatCode>
                <c:ptCount val="2"/>
                <c:pt idx="0">
                  <c:v>0.10814814814814815</c:v>
                </c:pt>
                <c:pt idx="1">
                  <c:v>0.89185185185185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DE5-4D69-8991-BD212BF70E2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51600986394234"/>
          <c:y val="4.6348209528345133E-2"/>
          <c:w val="0.74432561483018977"/>
          <c:h val="0.7282266575496171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DA1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8F5-4DCD-8FF6-3993F7EA2C85}"/>
              </c:ext>
            </c:extLst>
          </c:dPt>
          <c:dPt>
            <c:idx val="1"/>
            <c:invertIfNegative val="0"/>
            <c:bubble3D val="0"/>
            <c:spPr>
              <a:solidFill>
                <a:srgbClr val="FF78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8F5-4DCD-8FF6-3993F7EA2C85}"/>
              </c:ext>
            </c:extLst>
          </c:dPt>
          <c:dPt>
            <c:idx val="2"/>
            <c:invertIfNegative val="0"/>
            <c:bubble3D val="0"/>
            <c:spPr>
              <a:solidFill>
                <a:srgbClr val="BF5A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8F5-4DCD-8FF6-3993F7EA2C85}"/>
              </c:ext>
            </c:extLst>
          </c:dPt>
          <c:dPt>
            <c:idx val="3"/>
            <c:invertIfNegative val="0"/>
            <c:bubble3D val="0"/>
            <c:spPr>
              <a:solidFill>
                <a:srgbClr val="47484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8F5-4DCD-8FF6-3993F7EA2C8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rgbClr val="5F6062"/>
                    </a:solidFill>
                    <a:latin typeface="Itau Display Pro XBold" panose="020B0803020204020204" pitchFamily="34" charset="0"/>
                    <a:ea typeface="+mn-ea"/>
                    <a:cs typeface="Itau Display Pro XBold" panose="020B0803020204020204" pitchFamily="34" charset="0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5</c:f>
              <c:strCache>
                <c:ptCount val="4"/>
                <c:pt idx="0">
                  <c:v>Agências</c:v>
                </c:pt>
                <c:pt idx="1">
                  <c:v>Uniclass</c:v>
                </c:pt>
                <c:pt idx="2">
                  <c:v>Personnalité</c:v>
                </c:pt>
                <c:pt idx="3">
                  <c:v>Private</c:v>
                </c:pt>
              </c:strCache>
            </c:strRef>
          </c:cat>
          <c:val>
            <c:numRef>
              <c:f>Planilha1!$B$2:$B$5</c:f>
              <c:numCache>
                <c:formatCode>General</c:formatCode>
                <c:ptCount val="4"/>
                <c:pt idx="0">
                  <c:v>20</c:v>
                </c:pt>
                <c:pt idx="1">
                  <c:v>4.5</c:v>
                </c:pt>
                <c:pt idx="2">
                  <c:v>1.5</c:v>
                </c:pt>
                <c:pt idx="3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8F5-4DCD-8FF6-3993F7EA2C8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0"/>
        <c:axId val="1079260895"/>
        <c:axId val="1706068367"/>
      </c:barChart>
      <c:catAx>
        <c:axId val="107926089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47484A"/>
                </a:solidFill>
                <a:latin typeface="Itau Text" panose="020B0503020204020203" pitchFamily="34" charset="0"/>
                <a:ea typeface="+mn-ea"/>
                <a:cs typeface="Itau Text" panose="020B0503020204020203" pitchFamily="34" charset="0"/>
              </a:defRPr>
            </a:pPr>
            <a:endParaRPr lang="pt-BR"/>
          </a:p>
        </c:txPr>
        <c:crossAx val="1706068367"/>
        <c:crosses val="autoZero"/>
        <c:auto val="1"/>
        <c:lblAlgn val="ctr"/>
        <c:lblOffset val="100"/>
        <c:noMultiLvlLbl val="0"/>
      </c:catAx>
      <c:valAx>
        <c:axId val="1706068367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0792608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7FFFD5DD_D5B8D47B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05B3882-FB30-4F74-A281-209752241EB6}" authorId="{B9EDA733-6F08-32CB-2B5F-090E3B12BBCD}" created="2023-08-30T23:01:30.954">
    <pc:sldMkLst xmlns:pc="http://schemas.microsoft.com/office/powerpoint/2013/main/command">
      <pc:docMk/>
      <pc:sldMk cId="3585660027" sldId="2147472861"/>
    </pc:sldMkLst>
    <p188:txBody>
      <a:bodyPr/>
      <a:lstStyle/>
      <a:p>
        <a:r>
          <a:rPr lang="pt-BR"/>
          <a:t>Captura:
- soluções já existentes atendem (poderia aumentar a gama)
- ponto de atenção: perfil do cliente (idade, por exemplo)
Visualização e assinatura:
- certisign
- xp (exemplo: termos)
Possibilidades recuperação:
- autosserviço
- indicação de rota (atendimento)
- conteúdos legado: central -&gt; encaminhar conteúdo (?)</a:t>
        </a:r>
      </a:p>
    </p188:txBody>
  </p188:cm>
</p188:cmLst>
</file>

<file path=ppt/comments/modernComment_7FFFD5FF_EE8FD724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067767C-0A39-4FA1-A230-6A5D2C6FCAE9}" authorId="{B9EDA733-6F08-32CB-2B5F-090E3B12BBCD}" created="2023-09-18T14:07:00.675">
    <pc:sldMkLst xmlns:pc="http://schemas.microsoft.com/office/powerpoint/2013/main/command">
      <pc:docMk/>
      <pc:sldMk cId="4002404132" sldId="2147472895"/>
    </pc:sldMkLst>
    <p188:txBody>
      <a:bodyPr/>
      <a:lstStyle/>
      <a:p>
        <a:r>
          <a:rPr lang="pt-BR"/>
          <a:t>Preciso saber o % de PF/PJ
Dentro de cada um saber quais personas estarão identificadas</a:t>
        </a:r>
      </a:p>
    </p188:txBody>
  </p188:cm>
</p188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7CCE213-0601-46E8-97EF-23E3B04D6785}" type="doc">
      <dgm:prSet loTypeId="urn:microsoft.com/office/officeart/2005/8/layout/pyramid3" loCatId="pyramid" qsTypeId="urn:microsoft.com/office/officeart/2005/8/quickstyle/simple5" qsCatId="simple" csTypeId="urn:microsoft.com/office/officeart/2005/8/colors/accent1_2" csCatId="accent1" phldr="1"/>
      <dgm:spPr/>
    </dgm:pt>
    <dgm:pt modelId="{5A6A7EB3-FAB2-48A9-A78E-D21096EC3BCE}">
      <dgm:prSet phldrT="[Texto]" custT="1"/>
      <dgm:spPr>
        <a:solidFill>
          <a:srgbClr val="F10083"/>
        </a:solidFill>
      </dgm:spPr>
      <dgm:t>
        <a:bodyPr/>
        <a:lstStyle/>
        <a:p>
          <a:r>
            <a:rPr lang="pt-BR" sz="1200" b="1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Itau Display    "/>
            </a:rPr>
            <a:t>Trilha Processos, Automação e Dados</a:t>
          </a:r>
        </a:p>
      </dgm:t>
    </dgm:pt>
    <dgm:pt modelId="{B006D784-D6B6-41C6-A99D-8B833E6CA278}" type="parTrans" cxnId="{ACC29985-DA3F-4D8B-B0E5-64D4075F33CE}">
      <dgm:prSet/>
      <dgm:spPr/>
      <dgm:t>
        <a:bodyPr/>
        <a:lstStyle/>
        <a:p>
          <a:endParaRPr lang="pt-BR" sz="1200" b="1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Itau Display    "/>
          </a:endParaRPr>
        </a:p>
      </dgm:t>
    </dgm:pt>
    <dgm:pt modelId="{3B29CC77-5791-4BCC-A8C4-C3E6F84182B1}" type="sibTrans" cxnId="{ACC29985-DA3F-4D8B-B0E5-64D4075F33CE}">
      <dgm:prSet/>
      <dgm:spPr/>
      <dgm:t>
        <a:bodyPr/>
        <a:lstStyle/>
        <a:p>
          <a:endParaRPr lang="pt-BR" sz="1200" b="1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Itau Display    "/>
          </a:endParaRPr>
        </a:p>
      </dgm:t>
    </dgm:pt>
    <dgm:pt modelId="{4ED0D75A-CFF7-44E5-90A7-81A7C8867E4B}">
      <dgm:prSet phldrT="[Texto]" custT="1"/>
      <dgm:spPr>
        <a:solidFill>
          <a:srgbClr val="F59FCA"/>
        </a:solidFill>
      </dgm:spPr>
      <dgm:t>
        <a:bodyPr/>
        <a:lstStyle/>
        <a:p>
          <a:r>
            <a:rPr lang="pt-BR" sz="1200" b="1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Itau Display    "/>
            </a:rPr>
            <a:t>Semana Temática</a:t>
          </a:r>
        </a:p>
      </dgm:t>
    </dgm:pt>
    <dgm:pt modelId="{BE12637B-3BDD-4543-8F24-EB9571D28896}" type="parTrans" cxnId="{9CB0291C-ED91-4AD3-8BED-8DDB25F873B6}">
      <dgm:prSet/>
      <dgm:spPr/>
      <dgm:t>
        <a:bodyPr/>
        <a:lstStyle/>
        <a:p>
          <a:endParaRPr lang="pt-BR" sz="1200" b="1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Itau Display    "/>
          </a:endParaRPr>
        </a:p>
      </dgm:t>
    </dgm:pt>
    <dgm:pt modelId="{5C14A560-65DC-496D-A698-1CE522187914}" type="sibTrans" cxnId="{9CB0291C-ED91-4AD3-8BED-8DDB25F873B6}">
      <dgm:prSet/>
      <dgm:spPr/>
      <dgm:t>
        <a:bodyPr/>
        <a:lstStyle/>
        <a:p>
          <a:endParaRPr lang="pt-BR" sz="1200" b="1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Itau Display    "/>
          </a:endParaRPr>
        </a:p>
      </dgm:t>
    </dgm:pt>
    <dgm:pt modelId="{FC10A141-4CB7-42A4-9ADD-09FBAA769FC3}">
      <dgm:prSet phldrT="[Texto]" custT="1"/>
      <dgm:spPr>
        <a:solidFill>
          <a:srgbClr val="007ABF"/>
        </a:solidFill>
      </dgm:spPr>
      <dgm:t>
        <a:bodyPr/>
        <a:lstStyle/>
        <a:p>
          <a:r>
            <a:rPr lang="pt-BR" sz="1200" b="1" err="1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Itau Display    "/>
            </a:rPr>
            <a:t>Lab</a:t>
          </a:r>
          <a:r>
            <a:rPr lang="pt-BR" sz="1200" b="1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Itau Display    "/>
            </a:rPr>
            <a:t> OPs</a:t>
          </a:r>
        </a:p>
      </dgm:t>
    </dgm:pt>
    <dgm:pt modelId="{D6741A82-9A78-4757-AFC2-35071A5C35E6}" type="parTrans" cxnId="{6778D97E-5D93-47C2-9045-E4B7EF46CE51}">
      <dgm:prSet/>
      <dgm:spPr/>
      <dgm:t>
        <a:bodyPr/>
        <a:lstStyle/>
        <a:p>
          <a:endParaRPr lang="pt-BR" sz="1200" b="1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Itau Display    "/>
          </a:endParaRPr>
        </a:p>
      </dgm:t>
    </dgm:pt>
    <dgm:pt modelId="{7754AE9B-73E0-4B9F-AED9-3C33CC9B8F0E}" type="sibTrans" cxnId="{6778D97E-5D93-47C2-9045-E4B7EF46CE51}">
      <dgm:prSet/>
      <dgm:spPr/>
      <dgm:t>
        <a:bodyPr/>
        <a:lstStyle/>
        <a:p>
          <a:endParaRPr lang="pt-BR" sz="1200" b="1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Itau Display    "/>
          </a:endParaRPr>
        </a:p>
      </dgm:t>
    </dgm:pt>
    <dgm:pt modelId="{A5028280-4952-4160-9DE7-625918876137}">
      <dgm:prSet phldrT="[Texto]" custT="1"/>
      <dgm:spPr>
        <a:solidFill>
          <a:srgbClr val="00A2FF"/>
        </a:solidFill>
      </dgm:spPr>
      <dgm:t>
        <a:bodyPr/>
        <a:lstStyle/>
        <a:p>
          <a:r>
            <a:rPr lang="pt-BR" sz="1200" b="1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Itau Display    "/>
            </a:rPr>
            <a:t>Mão na Massa</a:t>
          </a:r>
        </a:p>
      </dgm:t>
    </dgm:pt>
    <dgm:pt modelId="{D939DBAB-54E3-4E2C-A186-F53AA892B6B0}" type="parTrans" cxnId="{35C374B9-CF18-4FB7-BB0F-9E2DA955C7F5}">
      <dgm:prSet/>
      <dgm:spPr/>
      <dgm:t>
        <a:bodyPr/>
        <a:lstStyle/>
        <a:p>
          <a:endParaRPr lang="pt-BR" sz="1200" b="1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Itau Display    "/>
          </a:endParaRPr>
        </a:p>
      </dgm:t>
    </dgm:pt>
    <dgm:pt modelId="{3DCEBD00-8CAF-45B7-ABA4-1448C6B4BA37}" type="sibTrans" cxnId="{35C374B9-CF18-4FB7-BB0F-9E2DA955C7F5}">
      <dgm:prSet/>
      <dgm:spPr/>
      <dgm:t>
        <a:bodyPr/>
        <a:lstStyle/>
        <a:p>
          <a:endParaRPr lang="pt-BR" sz="1200" b="1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Itau Display    "/>
          </a:endParaRPr>
        </a:p>
      </dgm:t>
    </dgm:pt>
    <dgm:pt modelId="{70D0CD0D-2FDA-4D5C-94DA-F005E62C3ACC}">
      <dgm:prSet phldrT="[Texto]" custT="1"/>
      <dgm:spPr>
        <a:solidFill>
          <a:srgbClr val="00A4A5"/>
        </a:solidFill>
      </dgm:spPr>
      <dgm:t>
        <a:bodyPr/>
        <a:lstStyle/>
        <a:p>
          <a:r>
            <a:rPr lang="pt-BR" sz="1200" b="1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Itau Display    "/>
            </a:rPr>
            <a:t>Trilha Especialista</a:t>
          </a:r>
        </a:p>
      </dgm:t>
    </dgm:pt>
    <dgm:pt modelId="{EA314AC7-CAEA-49A7-90AE-E0931CA22193}" type="parTrans" cxnId="{A3EFB704-7667-4503-BAEF-5BC6CA9C2AA7}">
      <dgm:prSet/>
      <dgm:spPr/>
      <dgm:t>
        <a:bodyPr/>
        <a:lstStyle/>
        <a:p>
          <a:endParaRPr lang="pt-BR" sz="1200" b="1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Itau Display    "/>
          </a:endParaRPr>
        </a:p>
      </dgm:t>
    </dgm:pt>
    <dgm:pt modelId="{DCA761C4-3810-409E-9E7E-1A5A6AF71C85}" type="sibTrans" cxnId="{A3EFB704-7667-4503-BAEF-5BC6CA9C2AA7}">
      <dgm:prSet/>
      <dgm:spPr/>
      <dgm:t>
        <a:bodyPr/>
        <a:lstStyle/>
        <a:p>
          <a:endParaRPr lang="pt-BR" sz="1200" b="1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Itau Display    "/>
          </a:endParaRPr>
        </a:p>
      </dgm:t>
    </dgm:pt>
    <dgm:pt modelId="{4D87E7A9-D6BC-4BD4-A28E-4036E37B4D1D}">
      <dgm:prSet phldrT="[Texto]" custT="1"/>
      <dgm:spPr>
        <a:solidFill>
          <a:srgbClr val="11655E"/>
        </a:solidFill>
      </dgm:spPr>
      <dgm:t>
        <a:bodyPr/>
        <a:lstStyle/>
        <a:p>
          <a:r>
            <a:rPr lang="pt-BR" sz="1200" b="1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Itau Display    "/>
            </a:rPr>
            <a:t>Mestrado</a:t>
          </a:r>
        </a:p>
      </dgm:t>
    </dgm:pt>
    <dgm:pt modelId="{29DCBBDA-A294-4DAA-B192-430AF4BC5102}" type="parTrans" cxnId="{06CA716F-3CE1-4EE6-9F94-C209C7DA4978}">
      <dgm:prSet/>
      <dgm:spPr/>
      <dgm:t>
        <a:bodyPr/>
        <a:lstStyle/>
        <a:p>
          <a:endParaRPr lang="pt-BR" sz="1200" b="1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Itau Display    "/>
          </a:endParaRPr>
        </a:p>
      </dgm:t>
    </dgm:pt>
    <dgm:pt modelId="{5BB3B3EF-FE08-431F-951D-73AA5C2ACD6B}" type="sibTrans" cxnId="{06CA716F-3CE1-4EE6-9F94-C209C7DA4978}">
      <dgm:prSet/>
      <dgm:spPr/>
      <dgm:t>
        <a:bodyPr/>
        <a:lstStyle/>
        <a:p>
          <a:endParaRPr lang="pt-BR" sz="1200" b="1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Itau Display    "/>
          </a:endParaRPr>
        </a:p>
      </dgm:t>
    </dgm:pt>
    <dgm:pt modelId="{B4E91906-9204-495D-BBEC-434671A466D9}">
      <dgm:prSet phldrT="[Texto]" custT="1"/>
      <dgm:spPr>
        <a:solidFill>
          <a:srgbClr val="EF5FA7"/>
        </a:solidFill>
      </dgm:spPr>
      <dgm:t>
        <a:bodyPr/>
        <a:lstStyle/>
        <a:p>
          <a:r>
            <a:rPr lang="pt-BR" sz="1200" b="1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Itau Display    "/>
            </a:rPr>
            <a:t>Multiplicadores</a:t>
          </a:r>
        </a:p>
      </dgm:t>
    </dgm:pt>
    <dgm:pt modelId="{95D821C8-8939-446E-98B0-CA172D853767}" type="parTrans" cxnId="{D37321D3-B6E9-4E6B-95E3-8E28BC601143}">
      <dgm:prSet/>
      <dgm:spPr/>
      <dgm:t>
        <a:bodyPr/>
        <a:lstStyle/>
        <a:p>
          <a:endParaRPr lang="pt-BR" sz="1200" b="1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Itau Display    "/>
          </a:endParaRPr>
        </a:p>
      </dgm:t>
    </dgm:pt>
    <dgm:pt modelId="{8F3FB370-CD8D-4522-A160-F8A5C8640CDD}" type="sibTrans" cxnId="{D37321D3-B6E9-4E6B-95E3-8E28BC601143}">
      <dgm:prSet/>
      <dgm:spPr/>
      <dgm:t>
        <a:bodyPr/>
        <a:lstStyle/>
        <a:p>
          <a:endParaRPr lang="pt-BR" sz="1200" b="1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Itau Display    "/>
          </a:endParaRPr>
        </a:p>
      </dgm:t>
    </dgm:pt>
    <dgm:pt modelId="{BA8E995A-5313-406D-AE3A-56EEACDE7547}" type="pres">
      <dgm:prSet presAssocID="{67CCE213-0601-46E8-97EF-23E3B04D6785}" presName="Name0" presStyleCnt="0">
        <dgm:presLayoutVars>
          <dgm:dir/>
          <dgm:animLvl val="lvl"/>
          <dgm:resizeHandles val="exact"/>
        </dgm:presLayoutVars>
      </dgm:prSet>
      <dgm:spPr/>
    </dgm:pt>
    <dgm:pt modelId="{22B41428-4D45-4FB8-877A-59CFDAC6299D}" type="pres">
      <dgm:prSet presAssocID="{5A6A7EB3-FAB2-48A9-A78E-D21096EC3BCE}" presName="Name8" presStyleCnt="0"/>
      <dgm:spPr/>
    </dgm:pt>
    <dgm:pt modelId="{DD41A179-26C7-48C9-92CA-A3AE3925616B}" type="pres">
      <dgm:prSet presAssocID="{5A6A7EB3-FAB2-48A9-A78E-D21096EC3BCE}" presName="level" presStyleLbl="node1" presStyleIdx="0" presStyleCnt="7">
        <dgm:presLayoutVars>
          <dgm:chMax val="1"/>
          <dgm:bulletEnabled val="1"/>
        </dgm:presLayoutVars>
      </dgm:prSet>
      <dgm:spPr/>
    </dgm:pt>
    <dgm:pt modelId="{221273DA-BD75-478B-A33F-AC3A70904F70}" type="pres">
      <dgm:prSet presAssocID="{5A6A7EB3-FAB2-48A9-A78E-D21096EC3BCE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E8619261-D15C-4868-8ADE-61BF9298E799}" type="pres">
      <dgm:prSet presAssocID="{B4E91906-9204-495D-BBEC-434671A466D9}" presName="Name8" presStyleCnt="0"/>
      <dgm:spPr/>
    </dgm:pt>
    <dgm:pt modelId="{B24A1212-2AAA-4781-AD36-EC3826BD17AA}" type="pres">
      <dgm:prSet presAssocID="{B4E91906-9204-495D-BBEC-434671A466D9}" presName="level" presStyleLbl="node1" presStyleIdx="1" presStyleCnt="7">
        <dgm:presLayoutVars>
          <dgm:chMax val="1"/>
          <dgm:bulletEnabled val="1"/>
        </dgm:presLayoutVars>
      </dgm:prSet>
      <dgm:spPr/>
    </dgm:pt>
    <dgm:pt modelId="{4F656642-E17E-4947-8BDB-1DD852E4D19F}" type="pres">
      <dgm:prSet presAssocID="{B4E91906-9204-495D-BBEC-434671A466D9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802F8606-1B08-4555-8AC2-5AE29CE77DA3}" type="pres">
      <dgm:prSet presAssocID="{4ED0D75A-CFF7-44E5-90A7-81A7C8867E4B}" presName="Name8" presStyleCnt="0"/>
      <dgm:spPr/>
    </dgm:pt>
    <dgm:pt modelId="{F8F779B5-26A0-4D7B-85E5-B401E0966A20}" type="pres">
      <dgm:prSet presAssocID="{4ED0D75A-CFF7-44E5-90A7-81A7C8867E4B}" presName="level" presStyleLbl="node1" presStyleIdx="2" presStyleCnt="7">
        <dgm:presLayoutVars>
          <dgm:chMax val="1"/>
          <dgm:bulletEnabled val="1"/>
        </dgm:presLayoutVars>
      </dgm:prSet>
      <dgm:spPr/>
    </dgm:pt>
    <dgm:pt modelId="{A49B97CC-C9A2-4D90-B995-CCA82C663015}" type="pres">
      <dgm:prSet presAssocID="{4ED0D75A-CFF7-44E5-90A7-81A7C8867E4B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2938F706-6521-44B1-A684-792F606327C5}" type="pres">
      <dgm:prSet presAssocID="{FC10A141-4CB7-42A4-9ADD-09FBAA769FC3}" presName="Name8" presStyleCnt="0"/>
      <dgm:spPr/>
    </dgm:pt>
    <dgm:pt modelId="{86FB356E-0770-48B1-8F3D-5F6FCCE88F3F}" type="pres">
      <dgm:prSet presAssocID="{FC10A141-4CB7-42A4-9ADD-09FBAA769FC3}" presName="level" presStyleLbl="node1" presStyleIdx="3" presStyleCnt="7">
        <dgm:presLayoutVars>
          <dgm:chMax val="1"/>
          <dgm:bulletEnabled val="1"/>
        </dgm:presLayoutVars>
      </dgm:prSet>
      <dgm:spPr/>
    </dgm:pt>
    <dgm:pt modelId="{C5B784E4-FB60-4BCF-A985-269166A673CF}" type="pres">
      <dgm:prSet presAssocID="{FC10A141-4CB7-42A4-9ADD-09FBAA769FC3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1A708629-DDBA-4F83-B249-9A2E1DF65860}" type="pres">
      <dgm:prSet presAssocID="{A5028280-4952-4160-9DE7-625918876137}" presName="Name8" presStyleCnt="0"/>
      <dgm:spPr/>
    </dgm:pt>
    <dgm:pt modelId="{691E191C-6C0D-4E38-8E2A-A0DAA93FFCE7}" type="pres">
      <dgm:prSet presAssocID="{A5028280-4952-4160-9DE7-625918876137}" presName="level" presStyleLbl="node1" presStyleIdx="4" presStyleCnt="7">
        <dgm:presLayoutVars>
          <dgm:chMax val="1"/>
          <dgm:bulletEnabled val="1"/>
        </dgm:presLayoutVars>
      </dgm:prSet>
      <dgm:spPr/>
    </dgm:pt>
    <dgm:pt modelId="{9C1449E6-AE70-4506-8291-F1D196E270B7}" type="pres">
      <dgm:prSet presAssocID="{A5028280-4952-4160-9DE7-62591887613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84086832-3953-47F1-B8E5-7BD361F7F31B}" type="pres">
      <dgm:prSet presAssocID="{70D0CD0D-2FDA-4D5C-94DA-F005E62C3ACC}" presName="Name8" presStyleCnt="0"/>
      <dgm:spPr/>
    </dgm:pt>
    <dgm:pt modelId="{CD44E643-41E0-41EB-B6D8-F09C14C803C7}" type="pres">
      <dgm:prSet presAssocID="{70D0CD0D-2FDA-4D5C-94DA-F005E62C3ACC}" presName="level" presStyleLbl="node1" presStyleIdx="5" presStyleCnt="7">
        <dgm:presLayoutVars>
          <dgm:chMax val="1"/>
          <dgm:bulletEnabled val="1"/>
        </dgm:presLayoutVars>
      </dgm:prSet>
      <dgm:spPr/>
    </dgm:pt>
    <dgm:pt modelId="{DBDC6FAE-C475-4307-8FFB-B4B740FB2C48}" type="pres">
      <dgm:prSet presAssocID="{70D0CD0D-2FDA-4D5C-94DA-F005E62C3AC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E4333EB0-A834-4D12-AF12-777687E5A3C5}" type="pres">
      <dgm:prSet presAssocID="{4D87E7A9-D6BC-4BD4-A28E-4036E37B4D1D}" presName="Name8" presStyleCnt="0"/>
      <dgm:spPr/>
    </dgm:pt>
    <dgm:pt modelId="{B2A2D620-C066-4923-812C-A9839C940695}" type="pres">
      <dgm:prSet presAssocID="{4D87E7A9-D6BC-4BD4-A28E-4036E37B4D1D}" presName="level" presStyleLbl="node1" presStyleIdx="6" presStyleCnt="7">
        <dgm:presLayoutVars>
          <dgm:chMax val="1"/>
          <dgm:bulletEnabled val="1"/>
        </dgm:presLayoutVars>
      </dgm:prSet>
      <dgm:spPr/>
    </dgm:pt>
    <dgm:pt modelId="{8AF8C913-BD98-427F-9C8C-B2658A86E647}" type="pres">
      <dgm:prSet presAssocID="{4D87E7A9-D6BC-4BD4-A28E-4036E37B4D1D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A3EFB704-7667-4503-BAEF-5BC6CA9C2AA7}" srcId="{67CCE213-0601-46E8-97EF-23E3B04D6785}" destId="{70D0CD0D-2FDA-4D5C-94DA-F005E62C3ACC}" srcOrd="5" destOrd="0" parTransId="{EA314AC7-CAEA-49A7-90AE-E0931CA22193}" sibTransId="{DCA761C4-3810-409E-9E7E-1A5A6AF71C85}"/>
    <dgm:cxn modelId="{33422A09-0A4E-459B-848C-5ECBFB4E0F39}" type="presOf" srcId="{4ED0D75A-CFF7-44E5-90A7-81A7C8867E4B}" destId="{F8F779B5-26A0-4D7B-85E5-B401E0966A20}" srcOrd="0" destOrd="0" presId="urn:microsoft.com/office/officeart/2005/8/layout/pyramid3"/>
    <dgm:cxn modelId="{9CB0291C-ED91-4AD3-8BED-8DDB25F873B6}" srcId="{67CCE213-0601-46E8-97EF-23E3B04D6785}" destId="{4ED0D75A-CFF7-44E5-90A7-81A7C8867E4B}" srcOrd="2" destOrd="0" parTransId="{BE12637B-3BDD-4543-8F24-EB9571D28896}" sibTransId="{5C14A560-65DC-496D-A698-1CE522187914}"/>
    <dgm:cxn modelId="{86DAA31E-F786-4518-8648-7AB870E78AFF}" type="presOf" srcId="{4ED0D75A-CFF7-44E5-90A7-81A7C8867E4B}" destId="{A49B97CC-C9A2-4D90-B995-CCA82C663015}" srcOrd="1" destOrd="0" presId="urn:microsoft.com/office/officeart/2005/8/layout/pyramid3"/>
    <dgm:cxn modelId="{F4DCE137-1F2D-479A-BF08-28B5DB59160A}" type="presOf" srcId="{70D0CD0D-2FDA-4D5C-94DA-F005E62C3ACC}" destId="{DBDC6FAE-C475-4307-8FFB-B4B740FB2C48}" srcOrd="1" destOrd="0" presId="urn:microsoft.com/office/officeart/2005/8/layout/pyramid3"/>
    <dgm:cxn modelId="{4D053C49-E2EF-44C2-B1E4-F211B0981591}" type="presOf" srcId="{FC10A141-4CB7-42A4-9ADD-09FBAA769FC3}" destId="{C5B784E4-FB60-4BCF-A985-269166A673CF}" srcOrd="1" destOrd="0" presId="urn:microsoft.com/office/officeart/2005/8/layout/pyramid3"/>
    <dgm:cxn modelId="{A8D5986B-6DBA-4DB3-9626-78F96EF2F00D}" type="presOf" srcId="{4D87E7A9-D6BC-4BD4-A28E-4036E37B4D1D}" destId="{B2A2D620-C066-4923-812C-A9839C940695}" srcOrd="0" destOrd="0" presId="urn:microsoft.com/office/officeart/2005/8/layout/pyramid3"/>
    <dgm:cxn modelId="{06CA716F-3CE1-4EE6-9F94-C209C7DA4978}" srcId="{67CCE213-0601-46E8-97EF-23E3B04D6785}" destId="{4D87E7A9-D6BC-4BD4-A28E-4036E37B4D1D}" srcOrd="6" destOrd="0" parTransId="{29DCBBDA-A294-4DAA-B192-430AF4BC5102}" sibTransId="{5BB3B3EF-FE08-431F-951D-73AA5C2ACD6B}"/>
    <dgm:cxn modelId="{8D982456-E7C1-4B4B-8482-8538FBC48B17}" type="presOf" srcId="{FC10A141-4CB7-42A4-9ADD-09FBAA769FC3}" destId="{86FB356E-0770-48B1-8F3D-5F6FCCE88F3F}" srcOrd="0" destOrd="0" presId="urn:microsoft.com/office/officeart/2005/8/layout/pyramid3"/>
    <dgm:cxn modelId="{31638477-38D5-46CB-A617-A83E3D96C683}" type="presOf" srcId="{A5028280-4952-4160-9DE7-625918876137}" destId="{9C1449E6-AE70-4506-8291-F1D196E270B7}" srcOrd="1" destOrd="0" presId="urn:microsoft.com/office/officeart/2005/8/layout/pyramid3"/>
    <dgm:cxn modelId="{9626B67D-FC5F-4FC1-AB6D-25D6C208DF9B}" type="presOf" srcId="{B4E91906-9204-495D-BBEC-434671A466D9}" destId="{B24A1212-2AAA-4781-AD36-EC3826BD17AA}" srcOrd="0" destOrd="0" presId="urn:microsoft.com/office/officeart/2005/8/layout/pyramid3"/>
    <dgm:cxn modelId="{6778D97E-5D93-47C2-9045-E4B7EF46CE51}" srcId="{67CCE213-0601-46E8-97EF-23E3B04D6785}" destId="{FC10A141-4CB7-42A4-9ADD-09FBAA769FC3}" srcOrd="3" destOrd="0" parTransId="{D6741A82-9A78-4757-AFC2-35071A5C35E6}" sibTransId="{7754AE9B-73E0-4B9F-AED9-3C33CC9B8F0E}"/>
    <dgm:cxn modelId="{BCE73484-FB5F-4887-B4E7-82C76E8439A3}" type="presOf" srcId="{67CCE213-0601-46E8-97EF-23E3B04D6785}" destId="{BA8E995A-5313-406D-AE3A-56EEACDE7547}" srcOrd="0" destOrd="0" presId="urn:microsoft.com/office/officeart/2005/8/layout/pyramid3"/>
    <dgm:cxn modelId="{ACC29985-DA3F-4D8B-B0E5-64D4075F33CE}" srcId="{67CCE213-0601-46E8-97EF-23E3B04D6785}" destId="{5A6A7EB3-FAB2-48A9-A78E-D21096EC3BCE}" srcOrd="0" destOrd="0" parTransId="{B006D784-D6B6-41C6-A99D-8B833E6CA278}" sibTransId="{3B29CC77-5791-4BCC-A8C4-C3E6F84182B1}"/>
    <dgm:cxn modelId="{7BFB929E-BCA7-4FB4-9B9B-5A21F185840D}" type="presOf" srcId="{5A6A7EB3-FAB2-48A9-A78E-D21096EC3BCE}" destId="{DD41A179-26C7-48C9-92CA-A3AE3925616B}" srcOrd="0" destOrd="0" presId="urn:microsoft.com/office/officeart/2005/8/layout/pyramid3"/>
    <dgm:cxn modelId="{59EA04B9-9573-4C8A-BF55-D1A82B8A5720}" type="presOf" srcId="{B4E91906-9204-495D-BBEC-434671A466D9}" destId="{4F656642-E17E-4947-8BDB-1DD852E4D19F}" srcOrd="1" destOrd="0" presId="urn:microsoft.com/office/officeart/2005/8/layout/pyramid3"/>
    <dgm:cxn modelId="{35C374B9-CF18-4FB7-BB0F-9E2DA955C7F5}" srcId="{67CCE213-0601-46E8-97EF-23E3B04D6785}" destId="{A5028280-4952-4160-9DE7-625918876137}" srcOrd="4" destOrd="0" parTransId="{D939DBAB-54E3-4E2C-A186-F53AA892B6B0}" sibTransId="{3DCEBD00-8CAF-45B7-ABA4-1448C6B4BA37}"/>
    <dgm:cxn modelId="{528B1FCA-4528-471A-8736-A17C356B57A4}" type="presOf" srcId="{4D87E7A9-D6BC-4BD4-A28E-4036E37B4D1D}" destId="{8AF8C913-BD98-427F-9C8C-B2658A86E647}" srcOrd="1" destOrd="0" presId="urn:microsoft.com/office/officeart/2005/8/layout/pyramid3"/>
    <dgm:cxn modelId="{D37321D3-B6E9-4E6B-95E3-8E28BC601143}" srcId="{67CCE213-0601-46E8-97EF-23E3B04D6785}" destId="{B4E91906-9204-495D-BBEC-434671A466D9}" srcOrd="1" destOrd="0" parTransId="{95D821C8-8939-446E-98B0-CA172D853767}" sibTransId="{8F3FB370-CD8D-4522-A160-F8A5C8640CDD}"/>
    <dgm:cxn modelId="{36E326D6-6C05-485F-8252-5755F3ED79C4}" type="presOf" srcId="{5A6A7EB3-FAB2-48A9-A78E-D21096EC3BCE}" destId="{221273DA-BD75-478B-A33F-AC3A70904F70}" srcOrd="1" destOrd="0" presId="urn:microsoft.com/office/officeart/2005/8/layout/pyramid3"/>
    <dgm:cxn modelId="{5D6A16F3-6C62-4BB9-921F-0B1652710067}" type="presOf" srcId="{70D0CD0D-2FDA-4D5C-94DA-F005E62C3ACC}" destId="{CD44E643-41E0-41EB-B6D8-F09C14C803C7}" srcOrd="0" destOrd="0" presId="urn:microsoft.com/office/officeart/2005/8/layout/pyramid3"/>
    <dgm:cxn modelId="{1C9EC8FE-5274-4344-8944-05A2198148B0}" type="presOf" srcId="{A5028280-4952-4160-9DE7-625918876137}" destId="{691E191C-6C0D-4E38-8E2A-A0DAA93FFCE7}" srcOrd="0" destOrd="0" presId="urn:microsoft.com/office/officeart/2005/8/layout/pyramid3"/>
    <dgm:cxn modelId="{364F80B5-06FD-44BA-A9DB-10F41AC27AF9}" type="presParOf" srcId="{BA8E995A-5313-406D-AE3A-56EEACDE7547}" destId="{22B41428-4D45-4FB8-877A-59CFDAC6299D}" srcOrd="0" destOrd="0" presId="urn:microsoft.com/office/officeart/2005/8/layout/pyramid3"/>
    <dgm:cxn modelId="{9F1AC3E6-9B5F-485D-8633-76730D9BB919}" type="presParOf" srcId="{22B41428-4D45-4FB8-877A-59CFDAC6299D}" destId="{DD41A179-26C7-48C9-92CA-A3AE3925616B}" srcOrd="0" destOrd="0" presId="urn:microsoft.com/office/officeart/2005/8/layout/pyramid3"/>
    <dgm:cxn modelId="{9E697711-EB4B-4A4D-9226-E7F3029346E1}" type="presParOf" srcId="{22B41428-4D45-4FB8-877A-59CFDAC6299D}" destId="{221273DA-BD75-478B-A33F-AC3A70904F70}" srcOrd="1" destOrd="0" presId="urn:microsoft.com/office/officeart/2005/8/layout/pyramid3"/>
    <dgm:cxn modelId="{00C3AEF3-0FA2-4A02-86E8-FA074F305566}" type="presParOf" srcId="{BA8E995A-5313-406D-AE3A-56EEACDE7547}" destId="{E8619261-D15C-4868-8ADE-61BF9298E799}" srcOrd="1" destOrd="0" presId="urn:microsoft.com/office/officeart/2005/8/layout/pyramid3"/>
    <dgm:cxn modelId="{4467B0FD-8E3E-43DD-9D5F-9CFA17C07675}" type="presParOf" srcId="{E8619261-D15C-4868-8ADE-61BF9298E799}" destId="{B24A1212-2AAA-4781-AD36-EC3826BD17AA}" srcOrd="0" destOrd="0" presId="urn:microsoft.com/office/officeart/2005/8/layout/pyramid3"/>
    <dgm:cxn modelId="{2F652BD6-7A67-48E4-A0E7-FF7654F9AA3C}" type="presParOf" srcId="{E8619261-D15C-4868-8ADE-61BF9298E799}" destId="{4F656642-E17E-4947-8BDB-1DD852E4D19F}" srcOrd="1" destOrd="0" presId="urn:microsoft.com/office/officeart/2005/8/layout/pyramid3"/>
    <dgm:cxn modelId="{07E35821-7528-4665-A5BC-F21AA7896307}" type="presParOf" srcId="{BA8E995A-5313-406D-AE3A-56EEACDE7547}" destId="{802F8606-1B08-4555-8AC2-5AE29CE77DA3}" srcOrd="2" destOrd="0" presId="urn:microsoft.com/office/officeart/2005/8/layout/pyramid3"/>
    <dgm:cxn modelId="{6D8DFB67-0B37-4E8E-89DD-77CAF6925137}" type="presParOf" srcId="{802F8606-1B08-4555-8AC2-5AE29CE77DA3}" destId="{F8F779B5-26A0-4D7B-85E5-B401E0966A20}" srcOrd="0" destOrd="0" presId="urn:microsoft.com/office/officeart/2005/8/layout/pyramid3"/>
    <dgm:cxn modelId="{3F94D96A-3373-4565-9C45-892E6B9D6FD5}" type="presParOf" srcId="{802F8606-1B08-4555-8AC2-5AE29CE77DA3}" destId="{A49B97CC-C9A2-4D90-B995-CCA82C663015}" srcOrd="1" destOrd="0" presId="urn:microsoft.com/office/officeart/2005/8/layout/pyramid3"/>
    <dgm:cxn modelId="{82FCCA78-E2E7-4B2E-A919-DBCB64DB0C1B}" type="presParOf" srcId="{BA8E995A-5313-406D-AE3A-56EEACDE7547}" destId="{2938F706-6521-44B1-A684-792F606327C5}" srcOrd="3" destOrd="0" presId="urn:microsoft.com/office/officeart/2005/8/layout/pyramid3"/>
    <dgm:cxn modelId="{03630B88-CD5F-45E9-89AB-7025AF6EA82A}" type="presParOf" srcId="{2938F706-6521-44B1-A684-792F606327C5}" destId="{86FB356E-0770-48B1-8F3D-5F6FCCE88F3F}" srcOrd="0" destOrd="0" presId="urn:microsoft.com/office/officeart/2005/8/layout/pyramid3"/>
    <dgm:cxn modelId="{1ACEEF79-D140-45C6-AE8A-E5F4720C2746}" type="presParOf" srcId="{2938F706-6521-44B1-A684-792F606327C5}" destId="{C5B784E4-FB60-4BCF-A985-269166A673CF}" srcOrd="1" destOrd="0" presId="urn:microsoft.com/office/officeart/2005/8/layout/pyramid3"/>
    <dgm:cxn modelId="{A8EE3FE3-5566-4ACD-8364-C836AD1B1702}" type="presParOf" srcId="{BA8E995A-5313-406D-AE3A-56EEACDE7547}" destId="{1A708629-DDBA-4F83-B249-9A2E1DF65860}" srcOrd="4" destOrd="0" presId="urn:microsoft.com/office/officeart/2005/8/layout/pyramid3"/>
    <dgm:cxn modelId="{006ADAB4-3C7E-4DBF-B7EA-1761C2AFC573}" type="presParOf" srcId="{1A708629-DDBA-4F83-B249-9A2E1DF65860}" destId="{691E191C-6C0D-4E38-8E2A-A0DAA93FFCE7}" srcOrd="0" destOrd="0" presId="urn:microsoft.com/office/officeart/2005/8/layout/pyramid3"/>
    <dgm:cxn modelId="{EA172494-B329-4A79-A68F-BAD556C4208B}" type="presParOf" srcId="{1A708629-DDBA-4F83-B249-9A2E1DF65860}" destId="{9C1449E6-AE70-4506-8291-F1D196E270B7}" srcOrd="1" destOrd="0" presId="urn:microsoft.com/office/officeart/2005/8/layout/pyramid3"/>
    <dgm:cxn modelId="{0EC0C4A0-FFF0-4B09-8668-5884A9B3D4EE}" type="presParOf" srcId="{BA8E995A-5313-406D-AE3A-56EEACDE7547}" destId="{84086832-3953-47F1-B8E5-7BD361F7F31B}" srcOrd="5" destOrd="0" presId="urn:microsoft.com/office/officeart/2005/8/layout/pyramid3"/>
    <dgm:cxn modelId="{E4054B90-C98F-4A24-953F-10DE9C97D098}" type="presParOf" srcId="{84086832-3953-47F1-B8E5-7BD361F7F31B}" destId="{CD44E643-41E0-41EB-B6D8-F09C14C803C7}" srcOrd="0" destOrd="0" presId="urn:microsoft.com/office/officeart/2005/8/layout/pyramid3"/>
    <dgm:cxn modelId="{EE33D0CF-91F6-4E24-9DF7-09C7AB0EA509}" type="presParOf" srcId="{84086832-3953-47F1-B8E5-7BD361F7F31B}" destId="{DBDC6FAE-C475-4307-8FFB-B4B740FB2C48}" srcOrd="1" destOrd="0" presId="urn:microsoft.com/office/officeart/2005/8/layout/pyramid3"/>
    <dgm:cxn modelId="{866AD8BF-EAAC-4824-807E-CC5C28F2B452}" type="presParOf" srcId="{BA8E995A-5313-406D-AE3A-56EEACDE7547}" destId="{E4333EB0-A834-4D12-AF12-777687E5A3C5}" srcOrd="6" destOrd="0" presId="urn:microsoft.com/office/officeart/2005/8/layout/pyramid3"/>
    <dgm:cxn modelId="{C971180E-3DA7-475E-8815-72F38D38313C}" type="presParOf" srcId="{E4333EB0-A834-4D12-AF12-777687E5A3C5}" destId="{B2A2D620-C066-4923-812C-A9839C940695}" srcOrd="0" destOrd="0" presId="urn:microsoft.com/office/officeart/2005/8/layout/pyramid3"/>
    <dgm:cxn modelId="{08897870-F1EF-42C8-ACBA-A65730D12718}" type="presParOf" srcId="{E4333EB0-A834-4D12-AF12-777687E5A3C5}" destId="{8AF8C913-BD98-427F-9C8C-B2658A86E647}" srcOrd="1" destOrd="0" presId="urn:microsoft.com/office/officeart/2005/8/layout/pyramid3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41A179-26C7-48C9-92CA-A3AE3925616B}">
      <dsp:nvSpPr>
        <dsp:cNvPr id="0" name=""/>
        <dsp:cNvSpPr/>
      </dsp:nvSpPr>
      <dsp:spPr>
        <a:xfrm rot="10800000">
          <a:off x="0" y="0"/>
          <a:ext cx="4658480" cy="391251"/>
        </a:xfrm>
        <a:prstGeom prst="trapezoid">
          <a:avLst>
            <a:gd name="adj" fmla="val 85047"/>
          </a:avLst>
        </a:prstGeom>
        <a:solidFill>
          <a:srgbClr val="F10083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200" b="1" kern="12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Itau Display    "/>
            </a:rPr>
            <a:t>Trilha Processos, Automação e Dados</a:t>
          </a:r>
        </a:p>
      </dsp:txBody>
      <dsp:txXfrm rot="-10800000">
        <a:off x="815233" y="0"/>
        <a:ext cx="3028012" cy="391251"/>
      </dsp:txXfrm>
    </dsp:sp>
    <dsp:sp modelId="{B24A1212-2AAA-4781-AD36-EC3826BD17AA}">
      <dsp:nvSpPr>
        <dsp:cNvPr id="0" name=""/>
        <dsp:cNvSpPr/>
      </dsp:nvSpPr>
      <dsp:spPr>
        <a:xfrm rot="10800000">
          <a:off x="332748" y="391251"/>
          <a:ext cx="3992982" cy="391251"/>
        </a:xfrm>
        <a:prstGeom prst="trapezoid">
          <a:avLst>
            <a:gd name="adj" fmla="val 85047"/>
          </a:avLst>
        </a:prstGeom>
        <a:solidFill>
          <a:srgbClr val="EF5FA7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200" b="1" kern="12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Itau Display    "/>
            </a:rPr>
            <a:t>Multiplicadores</a:t>
          </a:r>
        </a:p>
      </dsp:txBody>
      <dsp:txXfrm rot="-10800000">
        <a:off x="1031520" y="391251"/>
        <a:ext cx="2595438" cy="391251"/>
      </dsp:txXfrm>
    </dsp:sp>
    <dsp:sp modelId="{F8F779B5-26A0-4D7B-85E5-B401E0966A20}">
      <dsp:nvSpPr>
        <dsp:cNvPr id="0" name=""/>
        <dsp:cNvSpPr/>
      </dsp:nvSpPr>
      <dsp:spPr>
        <a:xfrm rot="10800000">
          <a:off x="665497" y="782503"/>
          <a:ext cx="3327485" cy="391251"/>
        </a:xfrm>
        <a:prstGeom prst="trapezoid">
          <a:avLst>
            <a:gd name="adj" fmla="val 85047"/>
          </a:avLst>
        </a:prstGeom>
        <a:solidFill>
          <a:srgbClr val="F59FCA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200" b="1" kern="12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Itau Display    "/>
            </a:rPr>
            <a:t>Semana Temática</a:t>
          </a:r>
        </a:p>
      </dsp:txBody>
      <dsp:txXfrm rot="-10800000">
        <a:off x="1247807" y="782503"/>
        <a:ext cx="2162865" cy="391251"/>
      </dsp:txXfrm>
    </dsp:sp>
    <dsp:sp modelId="{86FB356E-0770-48B1-8F3D-5F6FCCE88F3F}">
      <dsp:nvSpPr>
        <dsp:cNvPr id="0" name=""/>
        <dsp:cNvSpPr/>
      </dsp:nvSpPr>
      <dsp:spPr>
        <a:xfrm rot="10800000">
          <a:off x="998245" y="1173755"/>
          <a:ext cx="2661988" cy="391251"/>
        </a:xfrm>
        <a:prstGeom prst="trapezoid">
          <a:avLst>
            <a:gd name="adj" fmla="val 85047"/>
          </a:avLst>
        </a:prstGeom>
        <a:solidFill>
          <a:srgbClr val="007ABF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200" b="1" kern="1200" err="1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Itau Display    "/>
            </a:rPr>
            <a:t>Lab</a:t>
          </a:r>
          <a:r>
            <a:rPr lang="pt-BR" sz="1200" b="1" kern="12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Itau Display    "/>
            </a:rPr>
            <a:t> OPs</a:t>
          </a:r>
        </a:p>
      </dsp:txBody>
      <dsp:txXfrm rot="-10800000">
        <a:off x="1464093" y="1173755"/>
        <a:ext cx="1730292" cy="391251"/>
      </dsp:txXfrm>
    </dsp:sp>
    <dsp:sp modelId="{691E191C-6C0D-4E38-8E2A-A0DAA93FFCE7}">
      <dsp:nvSpPr>
        <dsp:cNvPr id="0" name=""/>
        <dsp:cNvSpPr/>
      </dsp:nvSpPr>
      <dsp:spPr>
        <a:xfrm rot="10800000">
          <a:off x="1330994" y="1565006"/>
          <a:ext cx="1996491" cy="391251"/>
        </a:xfrm>
        <a:prstGeom prst="trapezoid">
          <a:avLst>
            <a:gd name="adj" fmla="val 85047"/>
          </a:avLst>
        </a:prstGeom>
        <a:solidFill>
          <a:srgbClr val="00A2FF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200" b="1" kern="12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Itau Display    "/>
            </a:rPr>
            <a:t>Mão na Massa</a:t>
          </a:r>
        </a:p>
      </dsp:txBody>
      <dsp:txXfrm rot="-10800000">
        <a:off x="1680380" y="1565006"/>
        <a:ext cx="1297719" cy="391251"/>
      </dsp:txXfrm>
    </dsp:sp>
    <dsp:sp modelId="{CD44E643-41E0-41EB-B6D8-F09C14C803C7}">
      <dsp:nvSpPr>
        <dsp:cNvPr id="0" name=""/>
        <dsp:cNvSpPr/>
      </dsp:nvSpPr>
      <dsp:spPr>
        <a:xfrm rot="10800000">
          <a:off x="1663742" y="1956258"/>
          <a:ext cx="1330994" cy="391251"/>
        </a:xfrm>
        <a:prstGeom prst="trapezoid">
          <a:avLst>
            <a:gd name="adj" fmla="val 85047"/>
          </a:avLst>
        </a:prstGeom>
        <a:solidFill>
          <a:srgbClr val="00A4A5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200" b="1" kern="12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Itau Display    "/>
            </a:rPr>
            <a:t>Trilha Especialista</a:t>
          </a:r>
        </a:p>
      </dsp:txBody>
      <dsp:txXfrm rot="-10800000">
        <a:off x="1896666" y="1956258"/>
        <a:ext cx="865146" cy="391251"/>
      </dsp:txXfrm>
    </dsp:sp>
    <dsp:sp modelId="{B2A2D620-C066-4923-812C-A9839C940695}">
      <dsp:nvSpPr>
        <dsp:cNvPr id="0" name=""/>
        <dsp:cNvSpPr/>
      </dsp:nvSpPr>
      <dsp:spPr>
        <a:xfrm rot="10800000">
          <a:off x="1996491" y="2347510"/>
          <a:ext cx="665497" cy="391251"/>
        </a:xfrm>
        <a:prstGeom prst="trapezoid">
          <a:avLst>
            <a:gd name="adj" fmla="val 85047"/>
          </a:avLst>
        </a:prstGeom>
        <a:solidFill>
          <a:srgbClr val="11655E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200" b="1" kern="12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Itau Display    "/>
            </a:rPr>
            <a:t>Mestrado</a:t>
          </a:r>
        </a:p>
      </dsp:txBody>
      <dsp:txXfrm rot="-10800000">
        <a:off x="1996491" y="2347510"/>
        <a:ext cx="665497" cy="39125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3">
  <dgm:title val=""/>
  <dgm:desc val=""/>
  <dgm:catLst>
    <dgm:cat type="pyramid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T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T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rev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t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A04B15-147A-41F0-83D6-1D05D9EA96C4}" type="datetimeFigureOut">
              <a:rPr lang="pt-BR" smtClean="0"/>
              <a:t>06/08/2024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D01763-A25F-4EAE-9612-64875FD9AFA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056617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84" name="Google Shape;184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2974C9-7E11-4A1F-ADA6-061E6A905D0A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39523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2974C9-7E11-4A1F-ADA6-061E6A905D0A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705239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b="0"/>
              <a:t>Gov.br: é um projeto </a:t>
            </a:r>
            <a:r>
              <a:rPr lang="pt-BR" b="0" i="0">
                <a:solidFill>
                  <a:srgbClr val="0C326F"/>
                </a:solidFill>
                <a:effectLst/>
                <a:latin typeface="rawline"/>
              </a:rPr>
              <a:t>de unificação dos canais digitais do governo federal. Documentos autênticos, baixa probabilidade de fraude, CNH, </a:t>
            </a:r>
            <a:r>
              <a:rPr lang="pt-BR" b="0" i="0" err="1">
                <a:solidFill>
                  <a:srgbClr val="0C326F"/>
                </a:solidFill>
                <a:effectLst/>
                <a:latin typeface="rawline"/>
              </a:rPr>
              <a:t>doc</a:t>
            </a:r>
            <a:r>
              <a:rPr lang="pt-BR" b="0" i="0">
                <a:solidFill>
                  <a:srgbClr val="0C326F"/>
                </a:solidFill>
                <a:effectLst/>
                <a:latin typeface="rawline"/>
              </a:rPr>
              <a:t> do veículo, carteira de trabalho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b="0" i="0">
                <a:solidFill>
                  <a:srgbClr val="0C326F"/>
                </a:solidFill>
                <a:effectLst/>
                <a:latin typeface="rawline"/>
              </a:rPr>
              <a:t>XP: </a:t>
            </a:r>
            <a:r>
              <a:rPr lang="pt-BR" b="0" i="0" err="1">
                <a:solidFill>
                  <a:srgbClr val="0C326F"/>
                </a:solidFill>
                <a:effectLst/>
                <a:latin typeface="rawline"/>
              </a:rPr>
              <a:t>ref</a:t>
            </a:r>
            <a:r>
              <a:rPr lang="pt-BR" b="0" i="0">
                <a:solidFill>
                  <a:srgbClr val="0C326F"/>
                </a:solidFill>
                <a:effectLst/>
                <a:latin typeface="rawline"/>
              </a:rPr>
              <a:t> na aprovação de termos, ambiente único (dentro do app), visualização no próprio ambiente, aprovação/assinatura em um click. Atendimento ao cliente: o cliente escolhe o canal, escolhe se quer ser atendido por um humano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b="0" i="0" err="1">
                <a:solidFill>
                  <a:srgbClr val="0C326F"/>
                </a:solidFill>
                <a:effectLst/>
                <a:latin typeface="rawline"/>
              </a:rPr>
              <a:t>Magalu</a:t>
            </a:r>
            <a:r>
              <a:rPr lang="pt-BR" b="0" i="0">
                <a:solidFill>
                  <a:srgbClr val="0C326F"/>
                </a:solidFill>
                <a:effectLst/>
                <a:latin typeface="rawline"/>
              </a:rPr>
              <a:t>: referência em atendimento ao cliente, atendimento preditivo, linguagem simples e acessível. Histórico de navegação/interação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b="0" i="0" err="1">
                <a:solidFill>
                  <a:srgbClr val="0C326F"/>
                </a:solidFill>
                <a:effectLst/>
                <a:latin typeface="rawline"/>
              </a:rPr>
              <a:t>Aapple</a:t>
            </a:r>
            <a:r>
              <a:rPr lang="pt-BR" b="0" i="0">
                <a:solidFill>
                  <a:srgbClr val="0C326F"/>
                </a:solidFill>
                <a:effectLst/>
                <a:latin typeface="rawline"/>
              </a:rPr>
              <a:t> Walle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b="0" i="0" err="1">
                <a:solidFill>
                  <a:srgbClr val="0C326F"/>
                </a:solidFill>
                <a:effectLst/>
                <a:latin typeface="rawline"/>
              </a:rPr>
              <a:t>Nubank</a:t>
            </a:r>
            <a:r>
              <a:rPr lang="pt-BR" b="0" i="0">
                <a:solidFill>
                  <a:srgbClr val="0C326F"/>
                </a:solidFill>
                <a:effectLst/>
                <a:latin typeface="rawline"/>
              </a:rPr>
              <a:t>: simplicidade na comunicação, transparente, linguagem acessível, tudo digital.</a:t>
            </a:r>
            <a:br>
              <a:rPr lang="pt-BR" b="0" i="0">
                <a:solidFill>
                  <a:srgbClr val="0C326F"/>
                </a:solidFill>
                <a:effectLst/>
                <a:latin typeface="rawline"/>
              </a:rPr>
            </a:br>
            <a:r>
              <a:rPr lang="pt-BR" b="0" i="0">
                <a:solidFill>
                  <a:srgbClr val="0C326F"/>
                </a:solidFill>
                <a:effectLst/>
                <a:latin typeface="rawline"/>
              </a:rPr>
              <a:t>Google drive: disponibilização de conteúdos, personalizável, histórico de navegação, compartilhamento, edição.</a:t>
            </a:r>
            <a:br>
              <a:rPr lang="pt-BR" b="0" i="0">
                <a:solidFill>
                  <a:srgbClr val="0C326F"/>
                </a:solidFill>
                <a:effectLst/>
                <a:latin typeface="rawline"/>
              </a:rPr>
            </a:br>
            <a:r>
              <a:rPr lang="pt-BR" b="0" i="0" err="1">
                <a:solidFill>
                  <a:srgbClr val="0C326F"/>
                </a:solidFill>
                <a:effectLst/>
                <a:latin typeface="rawline"/>
              </a:rPr>
              <a:t>CertiSign</a:t>
            </a:r>
            <a:r>
              <a:rPr lang="pt-BR" b="0" i="0">
                <a:solidFill>
                  <a:srgbClr val="0C326F"/>
                </a:solidFill>
                <a:effectLst/>
                <a:latin typeface="rawline"/>
              </a:rPr>
              <a:t>: autenticação, assinatura digital.</a:t>
            </a:r>
          </a:p>
          <a:p>
            <a:r>
              <a:rPr lang="pt-BR"/>
              <a:t>TOTVS: GED -&gt; ferramenta de ECM, falam sobre ciclo de vida do documento, taxonomia e </a:t>
            </a:r>
            <a:r>
              <a:rPr lang="pt-BR" err="1"/>
              <a:t>folksonomia</a:t>
            </a:r>
            <a:r>
              <a:rPr lang="pt-BR"/>
              <a:t>, visualizar, buscar, acesso mobile, uma solução pra negócios, mas que da pra ter insights.</a:t>
            </a:r>
          </a:p>
          <a:p>
            <a:r>
              <a:rPr lang="pt-BR"/>
              <a:t>https://www.totvs.com/ged/?utm_campaign=s-ged&amp;utm_source=google-search&amp;utm_medium=cpc&amp;utm_term=ged&amp;gclid=CjwKCAjw5remBhBiEiwAxL2M9-pP41UgP7knahegWP5_L7soaHD5mHUUH1Ep28PMWyizIr4oi8cK1xoC2jkQAvD_BwE</a:t>
            </a:r>
          </a:p>
          <a:p>
            <a:r>
              <a:rPr lang="pt-BR" err="1"/>
              <a:t>Aivo</a:t>
            </a:r>
            <a:r>
              <a:rPr lang="pt-BR"/>
              <a:t>: utiliza IA para conduzir chats, ‘tom de voz’ em jornadas em que o cliente está mais afetado, ‘motor semântico’ ..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6FD338-C051-4F3B-8553-22992873B0CD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79635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 typeface="Arial" panose="020B0604020202020204" pitchFamily="34" charset="0"/>
              <a:buNone/>
            </a:pPr>
            <a:endParaRPr lang="pt-BR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389517-B648-4FF4-BAF5-1B7CA76DEDF2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950349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2974C9-7E11-4A1F-ADA6-061E6A905D0A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716968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2974C9-7E11-4A1F-ADA6-061E6A905D0A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345685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F9069F-C558-4FF1-A46C-10714E48E9E7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861881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F9069F-C558-4FF1-A46C-10714E48E9E7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565725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1" name="Shape 1181"/>
          <p:cNvSpPr>
            <a:spLocks noGrp="1" noRot="1" noChangeAspect="1"/>
          </p:cNvSpPr>
          <p:nvPr>
            <p:ph type="sldImg"/>
          </p:nvPr>
        </p:nvSpPr>
        <p:spPr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182" name="Shape 1182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pt-BR"/>
              <a:t>Avaliamos as pesquisas já feitas pelos demais produtos e mais de 70% estão relacionadas ao contexto de captura de novos conteúdos. Temos muito mais conhecimento sobre como o cliente gostaria de enviar os conteúdos do que como gostaria de consultar novamente</a:t>
            </a:r>
          </a:p>
        </p:txBody>
      </p:sp>
    </p:spTree>
    <p:extLst>
      <p:ext uri="{BB962C8B-B14F-4D97-AF65-F5344CB8AC3E}">
        <p14:creationId xmlns:p14="http://schemas.microsoft.com/office/powerpoint/2010/main" val="142014556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D01763-A25F-4EAE-9612-64875FD9AFA0}" type="slidenum">
              <a:rPr lang="pt-BR" smtClean="0"/>
              <a:t>4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114187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03" name="Google Shape;103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F89984-DEA3-C84B-A59B-68D6407B70B8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90093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F89984-DEA3-C84B-A59B-68D6407B70B8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57785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F89984-DEA3-C84B-A59B-68D6407B70B8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69440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6FD338-C051-4F3B-8553-22992873B0CD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93761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  <a:p>
            <a:r>
              <a:rPr lang="pt-BR"/>
              <a:t>Falar da questão de pesquisa paga x grátis</a:t>
            </a:r>
          </a:p>
          <a:p>
            <a:endParaRPr lang="pt-BR"/>
          </a:p>
          <a:p>
            <a:r>
              <a:rPr lang="pt-BR"/>
              <a:t>Pesquisa é para minimizar os riscos da </a:t>
            </a:r>
            <a:r>
              <a:rPr lang="pt-BR" err="1"/>
              <a:t>Valid</a:t>
            </a:r>
            <a:r>
              <a:rPr lang="pt-BR"/>
              <a:t> o que ele já faz com o Itaú hoje. </a:t>
            </a:r>
            <a:r>
              <a:rPr lang="pt-BR" err="1"/>
              <a:t>Multi</a:t>
            </a:r>
            <a:r>
              <a:rPr lang="pt-BR"/>
              <a:t> canal </a:t>
            </a:r>
            <a:r>
              <a:rPr lang="pt-BR" err="1"/>
              <a:t>etc</a:t>
            </a:r>
            <a:endParaRPr lang="pt-BR"/>
          </a:p>
          <a:p>
            <a:endParaRPr lang="pt-BR"/>
          </a:p>
          <a:p>
            <a:r>
              <a:rPr lang="pt-BR"/>
              <a:t>Wallet não vai ser agora</a:t>
            </a:r>
          </a:p>
          <a:p>
            <a:endParaRPr lang="pt-BR"/>
          </a:p>
          <a:p>
            <a:r>
              <a:rPr lang="pt-BR"/>
              <a:t>Conhecer o que o banco tem de informação e conhecer o que o cliente tem </a:t>
            </a:r>
          </a:p>
          <a:p>
            <a:r>
              <a:rPr lang="pt-BR"/>
              <a:t>Descobriu onde estão os principais dados</a:t>
            </a:r>
          </a:p>
          <a:p>
            <a:endParaRPr lang="pt-BR"/>
          </a:p>
          <a:p>
            <a:r>
              <a:rPr lang="pt-BR"/>
              <a:t>Viemos afunilando</a:t>
            </a:r>
          </a:p>
          <a:p>
            <a:r>
              <a:rPr lang="pt-BR"/>
              <a:t>Olhar nossos clientes produtos que ele consome e como a experiência muda em relação de um produto para o outro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6FD338-C051-4F3B-8553-22992873B0CD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14229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Não é mais sequencial, é cíclico</a:t>
            </a:r>
          </a:p>
          <a:p>
            <a:endParaRPr lang="pt-BR"/>
          </a:p>
          <a:p>
            <a:r>
              <a:rPr lang="pt-BR"/>
              <a:t>Ser mais data </a:t>
            </a:r>
            <a:r>
              <a:rPr lang="pt-BR" err="1"/>
              <a:t>driven</a:t>
            </a:r>
            <a:endParaRPr lang="pt-BR"/>
          </a:p>
          <a:p>
            <a:r>
              <a:rPr lang="pt-BR"/>
              <a:t> o banco tem tudo mas precisamos capturar tudo para o que é relevante pra gente, para olhar com </a:t>
            </a:r>
            <a:r>
              <a:rPr lang="pt-BR" err="1"/>
              <a:t>frequencia</a:t>
            </a:r>
            <a:r>
              <a:rPr lang="pt-BR"/>
              <a:t> e agilidade para tomada de decisão.</a:t>
            </a:r>
          </a:p>
          <a:p>
            <a:endParaRPr lang="pt-BR"/>
          </a:p>
          <a:p>
            <a:r>
              <a:rPr lang="pt-BR"/>
              <a:t>Trazer inputs, agendas recorrentes com produtos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2974C9-7E11-4A1F-ADA6-061E6A905D0A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7854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400">
                <a:solidFill>
                  <a:srgbClr val="595959"/>
                </a:solidFill>
                <a:latin typeface="Itau Text" panose="020B0503020204020203" pitchFamily="34" charset="0"/>
                <a:cs typeface="Itau Text" panose="020B0503020204020203" pitchFamily="34" charset="0"/>
              </a:rPr>
              <a:t>Filtramos todas as </a:t>
            </a:r>
            <a:r>
              <a:rPr lang="pt-BR" sz="1400">
                <a:solidFill>
                  <a:srgbClr val="595959"/>
                </a:solidFill>
                <a:latin typeface="Itau Text XBold" panose="020B0803020204020203" pitchFamily="34" charset="0"/>
                <a:cs typeface="Itau Text XBold" panose="020B0803020204020203" pitchFamily="34" charset="0"/>
              </a:rPr>
              <a:t>categorias/assuntos </a:t>
            </a:r>
            <a:r>
              <a:rPr lang="pt-BR" sz="1400">
                <a:solidFill>
                  <a:srgbClr val="595959"/>
                </a:solidFill>
                <a:latin typeface="Itau Text" panose="020B0503020204020203" pitchFamily="34" charset="0"/>
                <a:cs typeface="Itau Text" panose="020B0503020204020203" pitchFamily="34" charset="0"/>
              </a:rPr>
              <a:t>que se referem à </a:t>
            </a:r>
            <a:r>
              <a:rPr lang="pt-BR" sz="1400">
                <a:solidFill>
                  <a:srgbClr val="595959"/>
                </a:solidFill>
                <a:latin typeface="Itau Text XBold" panose="020B0803020204020203" pitchFamily="34" charset="0"/>
                <a:cs typeface="Itau Text XBold" panose="020B0803020204020203" pitchFamily="34" charset="0"/>
              </a:rPr>
              <a:t>documentos</a:t>
            </a:r>
            <a:r>
              <a:rPr lang="pt-BR" sz="1400">
                <a:solidFill>
                  <a:srgbClr val="595959"/>
                </a:solidFill>
                <a:latin typeface="Itau Text" panose="020B0503020204020203" pitchFamily="34" charset="0"/>
                <a:cs typeface="Itau Text" panose="020B0503020204020203" pitchFamily="34" charset="0"/>
              </a:rPr>
              <a:t>. Fazendo referência a algum dos termos: </a:t>
            </a:r>
            <a:r>
              <a:rPr lang="pt-BR" sz="1401">
                <a:solidFill>
                  <a:srgbClr val="595959"/>
                </a:solidFill>
                <a:latin typeface="Itau Text" panose="020B0503020204020203" pitchFamily="34" charset="0"/>
                <a:cs typeface="Itau Text" panose="020B0503020204020203" pitchFamily="34" charset="0"/>
              </a:rPr>
              <a:t>Documento / Boleto / Termo / Informe de Rendimento / 2ª via / Carnê / Contrato / Apólice / Carta</a:t>
            </a:r>
          </a:p>
          <a:p>
            <a:pPr marL="457206" lvl="1" indent="0">
              <a:lnSpc>
                <a:spcPct val="150000"/>
              </a:lnSpc>
              <a:buFont typeface="Arial" panose="020B0604020202020204" pitchFamily="34" charset="0"/>
              <a:buNone/>
            </a:pPr>
            <a:endParaRPr lang="pt-BR" sz="1400">
              <a:solidFill>
                <a:srgbClr val="595959"/>
              </a:solidFill>
              <a:latin typeface="Itau Text" panose="020B0503020204020203" pitchFamily="34" charset="0"/>
              <a:cs typeface="Itau Text" panose="020B050302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Text" panose="020B0503020204020203" pitchFamily="34" charset="0"/>
                <a:ea typeface="+mn-ea"/>
                <a:cs typeface="Itau Text" panose="020B0503020204020203" pitchFamily="34" charset="0"/>
              </a:rPr>
              <a:t>Temas: Não recebeu o informe de rendimentos / Não recebeu o contrato / Não recebeu o boleto / Contesta não recebimento do boleto / Não visualiza os boletos / Não emitiu comprovante / Não reconhece contrato / Não recebeu a apólice / Boletos não disponíveis / Boleto impresso não entregue / Não recebeu a declaração de quitação / Não localiza contrato</a:t>
            </a:r>
          </a:p>
          <a:p>
            <a:endParaRPr lang="pt-BR"/>
          </a:p>
          <a:p>
            <a:endParaRPr lang="pt-BR"/>
          </a:p>
          <a:p>
            <a:r>
              <a:rPr lang="pt-BR" err="1"/>
              <a:t>Wms</a:t>
            </a:r>
            <a:r>
              <a:rPr lang="pt-BR"/>
              <a:t> investimentos</a:t>
            </a:r>
          </a:p>
          <a:p>
            <a:endParaRPr lang="pt-BR"/>
          </a:p>
          <a:p>
            <a:endParaRPr lang="pt-BR"/>
          </a:p>
          <a:p>
            <a:r>
              <a:rPr lang="pt-BR"/>
              <a:t>Custos das ligações ou volume do todo</a:t>
            </a:r>
          </a:p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6FD338-C051-4F3B-8553-22992873B0CD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64717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B964C0-B5D5-4D50-94DD-BEC3744DDB03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42495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svg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267D887-B890-AA6C-0BFA-C09BCA4F63A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F0B34824-6868-3321-F3CA-214761A33A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BB7DD20-34C8-5FB9-B76D-CCD1E222E9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A9B224-8366-4B39-972B-4F45DF55BDB4}" type="datetimeFigureOut">
              <a:rPr lang="pt-BR" smtClean="0"/>
              <a:t>06/08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69655182-1C81-0577-69AC-1347E34349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E136123A-9889-D61A-2648-E768A64B07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AB19DD-0A0E-49A7-A952-DA7ACF3991C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007445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73EC0A8-8BCA-906A-B428-17A08D3402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485B9629-C4CA-1055-9AF2-03D84B5025B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BAA695A-0FEF-E9EB-9612-32DE8E6F16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A9B224-8366-4B39-972B-4F45DF55BDB4}" type="datetimeFigureOut">
              <a:rPr lang="pt-BR" smtClean="0"/>
              <a:t>06/08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DA58041B-E306-117A-E560-1BBC1E8486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9E093AF6-92CD-1F88-86EB-140ACC5CDA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AB19DD-0A0E-49A7-A952-DA7ACF3991C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883297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772137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mparação">
  <p:cSld name="1_Comparação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oogle Shape;20;p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88534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" name="Google Shape;21;p19"/>
          <p:cNvSpPr/>
          <p:nvPr/>
        </p:nvSpPr>
        <p:spPr>
          <a:xfrm>
            <a:off x="210000" y="153000"/>
            <a:ext cx="11808000" cy="6552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" name="Google Shape;22;p19"/>
          <p:cNvSpPr/>
          <p:nvPr/>
        </p:nvSpPr>
        <p:spPr>
          <a:xfrm>
            <a:off x="11433363" y="6131798"/>
            <a:ext cx="538477" cy="535135"/>
          </a:xfrm>
          <a:custGeom>
            <a:avLst/>
            <a:gdLst/>
            <a:ahLst/>
            <a:cxnLst/>
            <a:rect l="l" t="t" r="r" b="b"/>
            <a:pathLst>
              <a:path w="10550814" h="8968831" extrusionOk="0">
                <a:moveTo>
                  <a:pt x="0" y="0"/>
                </a:moveTo>
                <a:lnTo>
                  <a:pt x="10550815" y="0"/>
                </a:lnTo>
                <a:lnTo>
                  <a:pt x="10550815" y="8968830"/>
                </a:lnTo>
                <a:lnTo>
                  <a:pt x="0" y="8968830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 l="-44074" t="-56685" r="-54863" b="-56552"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038269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Layout Personalizado">
  <p:cSld name="1_Layout Personalizado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oogle Shape;16;p18" descr="cérebro, mente, psicologia, idéia, Corações, amor, desenhando, Dupla personalidade, pensamento, caos, dúvida, mente aberta, matéria cinzenta, insegurança, ansiedade, Idéias, comparação, fantasia, mente fechada, cabeça, pensamentos, concentração, Criatividade, cor, original, pintura, alegria, Positividade, matemática, lógica, Cálculo, computador, precisão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11531"/>
            <a:ext cx="7669161" cy="5834938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Google Shape;17;p18"/>
          <p:cNvSpPr/>
          <p:nvPr/>
        </p:nvSpPr>
        <p:spPr>
          <a:xfrm>
            <a:off x="-31752" y="-111126"/>
            <a:ext cx="12231689" cy="6969126"/>
          </a:xfrm>
          <a:prstGeom prst="rect">
            <a:avLst/>
          </a:prstGeom>
          <a:gradFill>
            <a:gsLst>
              <a:gs pos="0">
                <a:srgbClr val="7B28E7">
                  <a:alpha val="76470"/>
                </a:srgbClr>
              </a:gs>
              <a:gs pos="12000">
                <a:srgbClr val="7B28E7">
                  <a:alpha val="76470"/>
                </a:srgbClr>
              </a:gs>
              <a:gs pos="38000">
                <a:srgbClr val="957F8A">
                  <a:alpha val="90196"/>
                </a:srgbClr>
              </a:gs>
              <a:gs pos="100000">
                <a:srgbClr val="FFDC63">
                  <a:alpha val="77254"/>
                </a:srgbClr>
              </a:gs>
            </a:gsLst>
            <a:lin ang="21593999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EFFFE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18" name="Google Shape;18;p18"/>
          <p:cNvSpPr/>
          <p:nvPr/>
        </p:nvSpPr>
        <p:spPr>
          <a:xfrm>
            <a:off x="-23813" y="-111126"/>
            <a:ext cx="12207875" cy="6650038"/>
          </a:xfrm>
          <a:custGeom>
            <a:avLst/>
            <a:gdLst/>
            <a:ahLst/>
            <a:cxnLst/>
            <a:rect l="l" t="t" r="r" b="b"/>
            <a:pathLst>
              <a:path w="2912" h="1848" extrusionOk="0">
                <a:moveTo>
                  <a:pt x="0" y="604"/>
                </a:moveTo>
                <a:cubicBezTo>
                  <a:pt x="0" y="0"/>
                  <a:pt x="0" y="0"/>
                  <a:pt x="0" y="0"/>
                </a:cubicBezTo>
                <a:cubicBezTo>
                  <a:pt x="2912" y="0"/>
                  <a:pt x="2912" y="0"/>
                  <a:pt x="2912" y="0"/>
                </a:cubicBezTo>
                <a:cubicBezTo>
                  <a:pt x="2912" y="1732"/>
                  <a:pt x="2912" y="1732"/>
                  <a:pt x="2912" y="1732"/>
                </a:cubicBezTo>
                <a:cubicBezTo>
                  <a:pt x="2912" y="1732"/>
                  <a:pt x="2568" y="1240"/>
                  <a:pt x="2012" y="1456"/>
                </a:cubicBezTo>
                <a:cubicBezTo>
                  <a:pt x="1456" y="1672"/>
                  <a:pt x="1376" y="1848"/>
                  <a:pt x="904" y="1812"/>
                </a:cubicBezTo>
                <a:cubicBezTo>
                  <a:pt x="432" y="1776"/>
                  <a:pt x="512" y="1128"/>
                  <a:pt x="508" y="1052"/>
                </a:cubicBezTo>
                <a:cubicBezTo>
                  <a:pt x="504" y="976"/>
                  <a:pt x="520" y="528"/>
                  <a:pt x="0" y="604"/>
                </a:cubicBezTo>
                <a:close/>
              </a:path>
            </a:pathLst>
          </a:custGeom>
          <a:solidFill>
            <a:srgbClr val="FEFFFE">
              <a:alpha val="9411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EFFFE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</p:spTree>
    <p:extLst>
      <p:ext uri="{BB962C8B-B14F-4D97-AF65-F5344CB8AC3E}">
        <p14:creationId xmlns:p14="http://schemas.microsoft.com/office/powerpoint/2010/main" val="49171043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ATIL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1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8305">
              <a:alpha val="47451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3" tIns="60947" rIns="121893" bIns="60947" rtlCol="0" anchor="ctr"/>
          <a:lstStyle/>
          <a:p>
            <a:pPr algn="ctr"/>
            <a:endParaRPr lang="en-US" sz="2400">
              <a:solidFill>
                <a:srgbClr val="1F497D">
                  <a:lumMod val="75000"/>
                </a:srgbClr>
              </a:solidFill>
            </a:endParaRPr>
          </a:p>
        </p:txBody>
      </p:sp>
      <p:sp>
        <p:nvSpPr>
          <p:cNvPr id="7" name="Retângulo 17"/>
          <p:cNvSpPr/>
          <p:nvPr userDrawn="1"/>
        </p:nvSpPr>
        <p:spPr>
          <a:xfrm>
            <a:off x="143341" y="164640"/>
            <a:ext cx="11905323" cy="652872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3" tIns="60947" rIns="121893" bIns="60947" rtlCol="0" anchor="ctr"/>
          <a:lstStyle/>
          <a:p>
            <a:pPr algn="ctr"/>
            <a:endParaRPr lang="pt-BR" sz="24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7613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673CA58C-922E-4915-BE01-45B7823BD2D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69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FF1755DE-13BE-402B-9D15-B0FEAFB7BD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81040" y="6434910"/>
            <a:ext cx="629920" cy="35567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6E348F-B942-403B-B49B-B4FE521F49C5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990231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_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27BFA98-11F9-4987-A591-51178D16BFB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429847" y="590550"/>
            <a:ext cx="4192092" cy="5676900"/>
          </a:xfrm>
          <a:prstGeom prst="rect">
            <a:avLst/>
          </a:prstGeom>
        </p:spPr>
        <p:txBody>
          <a:bodyPr/>
          <a:lstStyle/>
          <a:p>
            <a:pPr lvl="0"/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2371724199"/>
      </p:ext>
    </p:extLst>
  </p:cSld>
  <p:clrMapOvr>
    <a:masterClrMapping/>
  </p:clrMapOvr>
  <p:transition spd="slow" advClick="0" advTm="1000">
    <p:push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conteúdo antes e depoi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SIPCMContentMarking" descr="{&quot;HashCode&quot;:673120239,&quot;Placement&quot;:&quot;Footer&quot;,&quot;Top&quot;:520.68866,&quot;Left&quot;:0.0,&quot;SlideWidth&quot;:960,&quot;SlideHeight&quot;:540}">
            <a:extLst>
              <a:ext uri="{FF2B5EF4-FFF2-40B4-BE49-F238E27FC236}">
                <a16:creationId xmlns:a16="http://schemas.microsoft.com/office/drawing/2014/main" id="{D3935C14-8AC0-4770-B242-94A6ED315972}"/>
              </a:ext>
            </a:extLst>
          </p:cNvPr>
          <p:cNvSpPr txBox="1"/>
          <p:nvPr userDrawn="1"/>
        </p:nvSpPr>
        <p:spPr>
          <a:xfrm>
            <a:off x="0" y="6612746"/>
            <a:ext cx="1274605" cy="24525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pt-BR" sz="900">
                <a:solidFill>
                  <a:srgbClr val="000000"/>
                </a:solidFill>
                <a:latin typeface="Calibri" panose="020F0502020204030204" pitchFamily="34" charset="0"/>
              </a:rPr>
              <a:t>Corporativo | Interno</a:t>
            </a: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76250804-5F75-4337-A14E-BE11C2A8A60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9C44A3D5-6DF1-4DF1-8A0F-E842A127FB09}"/>
              </a:ext>
            </a:extLst>
          </p:cNvPr>
          <p:cNvSpPr/>
          <p:nvPr userDrawn="1"/>
        </p:nvSpPr>
        <p:spPr>
          <a:xfrm>
            <a:off x="6100997" y="0"/>
            <a:ext cx="6091004" cy="6858000"/>
          </a:xfrm>
          <a:prstGeom prst="rect">
            <a:avLst/>
          </a:prstGeom>
          <a:gradFill flip="none" rotWithShape="1">
            <a:gsLst>
              <a:gs pos="100000">
                <a:srgbClr val="FF7500"/>
              </a:gs>
              <a:gs pos="0">
                <a:srgbClr val="FD9D00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pt-BR">
              <a:solidFill>
                <a:schemeClr val="accent1"/>
              </a:solidFill>
            </a:endParaRP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CA4E05E4-6183-404F-AF5A-DE18919510CC}"/>
              </a:ext>
            </a:extLst>
          </p:cNvPr>
          <p:cNvSpPr/>
          <p:nvPr userDrawn="1"/>
        </p:nvSpPr>
        <p:spPr>
          <a:xfrm>
            <a:off x="0" y="322946"/>
            <a:ext cx="192506" cy="604154"/>
          </a:xfrm>
          <a:prstGeom prst="rect">
            <a:avLst/>
          </a:prstGeom>
          <a:gradFill flip="none" rotWithShape="1">
            <a:gsLst>
              <a:gs pos="100000">
                <a:srgbClr val="FF7500"/>
              </a:gs>
              <a:gs pos="0">
                <a:srgbClr val="FD9D00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pt-BR">
              <a:solidFill>
                <a:schemeClr val="accent1"/>
              </a:solidFill>
            </a:endParaRPr>
          </a:p>
        </p:txBody>
      </p:sp>
      <p:sp>
        <p:nvSpPr>
          <p:cNvPr id="23" name="Título 1">
            <a:extLst>
              <a:ext uri="{FF2B5EF4-FFF2-40B4-BE49-F238E27FC236}">
                <a16:creationId xmlns:a16="http://schemas.microsoft.com/office/drawing/2014/main" id="{2A14E4C4-AF0C-4795-B22D-DCA2D9CBE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474" y="290175"/>
            <a:ext cx="5614641" cy="564265"/>
          </a:xfrm>
          <a:prstGeom prst="rect">
            <a:avLst/>
          </a:prstGeom>
        </p:spPr>
        <p:txBody>
          <a:bodyPr anchor="t"/>
          <a:lstStyle>
            <a:lvl1pPr>
              <a:lnSpc>
                <a:spcPct val="75000"/>
              </a:lnSpc>
              <a:spcBef>
                <a:spcPts val="0"/>
              </a:spcBef>
              <a:defRPr kumimoji="0" lang="pt-BR" sz="2800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  <a:cs typeface="Itau Display Heavy" panose="020B0803020204020204" pitchFamily="34" charset="0"/>
              </a:defRPr>
            </a:lvl1pPr>
          </a:lstStyle>
          <a:p>
            <a:pPr marL="0" marR="0" lvl="0" indent="0" algn="l" defTabSz="914411" rtl="0" eaLnBrk="1" fontAlgn="auto" latinLnBrk="0" hangingPunct="1">
              <a:lnSpc>
                <a:spcPct val="8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/>
              <a:t>Clique para editar o título</a:t>
            </a:r>
          </a:p>
        </p:txBody>
      </p:sp>
      <p:sp>
        <p:nvSpPr>
          <p:cNvPr id="25" name="Espaço Reservado para Conteúdo 14">
            <a:extLst>
              <a:ext uri="{FF2B5EF4-FFF2-40B4-BE49-F238E27FC236}">
                <a16:creationId xmlns:a16="http://schemas.microsoft.com/office/drawing/2014/main" id="{1A8ABE9B-C4DC-430B-B17E-32299AFC15F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59960" y="59960"/>
            <a:ext cx="5868000" cy="2099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spc="300">
                <a:solidFill>
                  <a:schemeClr val="tx1"/>
                </a:solidFill>
                <a:latin typeface="Itau Text" panose="020B0503020204020203" pitchFamily="34" charset="0"/>
                <a:cs typeface="Itau Text" panose="020B0503020204020203" pitchFamily="34" charset="0"/>
              </a:defRPr>
            </a:lvl1pPr>
          </a:lstStyle>
          <a:p>
            <a:pPr lvl="0"/>
            <a:r>
              <a:rPr lang="pt-BR"/>
              <a:t>NOME DA SEÇÃO OU DA APRESENTAÇÃO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0396E5A8-8AEE-4608-877B-1A5C34973CCC}"/>
              </a:ext>
            </a:extLst>
          </p:cNvPr>
          <p:cNvSpPr txBox="1"/>
          <p:nvPr userDrawn="1"/>
        </p:nvSpPr>
        <p:spPr>
          <a:xfrm>
            <a:off x="11117998" y="6410465"/>
            <a:ext cx="502626" cy="230832"/>
          </a:xfrm>
          <a:prstGeom prst="rect">
            <a:avLst/>
          </a:prstGeom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>
            <a:defPPr>
              <a:defRPr lang="pt-BR"/>
            </a:defPPr>
            <a:lvl1pPr algn="r">
              <a:defRPr sz="900" b="1">
                <a:solidFill>
                  <a:srgbClr val="606163"/>
                </a:solidFill>
              </a:defRPr>
            </a:lvl1pPr>
          </a:lstStyle>
          <a:p>
            <a:pPr lvl="0"/>
            <a:endParaRPr lang="en-US" altLang="pt-BR" sz="800" b="0">
              <a:solidFill>
                <a:schemeClr val="bg1"/>
              </a:solidFill>
              <a:latin typeface="Itau Text" panose="020B0503020204020203" pitchFamily="34" charset="0"/>
              <a:cs typeface="Itau Text" panose="020B050302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0310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1BD9CC2A-197C-4841-B6DB-EB4E39E8FD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84904" y="6356350"/>
            <a:ext cx="60025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/>
              <a:t>Evoluz | São Paulo, SP - Brasil</a:t>
            </a:r>
            <a:endParaRPr lang="en-US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1F367B95-827C-584B-A603-1B10C7E32222}"/>
              </a:ext>
            </a:extLst>
          </p:cNvPr>
          <p:cNvSpPr txBox="1">
            <a:spLocks/>
          </p:cNvSpPr>
          <p:nvPr userDrawn="1"/>
        </p:nvSpPr>
        <p:spPr>
          <a:xfrm>
            <a:off x="11012557" y="6356350"/>
            <a:ext cx="878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solidFill>
                  <a:schemeClr val="tx2"/>
                </a:solidFill>
              </a:rPr>
              <a:t>@</a:t>
            </a:r>
            <a:r>
              <a:rPr lang="en-US" sz="1000" dirty="0" err="1">
                <a:solidFill>
                  <a:schemeClr val="tx2"/>
                </a:solidFill>
              </a:rPr>
              <a:t>evolu.z</a:t>
            </a:r>
            <a:endParaRPr lang="en-US" sz="1000" dirty="0">
              <a:solidFill>
                <a:schemeClr val="tx2"/>
              </a:solidFill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1A18A46E-4083-B148-AB92-6BC73C2FEC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8192" y="5689600"/>
            <a:ext cx="846667" cy="84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62296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Texto 5">
            <a:extLst>
              <a:ext uri="{FF2B5EF4-FFF2-40B4-BE49-F238E27FC236}">
                <a16:creationId xmlns:a16="http://schemas.microsoft.com/office/drawing/2014/main" id="{44F27388-BFAF-AB49-94EF-57A50DD5E64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0850" y="344488"/>
            <a:ext cx="8507620" cy="4771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 algn="l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7" name="Espaço Reservado para Texto 5">
            <a:extLst>
              <a:ext uri="{FF2B5EF4-FFF2-40B4-BE49-F238E27FC236}">
                <a16:creationId xmlns:a16="http://schemas.microsoft.com/office/drawing/2014/main" id="{76B69C6D-4FC5-064F-A097-B483875292E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0850" y="834818"/>
            <a:ext cx="8507620" cy="4771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200" indent="0" algn="l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4B79EFBB-5750-614C-BEF0-7EE813E2BB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84904" y="6356350"/>
            <a:ext cx="60025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/>
              <a:t>Evoluz | São Paulo, SP - Brasil</a:t>
            </a:r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2515ECAD-A3E9-E449-B7DE-377F7B18EEC6}"/>
              </a:ext>
            </a:extLst>
          </p:cNvPr>
          <p:cNvSpPr txBox="1">
            <a:spLocks/>
          </p:cNvSpPr>
          <p:nvPr userDrawn="1"/>
        </p:nvSpPr>
        <p:spPr>
          <a:xfrm>
            <a:off x="11012557" y="6356350"/>
            <a:ext cx="878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solidFill>
                  <a:schemeClr val="tx2"/>
                </a:solidFill>
              </a:rPr>
              <a:t>@</a:t>
            </a:r>
            <a:r>
              <a:rPr lang="en-US" sz="1000" dirty="0" err="1">
                <a:solidFill>
                  <a:schemeClr val="tx2"/>
                </a:solidFill>
              </a:rPr>
              <a:t>evolu.z</a:t>
            </a:r>
            <a:endParaRPr lang="en-US" sz="1000" dirty="0">
              <a:solidFill>
                <a:schemeClr val="tx2"/>
              </a:solidFill>
            </a:endParaRPr>
          </a:p>
        </p:txBody>
      </p:sp>
      <p:pic>
        <p:nvPicPr>
          <p:cNvPr id="11" name="Imagem 10">
            <a:extLst>
              <a:ext uri="{FF2B5EF4-FFF2-40B4-BE49-F238E27FC236}">
                <a16:creationId xmlns:a16="http://schemas.microsoft.com/office/drawing/2014/main" id="{8BB0E408-FA95-EF43-B746-66299FD9FE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8192" y="5689600"/>
            <a:ext cx="846667" cy="84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4040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124376A-E63C-21CF-DB30-55EB578B31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87665AAA-7803-DC06-6CC9-A74A03462C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4C4B26D-7295-6A3D-9655-8FBA454125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A9B224-8366-4B39-972B-4F45DF55BDB4}" type="datetimeFigureOut">
              <a:rPr lang="pt-BR" smtClean="0"/>
              <a:t>06/08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47E1C24-75BA-9670-6798-B99D18E7B5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DE8C56C-95BA-EEAA-D403-8B0219E16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AB19DD-0A0E-49A7-A952-DA7ACF3991C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313311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E198C65-EE97-4449-B16E-617889E1F63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94F7FE71-3B69-B343-8A53-3346FEF93A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8192" y="5689600"/>
            <a:ext cx="846667" cy="84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55723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CFEABDF2-0C11-496B-A70F-C0988A156E1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42952" y="666752"/>
            <a:ext cx="10706098" cy="4248149"/>
          </a:xfrm>
          <a:custGeom>
            <a:avLst/>
            <a:gdLst>
              <a:gd name="connsiteX0" fmla="*/ 309775 w 10706098"/>
              <a:gd name="connsiteY0" fmla="*/ 0 h 4248149"/>
              <a:gd name="connsiteX1" fmla="*/ 10396323 w 10706098"/>
              <a:gd name="connsiteY1" fmla="*/ 0 h 4248149"/>
              <a:gd name="connsiteX2" fmla="*/ 10706098 w 10706098"/>
              <a:gd name="connsiteY2" fmla="*/ 309775 h 4248149"/>
              <a:gd name="connsiteX3" fmla="*/ 10706098 w 10706098"/>
              <a:gd name="connsiteY3" fmla="*/ 3938374 h 4248149"/>
              <a:gd name="connsiteX4" fmla="*/ 10396323 w 10706098"/>
              <a:gd name="connsiteY4" fmla="*/ 4248149 h 4248149"/>
              <a:gd name="connsiteX5" fmla="*/ 309775 w 10706098"/>
              <a:gd name="connsiteY5" fmla="*/ 4248149 h 4248149"/>
              <a:gd name="connsiteX6" fmla="*/ 0 w 10706098"/>
              <a:gd name="connsiteY6" fmla="*/ 3938374 h 4248149"/>
              <a:gd name="connsiteX7" fmla="*/ 0 w 10706098"/>
              <a:gd name="connsiteY7" fmla="*/ 309775 h 4248149"/>
              <a:gd name="connsiteX8" fmla="*/ 309775 w 10706098"/>
              <a:gd name="connsiteY8" fmla="*/ 0 h 4248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706098" h="4248149">
                <a:moveTo>
                  <a:pt x="309775" y="0"/>
                </a:moveTo>
                <a:lnTo>
                  <a:pt x="10396323" y="0"/>
                </a:lnTo>
                <a:cubicBezTo>
                  <a:pt x="10567407" y="0"/>
                  <a:pt x="10706098" y="138691"/>
                  <a:pt x="10706098" y="309775"/>
                </a:cubicBezTo>
                <a:lnTo>
                  <a:pt x="10706098" y="3938374"/>
                </a:lnTo>
                <a:cubicBezTo>
                  <a:pt x="10706098" y="4109458"/>
                  <a:pt x="10567407" y="4248149"/>
                  <a:pt x="10396323" y="4248149"/>
                </a:cubicBezTo>
                <a:lnTo>
                  <a:pt x="309775" y="4248149"/>
                </a:lnTo>
                <a:cubicBezTo>
                  <a:pt x="138691" y="4248149"/>
                  <a:pt x="0" y="4109458"/>
                  <a:pt x="0" y="3938374"/>
                </a:cubicBezTo>
                <a:lnTo>
                  <a:pt x="0" y="309775"/>
                </a:lnTo>
                <a:cubicBezTo>
                  <a:pt x="0" y="138691"/>
                  <a:pt x="138691" y="0"/>
                  <a:pt x="30977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89A900E8-AC2F-4246-960C-FC067BDB1D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84904" y="6356350"/>
            <a:ext cx="60025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/>
              <a:t>Evoluz | São Paulo, SP - Brasil</a:t>
            </a:r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4E5DBF2-ECC8-BB47-9DA8-873BD11A229F}"/>
              </a:ext>
            </a:extLst>
          </p:cNvPr>
          <p:cNvSpPr txBox="1">
            <a:spLocks/>
          </p:cNvSpPr>
          <p:nvPr userDrawn="1"/>
        </p:nvSpPr>
        <p:spPr>
          <a:xfrm>
            <a:off x="11012557" y="6356350"/>
            <a:ext cx="878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solidFill>
                  <a:schemeClr val="tx2"/>
                </a:solidFill>
              </a:rPr>
              <a:t>@</a:t>
            </a:r>
            <a:r>
              <a:rPr lang="en-US" sz="1000" dirty="0" err="1">
                <a:solidFill>
                  <a:schemeClr val="tx2"/>
                </a:solidFill>
              </a:rPr>
              <a:t>evolu.z</a:t>
            </a:r>
            <a:endParaRPr lang="en-US" sz="1000" dirty="0">
              <a:solidFill>
                <a:schemeClr val="tx2"/>
              </a:solidFill>
            </a:endParaRP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27A3E0F3-4034-FD44-96FC-0612459266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8192" y="5689600"/>
            <a:ext cx="846667" cy="84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49888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1A27723-D77E-488D-9228-7992674B823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15150" y="609600"/>
            <a:ext cx="4348428" cy="6248400"/>
          </a:xfrm>
          <a:custGeom>
            <a:avLst/>
            <a:gdLst>
              <a:gd name="connsiteX0" fmla="*/ 317087 w 4348428"/>
              <a:gd name="connsiteY0" fmla="*/ 0 h 6248400"/>
              <a:gd name="connsiteX1" fmla="*/ 4031341 w 4348428"/>
              <a:gd name="connsiteY1" fmla="*/ 0 h 6248400"/>
              <a:gd name="connsiteX2" fmla="*/ 4348428 w 4348428"/>
              <a:gd name="connsiteY2" fmla="*/ 317087 h 6248400"/>
              <a:gd name="connsiteX3" fmla="*/ 4348428 w 4348428"/>
              <a:gd name="connsiteY3" fmla="*/ 6248400 h 6248400"/>
              <a:gd name="connsiteX4" fmla="*/ 0 w 4348428"/>
              <a:gd name="connsiteY4" fmla="*/ 6248400 h 6248400"/>
              <a:gd name="connsiteX5" fmla="*/ 0 w 4348428"/>
              <a:gd name="connsiteY5" fmla="*/ 317087 h 6248400"/>
              <a:gd name="connsiteX6" fmla="*/ 317087 w 4348428"/>
              <a:gd name="connsiteY6" fmla="*/ 0 h 624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48428" h="6248400">
                <a:moveTo>
                  <a:pt x="317087" y="0"/>
                </a:moveTo>
                <a:lnTo>
                  <a:pt x="4031341" y="0"/>
                </a:lnTo>
                <a:cubicBezTo>
                  <a:pt x="4206463" y="0"/>
                  <a:pt x="4348428" y="141965"/>
                  <a:pt x="4348428" y="317087"/>
                </a:cubicBezTo>
                <a:lnTo>
                  <a:pt x="4348428" y="6248400"/>
                </a:lnTo>
                <a:lnTo>
                  <a:pt x="0" y="6248400"/>
                </a:lnTo>
                <a:lnTo>
                  <a:pt x="0" y="317087"/>
                </a:lnTo>
                <a:cubicBezTo>
                  <a:pt x="0" y="141965"/>
                  <a:pt x="141965" y="0"/>
                  <a:pt x="317087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31CFD811-AF4C-4923-B052-E0344B96CC5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701450" y="1592826"/>
            <a:ext cx="2490550" cy="3149018"/>
          </a:xfrm>
          <a:custGeom>
            <a:avLst/>
            <a:gdLst>
              <a:gd name="connsiteX0" fmla="*/ 208736 w 2490550"/>
              <a:gd name="connsiteY0" fmla="*/ 0 h 3149018"/>
              <a:gd name="connsiteX1" fmla="*/ 2490550 w 2490550"/>
              <a:gd name="connsiteY1" fmla="*/ 0 h 3149018"/>
              <a:gd name="connsiteX2" fmla="*/ 2490550 w 2490550"/>
              <a:gd name="connsiteY2" fmla="*/ 3149018 h 3149018"/>
              <a:gd name="connsiteX3" fmla="*/ 208736 w 2490550"/>
              <a:gd name="connsiteY3" fmla="*/ 3149018 h 3149018"/>
              <a:gd name="connsiteX4" fmla="*/ 0 w 2490550"/>
              <a:gd name="connsiteY4" fmla="*/ 2940282 h 3149018"/>
              <a:gd name="connsiteX5" fmla="*/ 0 w 2490550"/>
              <a:gd name="connsiteY5" fmla="*/ 208736 h 3149018"/>
              <a:gd name="connsiteX6" fmla="*/ 208736 w 2490550"/>
              <a:gd name="connsiteY6" fmla="*/ 0 h 314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90550" h="3149018">
                <a:moveTo>
                  <a:pt x="208736" y="0"/>
                </a:moveTo>
                <a:lnTo>
                  <a:pt x="2490550" y="0"/>
                </a:lnTo>
                <a:lnTo>
                  <a:pt x="2490550" y="3149018"/>
                </a:lnTo>
                <a:lnTo>
                  <a:pt x="208736" y="3149018"/>
                </a:lnTo>
                <a:cubicBezTo>
                  <a:pt x="93454" y="3149018"/>
                  <a:pt x="0" y="3055564"/>
                  <a:pt x="0" y="2940282"/>
                </a:cubicBezTo>
                <a:lnTo>
                  <a:pt x="0" y="208736"/>
                </a:lnTo>
                <a:cubicBezTo>
                  <a:pt x="0" y="93454"/>
                  <a:pt x="93454" y="0"/>
                  <a:pt x="208736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62898BE-C583-4F4C-97D9-2E0685727AB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178391" y="4019551"/>
            <a:ext cx="1287204" cy="1271750"/>
          </a:xfrm>
          <a:custGeom>
            <a:avLst/>
            <a:gdLst>
              <a:gd name="connsiteX0" fmla="*/ 92736 w 1287204"/>
              <a:gd name="connsiteY0" fmla="*/ 0 h 1271750"/>
              <a:gd name="connsiteX1" fmla="*/ 1194468 w 1287204"/>
              <a:gd name="connsiteY1" fmla="*/ 0 h 1271750"/>
              <a:gd name="connsiteX2" fmla="*/ 1287204 w 1287204"/>
              <a:gd name="connsiteY2" fmla="*/ 92736 h 1271750"/>
              <a:gd name="connsiteX3" fmla="*/ 1287204 w 1287204"/>
              <a:gd name="connsiteY3" fmla="*/ 1179014 h 1271750"/>
              <a:gd name="connsiteX4" fmla="*/ 1194468 w 1287204"/>
              <a:gd name="connsiteY4" fmla="*/ 1271750 h 1271750"/>
              <a:gd name="connsiteX5" fmla="*/ 92736 w 1287204"/>
              <a:gd name="connsiteY5" fmla="*/ 1271750 h 1271750"/>
              <a:gd name="connsiteX6" fmla="*/ 0 w 1287204"/>
              <a:gd name="connsiteY6" fmla="*/ 1179014 h 1271750"/>
              <a:gd name="connsiteX7" fmla="*/ 0 w 1287204"/>
              <a:gd name="connsiteY7" fmla="*/ 92736 h 1271750"/>
              <a:gd name="connsiteX8" fmla="*/ 92736 w 1287204"/>
              <a:gd name="connsiteY8" fmla="*/ 0 h 1271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204" h="1271750">
                <a:moveTo>
                  <a:pt x="92736" y="0"/>
                </a:moveTo>
                <a:lnTo>
                  <a:pt x="1194468" y="0"/>
                </a:lnTo>
                <a:cubicBezTo>
                  <a:pt x="1245685" y="0"/>
                  <a:pt x="1287204" y="41519"/>
                  <a:pt x="1287204" y="92736"/>
                </a:cubicBezTo>
                <a:lnTo>
                  <a:pt x="1287204" y="1179014"/>
                </a:lnTo>
                <a:cubicBezTo>
                  <a:pt x="1287204" y="1230231"/>
                  <a:pt x="1245685" y="1271750"/>
                  <a:pt x="1194468" y="1271750"/>
                </a:cubicBezTo>
                <a:lnTo>
                  <a:pt x="92736" y="1271750"/>
                </a:lnTo>
                <a:cubicBezTo>
                  <a:pt x="41519" y="1271750"/>
                  <a:pt x="0" y="1230231"/>
                  <a:pt x="0" y="1179014"/>
                </a:cubicBezTo>
                <a:lnTo>
                  <a:pt x="0" y="92736"/>
                </a:lnTo>
                <a:cubicBezTo>
                  <a:pt x="0" y="41519"/>
                  <a:pt x="41519" y="0"/>
                  <a:pt x="92736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B498293B-41BA-42A5-8348-883033F1B20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40739" y="4447052"/>
            <a:ext cx="2883020" cy="1302334"/>
          </a:xfrm>
          <a:custGeom>
            <a:avLst/>
            <a:gdLst>
              <a:gd name="connsiteX0" fmla="*/ 94966 w 2883020"/>
              <a:gd name="connsiteY0" fmla="*/ 0 h 1302334"/>
              <a:gd name="connsiteX1" fmla="*/ 2788054 w 2883020"/>
              <a:gd name="connsiteY1" fmla="*/ 0 h 1302334"/>
              <a:gd name="connsiteX2" fmla="*/ 2883020 w 2883020"/>
              <a:gd name="connsiteY2" fmla="*/ 94966 h 1302334"/>
              <a:gd name="connsiteX3" fmla="*/ 2883020 w 2883020"/>
              <a:gd name="connsiteY3" fmla="*/ 1207368 h 1302334"/>
              <a:gd name="connsiteX4" fmla="*/ 2788054 w 2883020"/>
              <a:gd name="connsiteY4" fmla="*/ 1302334 h 1302334"/>
              <a:gd name="connsiteX5" fmla="*/ 94966 w 2883020"/>
              <a:gd name="connsiteY5" fmla="*/ 1302334 h 1302334"/>
              <a:gd name="connsiteX6" fmla="*/ 0 w 2883020"/>
              <a:gd name="connsiteY6" fmla="*/ 1207368 h 1302334"/>
              <a:gd name="connsiteX7" fmla="*/ 0 w 2883020"/>
              <a:gd name="connsiteY7" fmla="*/ 94966 h 1302334"/>
              <a:gd name="connsiteX8" fmla="*/ 94966 w 2883020"/>
              <a:gd name="connsiteY8" fmla="*/ 0 h 1302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83020" h="1302334">
                <a:moveTo>
                  <a:pt x="94966" y="0"/>
                </a:moveTo>
                <a:lnTo>
                  <a:pt x="2788054" y="0"/>
                </a:lnTo>
                <a:cubicBezTo>
                  <a:pt x="2840502" y="0"/>
                  <a:pt x="2883020" y="42518"/>
                  <a:pt x="2883020" y="94966"/>
                </a:cubicBezTo>
                <a:lnTo>
                  <a:pt x="2883020" y="1207368"/>
                </a:lnTo>
                <a:cubicBezTo>
                  <a:pt x="2883020" y="1259816"/>
                  <a:pt x="2840502" y="1302334"/>
                  <a:pt x="2788054" y="1302334"/>
                </a:cubicBezTo>
                <a:lnTo>
                  <a:pt x="94966" y="1302334"/>
                </a:lnTo>
                <a:cubicBezTo>
                  <a:pt x="42519" y="1302334"/>
                  <a:pt x="0" y="1259816"/>
                  <a:pt x="0" y="1207368"/>
                </a:cubicBezTo>
                <a:lnTo>
                  <a:pt x="0" y="94966"/>
                </a:lnTo>
                <a:cubicBezTo>
                  <a:pt x="0" y="42518"/>
                  <a:pt x="42519" y="0"/>
                  <a:pt x="94966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FF0CF03-67B0-844E-8DCA-15006048D0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84904" y="6356350"/>
            <a:ext cx="60025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/>
              <a:t>Evoluz | São Paulo, SP - Brasil</a:t>
            </a:r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3C9A9531-9183-6043-84E6-D7BF45F0E474}"/>
              </a:ext>
            </a:extLst>
          </p:cNvPr>
          <p:cNvSpPr txBox="1">
            <a:spLocks/>
          </p:cNvSpPr>
          <p:nvPr userDrawn="1"/>
        </p:nvSpPr>
        <p:spPr>
          <a:xfrm>
            <a:off x="11012557" y="6356350"/>
            <a:ext cx="878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solidFill>
                  <a:schemeClr val="tx2"/>
                </a:solidFill>
              </a:rPr>
              <a:t>@</a:t>
            </a:r>
            <a:r>
              <a:rPr lang="en-US" sz="1000" dirty="0" err="1">
                <a:solidFill>
                  <a:schemeClr val="tx2"/>
                </a:solidFill>
              </a:rPr>
              <a:t>evolu.z</a:t>
            </a:r>
            <a:endParaRPr lang="en-US" sz="1000" dirty="0">
              <a:solidFill>
                <a:schemeClr val="tx2"/>
              </a:solidFill>
            </a:endParaRPr>
          </a:p>
        </p:txBody>
      </p:sp>
      <p:pic>
        <p:nvPicPr>
          <p:cNvPr id="11" name="Imagem 10">
            <a:extLst>
              <a:ext uri="{FF2B5EF4-FFF2-40B4-BE49-F238E27FC236}">
                <a16:creationId xmlns:a16="http://schemas.microsoft.com/office/drawing/2014/main" id="{FEB822A2-7634-3C41-9A7C-97388BE9C1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8192" y="5689600"/>
            <a:ext cx="846667" cy="84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089354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7968789-7017-4572-8943-DDF1CD1959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193478" y="2"/>
            <a:ext cx="6998523" cy="6857999"/>
          </a:xfrm>
          <a:custGeom>
            <a:avLst/>
            <a:gdLst>
              <a:gd name="connsiteX0" fmla="*/ 2703548 w 6998523"/>
              <a:gd name="connsiteY0" fmla="*/ 0 h 6857999"/>
              <a:gd name="connsiteX1" fmla="*/ 5172073 w 6998523"/>
              <a:gd name="connsiteY1" fmla="*/ 0 h 6857999"/>
              <a:gd name="connsiteX2" fmla="*/ 5021669 w 6998523"/>
              <a:gd name="connsiteY2" fmla="*/ 42866 h 6857999"/>
              <a:gd name="connsiteX3" fmla="*/ 4689765 w 6998523"/>
              <a:gd name="connsiteY3" fmla="*/ 88151 h 6857999"/>
              <a:gd name="connsiteX4" fmla="*/ 4024811 w 6998523"/>
              <a:gd name="connsiteY4" fmla="*/ 83566 h 6857999"/>
              <a:gd name="connsiteX5" fmla="*/ 3832203 w 6998523"/>
              <a:gd name="connsiteY5" fmla="*/ 101909 h 6857999"/>
              <a:gd name="connsiteX6" fmla="*/ 3639595 w 6998523"/>
              <a:gd name="connsiteY6" fmla="*/ 413745 h 6857999"/>
              <a:gd name="connsiteX7" fmla="*/ 3864305 w 6998523"/>
              <a:gd name="connsiteY7" fmla="*/ 716410 h 6857999"/>
              <a:gd name="connsiteX8" fmla="*/ 4396267 w 6998523"/>
              <a:gd name="connsiteY8" fmla="*/ 730168 h 6857999"/>
              <a:gd name="connsiteX9" fmla="*/ 4937403 w 6998523"/>
              <a:gd name="connsiteY9" fmla="*/ 702653 h 6857999"/>
              <a:gd name="connsiteX10" fmla="*/ 5235487 w 6998523"/>
              <a:gd name="connsiteY10" fmla="*/ 647623 h 6857999"/>
              <a:gd name="connsiteX11" fmla="*/ 5340962 w 6998523"/>
              <a:gd name="connsiteY11" fmla="*/ 340372 h 6857999"/>
              <a:gd name="connsiteX12" fmla="*/ 5281345 w 6998523"/>
              <a:gd name="connsiteY12" fmla="*/ 10191 h 6857999"/>
              <a:gd name="connsiteX13" fmla="*/ 5289261 w 6998523"/>
              <a:gd name="connsiteY13" fmla="*/ 0 h 6857999"/>
              <a:gd name="connsiteX14" fmla="*/ 6998523 w 6998523"/>
              <a:gd name="connsiteY14" fmla="*/ 0 h 6857999"/>
              <a:gd name="connsiteX15" fmla="*/ 6998523 w 6998523"/>
              <a:gd name="connsiteY15" fmla="*/ 6857999 h 6857999"/>
              <a:gd name="connsiteX16" fmla="*/ 2676816 w 6998523"/>
              <a:gd name="connsiteY16" fmla="*/ 6857999 h 6857999"/>
              <a:gd name="connsiteX17" fmla="*/ 2715680 w 6998523"/>
              <a:gd name="connsiteY17" fmla="*/ 6810029 h 6857999"/>
              <a:gd name="connsiteX18" fmla="*/ 3353164 w 6998523"/>
              <a:gd name="connsiteY18" fmla="*/ 5572131 h 6857999"/>
              <a:gd name="connsiteX19" fmla="*/ 5568307 w 6998523"/>
              <a:gd name="connsiteY19" fmla="*/ 3545645 h 6857999"/>
              <a:gd name="connsiteX20" fmla="*/ 5783861 w 6998523"/>
              <a:gd name="connsiteY20" fmla="*/ 2385689 h 6857999"/>
              <a:gd name="connsiteX21" fmla="*/ 5513273 w 6998523"/>
              <a:gd name="connsiteY21" fmla="*/ 1684213 h 6857999"/>
              <a:gd name="connsiteX22" fmla="*/ 5288549 w 6998523"/>
              <a:gd name="connsiteY22" fmla="*/ 1409124 h 6857999"/>
              <a:gd name="connsiteX23" fmla="*/ 5100514 w 6998523"/>
              <a:gd name="connsiteY23" fmla="*/ 1312843 h 6857999"/>
              <a:gd name="connsiteX24" fmla="*/ 4758051 w 6998523"/>
              <a:gd name="connsiteY24" fmla="*/ 1281895 h 6857999"/>
              <a:gd name="connsiteX25" fmla="*/ 4646478 w 6998523"/>
              <a:gd name="connsiteY25" fmla="*/ 1289919 h 6857999"/>
              <a:gd name="connsiteX26" fmla="*/ 4210788 w 6998523"/>
              <a:gd name="connsiteY26" fmla="*/ 1560424 h 6857999"/>
              <a:gd name="connsiteX27" fmla="*/ 4169511 w 6998523"/>
              <a:gd name="connsiteY27" fmla="*/ 2151864 h 6857999"/>
              <a:gd name="connsiteX28" fmla="*/ 3545786 w 6998523"/>
              <a:gd name="connsiteY28" fmla="*/ 4306723 h 6857999"/>
              <a:gd name="connsiteX29" fmla="*/ 2197437 w 6998523"/>
              <a:gd name="connsiteY29" fmla="*/ 5810541 h 6857999"/>
              <a:gd name="connsiteX30" fmla="*/ 2096541 w 6998523"/>
              <a:gd name="connsiteY30" fmla="*/ 6782521 h 6857999"/>
              <a:gd name="connsiteX31" fmla="*/ 2153656 w 6998523"/>
              <a:gd name="connsiteY31" fmla="*/ 6857999 h 6857999"/>
              <a:gd name="connsiteX32" fmla="*/ 1299746 w 6998523"/>
              <a:gd name="connsiteY32" fmla="*/ 6857999 h 6857999"/>
              <a:gd name="connsiteX33" fmla="*/ 1311903 w 6998523"/>
              <a:gd name="connsiteY33" fmla="*/ 6831864 h 6857999"/>
              <a:gd name="connsiteX34" fmla="*/ 1396373 w 6998523"/>
              <a:gd name="connsiteY34" fmla="*/ 6365562 h 6857999"/>
              <a:gd name="connsiteX35" fmla="*/ 1822808 w 6998523"/>
              <a:gd name="connsiteY35" fmla="*/ 5567537 h 6857999"/>
              <a:gd name="connsiteX36" fmla="*/ 2437240 w 6998523"/>
              <a:gd name="connsiteY36" fmla="*/ 4884172 h 6857999"/>
              <a:gd name="connsiteX37" fmla="*/ 2583971 w 6998523"/>
              <a:gd name="connsiteY37" fmla="*/ 4641096 h 6857999"/>
              <a:gd name="connsiteX38" fmla="*/ 2561044 w 6998523"/>
              <a:gd name="connsiteY38" fmla="*/ 4512677 h 6857999"/>
              <a:gd name="connsiteX39" fmla="*/ 2533675 w 6998523"/>
              <a:gd name="connsiteY39" fmla="*/ 4508665 h 6857999"/>
              <a:gd name="connsiteX40" fmla="*/ 2460168 w 6998523"/>
              <a:gd name="connsiteY40" fmla="*/ 4544782 h 6857999"/>
              <a:gd name="connsiteX41" fmla="*/ 1533932 w 6998523"/>
              <a:gd name="connsiteY41" fmla="*/ 5251080 h 6857999"/>
              <a:gd name="connsiteX42" fmla="*/ 800283 w 6998523"/>
              <a:gd name="connsiteY42" fmla="*/ 5925272 h 6857999"/>
              <a:gd name="connsiteX43" fmla="*/ 777356 w 6998523"/>
              <a:gd name="connsiteY43" fmla="*/ 5957377 h 6857999"/>
              <a:gd name="connsiteX44" fmla="*/ 621454 w 6998523"/>
              <a:gd name="connsiteY44" fmla="*/ 6232558 h 6857999"/>
              <a:gd name="connsiteX45" fmla="*/ 529747 w 6998523"/>
              <a:gd name="connsiteY45" fmla="*/ 6535257 h 6857999"/>
              <a:gd name="connsiteX46" fmla="*/ 520577 w 6998523"/>
              <a:gd name="connsiteY46" fmla="*/ 6824196 h 6857999"/>
              <a:gd name="connsiteX47" fmla="*/ 527541 w 6998523"/>
              <a:gd name="connsiteY47" fmla="*/ 6857999 h 6857999"/>
              <a:gd name="connsiteX48" fmla="*/ 15755 w 6998523"/>
              <a:gd name="connsiteY48" fmla="*/ 6857999 h 6857999"/>
              <a:gd name="connsiteX49" fmla="*/ 3572 w 6998523"/>
              <a:gd name="connsiteY49" fmla="*/ 6740531 h 6857999"/>
              <a:gd name="connsiteX50" fmla="*/ 24784 w 6998523"/>
              <a:gd name="connsiteY50" fmla="*/ 6268828 h 6857999"/>
              <a:gd name="connsiteX51" fmla="*/ 1286043 w 6998523"/>
              <a:gd name="connsiteY51" fmla="*/ 4430158 h 6857999"/>
              <a:gd name="connsiteX52" fmla="*/ 2313393 w 6998523"/>
              <a:gd name="connsiteY52" fmla="*/ 3861591 h 6857999"/>
              <a:gd name="connsiteX53" fmla="*/ 3267362 w 6998523"/>
              <a:gd name="connsiteY53" fmla="*/ 3361803 h 6857999"/>
              <a:gd name="connsiteX54" fmla="*/ 3592996 w 6998523"/>
              <a:gd name="connsiteY54" fmla="*/ 2110041 h 6857999"/>
              <a:gd name="connsiteX55" fmla="*/ 2859174 w 6998523"/>
              <a:gd name="connsiteY55" fmla="*/ 954568 h 6857999"/>
              <a:gd name="connsiteX56" fmla="*/ 2675717 w 6998523"/>
              <a:gd name="connsiteY56" fmla="*/ 51282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998523" h="6857999">
                <a:moveTo>
                  <a:pt x="2703548" y="0"/>
                </a:moveTo>
                <a:lnTo>
                  <a:pt x="5172073" y="0"/>
                </a:lnTo>
                <a:lnTo>
                  <a:pt x="5021669" y="42866"/>
                </a:lnTo>
                <a:cubicBezTo>
                  <a:pt x="4913327" y="67515"/>
                  <a:pt x="4802119" y="81273"/>
                  <a:pt x="4689765" y="88151"/>
                </a:cubicBezTo>
                <a:cubicBezTo>
                  <a:pt x="4469641" y="101909"/>
                  <a:pt x="4244933" y="92737"/>
                  <a:pt x="4024811" y="83566"/>
                </a:cubicBezTo>
                <a:cubicBezTo>
                  <a:pt x="3956022" y="83566"/>
                  <a:pt x="3891819" y="83566"/>
                  <a:pt x="3832203" y="101909"/>
                </a:cubicBezTo>
                <a:cubicBezTo>
                  <a:pt x="3708383" y="147767"/>
                  <a:pt x="3630423" y="285342"/>
                  <a:pt x="3639595" y="413745"/>
                </a:cubicBezTo>
                <a:cubicBezTo>
                  <a:pt x="3653353" y="542148"/>
                  <a:pt x="3745071" y="661380"/>
                  <a:pt x="3864305" y="716410"/>
                </a:cubicBezTo>
                <a:cubicBezTo>
                  <a:pt x="4024811" y="789783"/>
                  <a:pt x="4217419" y="757682"/>
                  <a:pt x="4396267" y="730168"/>
                </a:cubicBezTo>
                <a:cubicBezTo>
                  <a:pt x="4575118" y="707239"/>
                  <a:pt x="4758554" y="698067"/>
                  <a:pt x="4937403" y="702653"/>
                </a:cubicBezTo>
                <a:cubicBezTo>
                  <a:pt x="5042879" y="702653"/>
                  <a:pt x="5152940" y="707239"/>
                  <a:pt x="5235487" y="647623"/>
                </a:cubicBezTo>
                <a:cubicBezTo>
                  <a:pt x="5327205" y="578835"/>
                  <a:pt x="5350133" y="455018"/>
                  <a:pt x="5340962" y="340372"/>
                </a:cubicBezTo>
                <a:cubicBezTo>
                  <a:pt x="5331791" y="230311"/>
                  <a:pt x="5290517" y="120252"/>
                  <a:pt x="5281345" y="10191"/>
                </a:cubicBezTo>
                <a:lnTo>
                  <a:pt x="5289261" y="0"/>
                </a:lnTo>
                <a:lnTo>
                  <a:pt x="6998523" y="0"/>
                </a:lnTo>
                <a:lnTo>
                  <a:pt x="6998523" y="6857999"/>
                </a:lnTo>
                <a:lnTo>
                  <a:pt x="2676816" y="6857999"/>
                </a:lnTo>
                <a:lnTo>
                  <a:pt x="2715680" y="6810029"/>
                </a:lnTo>
                <a:cubicBezTo>
                  <a:pt x="2990854" y="6434075"/>
                  <a:pt x="3096336" y="5961839"/>
                  <a:pt x="3353164" y="5572131"/>
                </a:cubicBezTo>
                <a:cubicBezTo>
                  <a:pt x="3908096" y="4733111"/>
                  <a:pt x="5063825" y="4416759"/>
                  <a:pt x="5568307" y="3545645"/>
                </a:cubicBezTo>
                <a:cubicBezTo>
                  <a:pt x="5770101" y="3197199"/>
                  <a:pt x="5848067" y="2784566"/>
                  <a:pt x="5783861" y="2385689"/>
                </a:cubicBezTo>
                <a:cubicBezTo>
                  <a:pt x="5747171" y="2138110"/>
                  <a:pt x="5650861" y="1895114"/>
                  <a:pt x="5513273" y="1684213"/>
                </a:cubicBezTo>
                <a:cubicBezTo>
                  <a:pt x="5444481" y="1583347"/>
                  <a:pt x="5371101" y="1491651"/>
                  <a:pt x="5288549" y="1409124"/>
                </a:cubicBezTo>
                <a:cubicBezTo>
                  <a:pt x="5233514" y="1354106"/>
                  <a:pt x="5173893" y="1326597"/>
                  <a:pt x="5100514" y="1312843"/>
                </a:cubicBezTo>
                <a:cubicBezTo>
                  <a:pt x="4987005" y="1292211"/>
                  <a:pt x="4870917" y="1279316"/>
                  <a:pt x="4758051" y="1281895"/>
                </a:cubicBezTo>
                <a:cubicBezTo>
                  <a:pt x="4720431" y="1282755"/>
                  <a:pt x="4683169" y="1285334"/>
                  <a:pt x="4646478" y="1289919"/>
                </a:cubicBezTo>
                <a:cubicBezTo>
                  <a:pt x="4472201" y="1317428"/>
                  <a:pt x="4293339" y="1404540"/>
                  <a:pt x="4210788" y="1560424"/>
                </a:cubicBezTo>
                <a:cubicBezTo>
                  <a:pt x="4114477" y="1734646"/>
                  <a:pt x="4151167" y="1950132"/>
                  <a:pt x="4169511" y="2151864"/>
                </a:cubicBezTo>
                <a:cubicBezTo>
                  <a:pt x="4247477" y="2912941"/>
                  <a:pt x="4018165" y="3706114"/>
                  <a:pt x="3545786" y="4306723"/>
                </a:cubicBezTo>
                <a:cubicBezTo>
                  <a:pt x="3128439" y="4838561"/>
                  <a:pt x="2536818" y="5228270"/>
                  <a:pt x="2197437" y="5810541"/>
                </a:cubicBezTo>
                <a:cubicBezTo>
                  <a:pt x="2027748" y="6103968"/>
                  <a:pt x="1926850" y="6484508"/>
                  <a:pt x="2096541" y="6782521"/>
                </a:cubicBezTo>
                <a:lnTo>
                  <a:pt x="2153656" y="6857999"/>
                </a:lnTo>
                <a:lnTo>
                  <a:pt x="1299746" y="6857999"/>
                </a:lnTo>
                <a:lnTo>
                  <a:pt x="1311903" y="6831864"/>
                </a:lnTo>
                <a:cubicBezTo>
                  <a:pt x="1367142" y="6688039"/>
                  <a:pt x="1368861" y="6520351"/>
                  <a:pt x="1396373" y="6365562"/>
                </a:cubicBezTo>
                <a:cubicBezTo>
                  <a:pt x="1455982" y="6067449"/>
                  <a:pt x="1625639" y="5801441"/>
                  <a:pt x="1822808" y="5567537"/>
                </a:cubicBezTo>
                <a:cubicBezTo>
                  <a:pt x="2019976" y="5333634"/>
                  <a:pt x="2244657" y="5122661"/>
                  <a:pt x="2437240" y="4884172"/>
                </a:cubicBezTo>
                <a:cubicBezTo>
                  <a:pt x="2496850" y="4810791"/>
                  <a:pt x="2551873" y="4732822"/>
                  <a:pt x="2583971" y="4641096"/>
                </a:cubicBezTo>
                <a:cubicBezTo>
                  <a:pt x="2602313" y="4595232"/>
                  <a:pt x="2606898" y="4531024"/>
                  <a:pt x="2561044" y="4512677"/>
                </a:cubicBezTo>
                <a:cubicBezTo>
                  <a:pt x="2551873" y="4509239"/>
                  <a:pt x="2542703" y="4508092"/>
                  <a:pt x="2533675" y="4508665"/>
                </a:cubicBezTo>
                <a:cubicBezTo>
                  <a:pt x="2506593" y="4510385"/>
                  <a:pt x="2480801" y="4527583"/>
                  <a:pt x="2460168" y="4544782"/>
                </a:cubicBezTo>
                <a:cubicBezTo>
                  <a:pt x="2152951" y="4778686"/>
                  <a:pt x="1845735" y="5017176"/>
                  <a:pt x="1533932" y="5251080"/>
                </a:cubicBezTo>
                <a:cubicBezTo>
                  <a:pt x="1272569" y="5452879"/>
                  <a:pt x="1002036" y="5659265"/>
                  <a:pt x="800283" y="5925272"/>
                </a:cubicBezTo>
                <a:cubicBezTo>
                  <a:pt x="795696" y="5939032"/>
                  <a:pt x="786527" y="5948204"/>
                  <a:pt x="777356" y="5957377"/>
                </a:cubicBezTo>
                <a:cubicBezTo>
                  <a:pt x="717746" y="6044517"/>
                  <a:pt x="662723" y="6136245"/>
                  <a:pt x="621454" y="6232558"/>
                </a:cubicBezTo>
                <a:cubicBezTo>
                  <a:pt x="575601" y="6328872"/>
                  <a:pt x="543504" y="6429771"/>
                  <a:pt x="529747" y="6535257"/>
                </a:cubicBezTo>
                <a:cubicBezTo>
                  <a:pt x="511407" y="6631569"/>
                  <a:pt x="506821" y="6727882"/>
                  <a:pt x="520577" y="6824196"/>
                </a:cubicBezTo>
                <a:lnTo>
                  <a:pt x="527541" y="6857999"/>
                </a:lnTo>
                <a:lnTo>
                  <a:pt x="15755" y="6857999"/>
                </a:lnTo>
                <a:lnTo>
                  <a:pt x="3572" y="6740531"/>
                </a:lnTo>
                <a:cubicBezTo>
                  <a:pt x="-5028" y="6582914"/>
                  <a:pt x="1852" y="6424724"/>
                  <a:pt x="24784" y="6268828"/>
                </a:cubicBezTo>
                <a:cubicBezTo>
                  <a:pt x="134859" y="5503097"/>
                  <a:pt x="671465" y="4861168"/>
                  <a:pt x="1286043" y="4430158"/>
                </a:cubicBezTo>
                <a:cubicBezTo>
                  <a:pt x="1607089" y="4205483"/>
                  <a:pt x="1955656" y="4022074"/>
                  <a:pt x="2313393" y="3861591"/>
                </a:cubicBezTo>
                <a:cubicBezTo>
                  <a:pt x="2634441" y="3719450"/>
                  <a:pt x="3033456" y="3632332"/>
                  <a:pt x="3267362" y="3361803"/>
                </a:cubicBezTo>
                <a:cubicBezTo>
                  <a:pt x="3556305" y="3022499"/>
                  <a:pt x="3670965" y="2545637"/>
                  <a:pt x="3592996" y="2110041"/>
                </a:cubicBezTo>
                <a:cubicBezTo>
                  <a:pt x="3501269" y="1628595"/>
                  <a:pt x="3129771" y="1335141"/>
                  <a:pt x="2859174" y="954568"/>
                </a:cubicBezTo>
                <a:cubicBezTo>
                  <a:pt x="2675717" y="693211"/>
                  <a:pt x="2547300" y="349321"/>
                  <a:pt x="2675717" y="51282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CFA09CFC-D1FC-AA41-B560-321CE61A7C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84904" y="6356350"/>
            <a:ext cx="60025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/>
              <a:t>Evoluz | São Paulo, SP - Brasil</a:t>
            </a:r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83D9E150-D966-A440-BF51-579F072C2FED}"/>
              </a:ext>
            </a:extLst>
          </p:cNvPr>
          <p:cNvSpPr txBox="1">
            <a:spLocks/>
          </p:cNvSpPr>
          <p:nvPr userDrawn="1"/>
        </p:nvSpPr>
        <p:spPr>
          <a:xfrm>
            <a:off x="11012557" y="6356350"/>
            <a:ext cx="878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solidFill>
                  <a:schemeClr val="tx2"/>
                </a:solidFill>
              </a:rPr>
              <a:t>@</a:t>
            </a:r>
            <a:r>
              <a:rPr lang="en-US" sz="1000" dirty="0" err="1">
                <a:solidFill>
                  <a:schemeClr val="tx2"/>
                </a:solidFill>
              </a:rPr>
              <a:t>evolu.z</a:t>
            </a:r>
            <a:endParaRPr lang="en-US" sz="1000" dirty="0">
              <a:solidFill>
                <a:schemeClr val="tx2"/>
              </a:solidFill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D85A7BC5-8793-804C-A9BF-160A1FAF33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8192" y="5689600"/>
            <a:ext cx="846667" cy="84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53807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3D37208-A0D7-4ABC-BBED-572B468461F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42952" y="842526"/>
            <a:ext cx="10706098" cy="2500395"/>
          </a:xfrm>
          <a:custGeom>
            <a:avLst/>
            <a:gdLst>
              <a:gd name="connsiteX0" fmla="*/ 182329 w 10706098"/>
              <a:gd name="connsiteY0" fmla="*/ 0 h 2500395"/>
              <a:gd name="connsiteX1" fmla="*/ 10523769 w 10706098"/>
              <a:gd name="connsiteY1" fmla="*/ 0 h 2500395"/>
              <a:gd name="connsiteX2" fmla="*/ 10706098 w 10706098"/>
              <a:gd name="connsiteY2" fmla="*/ 182329 h 2500395"/>
              <a:gd name="connsiteX3" fmla="*/ 10706098 w 10706098"/>
              <a:gd name="connsiteY3" fmla="*/ 2318066 h 2500395"/>
              <a:gd name="connsiteX4" fmla="*/ 10523769 w 10706098"/>
              <a:gd name="connsiteY4" fmla="*/ 2500395 h 2500395"/>
              <a:gd name="connsiteX5" fmla="*/ 182329 w 10706098"/>
              <a:gd name="connsiteY5" fmla="*/ 2500395 h 2500395"/>
              <a:gd name="connsiteX6" fmla="*/ 0 w 10706098"/>
              <a:gd name="connsiteY6" fmla="*/ 2318066 h 2500395"/>
              <a:gd name="connsiteX7" fmla="*/ 0 w 10706098"/>
              <a:gd name="connsiteY7" fmla="*/ 182329 h 2500395"/>
              <a:gd name="connsiteX8" fmla="*/ 182329 w 10706098"/>
              <a:gd name="connsiteY8" fmla="*/ 0 h 2500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706098" h="2500395">
                <a:moveTo>
                  <a:pt x="182329" y="0"/>
                </a:moveTo>
                <a:lnTo>
                  <a:pt x="10523769" y="0"/>
                </a:lnTo>
                <a:cubicBezTo>
                  <a:pt x="10624467" y="0"/>
                  <a:pt x="10706098" y="81631"/>
                  <a:pt x="10706098" y="182329"/>
                </a:cubicBezTo>
                <a:lnTo>
                  <a:pt x="10706098" y="2318066"/>
                </a:lnTo>
                <a:cubicBezTo>
                  <a:pt x="10706098" y="2418764"/>
                  <a:pt x="10624467" y="2500395"/>
                  <a:pt x="10523769" y="2500395"/>
                </a:cubicBezTo>
                <a:lnTo>
                  <a:pt x="182329" y="2500395"/>
                </a:lnTo>
                <a:cubicBezTo>
                  <a:pt x="81631" y="2500395"/>
                  <a:pt x="0" y="2418764"/>
                  <a:pt x="0" y="2318066"/>
                </a:cubicBezTo>
                <a:lnTo>
                  <a:pt x="0" y="182329"/>
                </a:lnTo>
                <a:cubicBezTo>
                  <a:pt x="0" y="81631"/>
                  <a:pt x="81631" y="0"/>
                  <a:pt x="18232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EA6EECDC-AD70-8044-8256-D3B40970E3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84904" y="6356350"/>
            <a:ext cx="60025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/>
              <a:t>Evoluz | São Paulo, SP - Brasil</a:t>
            </a:r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92A4AE8C-857A-9F40-9F41-1B422E450FF8}"/>
              </a:ext>
            </a:extLst>
          </p:cNvPr>
          <p:cNvSpPr txBox="1">
            <a:spLocks/>
          </p:cNvSpPr>
          <p:nvPr userDrawn="1"/>
        </p:nvSpPr>
        <p:spPr>
          <a:xfrm>
            <a:off x="11012557" y="6356350"/>
            <a:ext cx="878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solidFill>
                  <a:schemeClr val="tx2"/>
                </a:solidFill>
              </a:rPr>
              <a:t>@</a:t>
            </a:r>
            <a:r>
              <a:rPr lang="en-US" sz="1000" dirty="0" err="1">
                <a:solidFill>
                  <a:schemeClr val="tx2"/>
                </a:solidFill>
              </a:rPr>
              <a:t>evolu.z</a:t>
            </a:r>
            <a:endParaRPr lang="en-US" sz="1000" dirty="0">
              <a:solidFill>
                <a:schemeClr val="tx2"/>
              </a:solidFill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0686D25-F189-3041-AB7B-CBBFF742A6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8192" y="5689600"/>
            <a:ext cx="846667" cy="84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596735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51F042F-50CB-4A0B-B527-1D7E8407583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905914" y="851455"/>
            <a:ext cx="2286086" cy="3486150"/>
          </a:xfrm>
          <a:custGeom>
            <a:avLst/>
            <a:gdLst>
              <a:gd name="connsiteX0" fmla="*/ 193095 w 2286086"/>
              <a:gd name="connsiteY0" fmla="*/ 0 h 3486150"/>
              <a:gd name="connsiteX1" fmla="*/ 2286086 w 2286086"/>
              <a:gd name="connsiteY1" fmla="*/ 0 h 3486150"/>
              <a:gd name="connsiteX2" fmla="*/ 2286086 w 2286086"/>
              <a:gd name="connsiteY2" fmla="*/ 3486150 h 3486150"/>
              <a:gd name="connsiteX3" fmla="*/ 193095 w 2286086"/>
              <a:gd name="connsiteY3" fmla="*/ 3486150 h 3486150"/>
              <a:gd name="connsiteX4" fmla="*/ 0 w 2286086"/>
              <a:gd name="connsiteY4" fmla="*/ 3293055 h 3486150"/>
              <a:gd name="connsiteX5" fmla="*/ 0 w 2286086"/>
              <a:gd name="connsiteY5" fmla="*/ 193095 h 3486150"/>
              <a:gd name="connsiteX6" fmla="*/ 193095 w 2286086"/>
              <a:gd name="connsiteY6" fmla="*/ 0 h 3486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86086" h="3486150">
                <a:moveTo>
                  <a:pt x="193095" y="0"/>
                </a:moveTo>
                <a:lnTo>
                  <a:pt x="2286086" y="0"/>
                </a:lnTo>
                <a:lnTo>
                  <a:pt x="2286086" y="3486150"/>
                </a:lnTo>
                <a:lnTo>
                  <a:pt x="193095" y="3486150"/>
                </a:lnTo>
                <a:cubicBezTo>
                  <a:pt x="86452" y="3486150"/>
                  <a:pt x="0" y="3399698"/>
                  <a:pt x="0" y="3293055"/>
                </a:cubicBezTo>
                <a:lnTo>
                  <a:pt x="0" y="193095"/>
                </a:lnTo>
                <a:cubicBezTo>
                  <a:pt x="0" y="86452"/>
                  <a:pt x="86452" y="0"/>
                  <a:pt x="19309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7EF7E63-8C25-4861-9E7C-9BF8B9AE207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194605" y="851455"/>
            <a:ext cx="2648036" cy="3486150"/>
          </a:xfrm>
          <a:custGeom>
            <a:avLst/>
            <a:gdLst>
              <a:gd name="connsiteX0" fmla="*/ 193095 w 2648036"/>
              <a:gd name="connsiteY0" fmla="*/ 0 h 3486150"/>
              <a:gd name="connsiteX1" fmla="*/ 2454941 w 2648036"/>
              <a:gd name="connsiteY1" fmla="*/ 0 h 3486150"/>
              <a:gd name="connsiteX2" fmla="*/ 2648036 w 2648036"/>
              <a:gd name="connsiteY2" fmla="*/ 193095 h 3486150"/>
              <a:gd name="connsiteX3" fmla="*/ 2648036 w 2648036"/>
              <a:gd name="connsiteY3" fmla="*/ 3293055 h 3486150"/>
              <a:gd name="connsiteX4" fmla="*/ 2454941 w 2648036"/>
              <a:gd name="connsiteY4" fmla="*/ 3486150 h 3486150"/>
              <a:gd name="connsiteX5" fmla="*/ 193095 w 2648036"/>
              <a:gd name="connsiteY5" fmla="*/ 3486150 h 3486150"/>
              <a:gd name="connsiteX6" fmla="*/ 0 w 2648036"/>
              <a:gd name="connsiteY6" fmla="*/ 3293055 h 3486150"/>
              <a:gd name="connsiteX7" fmla="*/ 0 w 2648036"/>
              <a:gd name="connsiteY7" fmla="*/ 193095 h 3486150"/>
              <a:gd name="connsiteX8" fmla="*/ 193095 w 2648036"/>
              <a:gd name="connsiteY8" fmla="*/ 0 h 3486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48036" h="3486150">
                <a:moveTo>
                  <a:pt x="193095" y="0"/>
                </a:moveTo>
                <a:lnTo>
                  <a:pt x="2454941" y="0"/>
                </a:lnTo>
                <a:cubicBezTo>
                  <a:pt x="2561584" y="0"/>
                  <a:pt x="2648036" y="86452"/>
                  <a:pt x="2648036" y="193095"/>
                </a:cubicBezTo>
                <a:lnTo>
                  <a:pt x="2648036" y="3293055"/>
                </a:lnTo>
                <a:cubicBezTo>
                  <a:pt x="2648036" y="3399698"/>
                  <a:pt x="2561584" y="3486150"/>
                  <a:pt x="2454941" y="3486150"/>
                </a:cubicBezTo>
                <a:lnTo>
                  <a:pt x="193095" y="3486150"/>
                </a:lnTo>
                <a:cubicBezTo>
                  <a:pt x="86452" y="3486150"/>
                  <a:pt x="0" y="3399698"/>
                  <a:pt x="0" y="3293055"/>
                </a:cubicBezTo>
                <a:lnTo>
                  <a:pt x="0" y="193095"/>
                </a:lnTo>
                <a:cubicBezTo>
                  <a:pt x="0" y="86452"/>
                  <a:pt x="86452" y="0"/>
                  <a:pt x="19309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1CCFB4A2-C310-48A6-A0B1-14236A64C2A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83294" y="851455"/>
            <a:ext cx="2648036" cy="3486150"/>
          </a:xfrm>
          <a:custGeom>
            <a:avLst/>
            <a:gdLst>
              <a:gd name="connsiteX0" fmla="*/ 193095 w 2648036"/>
              <a:gd name="connsiteY0" fmla="*/ 0 h 3486150"/>
              <a:gd name="connsiteX1" fmla="*/ 2454941 w 2648036"/>
              <a:gd name="connsiteY1" fmla="*/ 0 h 3486150"/>
              <a:gd name="connsiteX2" fmla="*/ 2648036 w 2648036"/>
              <a:gd name="connsiteY2" fmla="*/ 193095 h 3486150"/>
              <a:gd name="connsiteX3" fmla="*/ 2648036 w 2648036"/>
              <a:gd name="connsiteY3" fmla="*/ 3293055 h 3486150"/>
              <a:gd name="connsiteX4" fmla="*/ 2454941 w 2648036"/>
              <a:gd name="connsiteY4" fmla="*/ 3486150 h 3486150"/>
              <a:gd name="connsiteX5" fmla="*/ 193095 w 2648036"/>
              <a:gd name="connsiteY5" fmla="*/ 3486150 h 3486150"/>
              <a:gd name="connsiteX6" fmla="*/ 0 w 2648036"/>
              <a:gd name="connsiteY6" fmla="*/ 3293055 h 3486150"/>
              <a:gd name="connsiteX7" fmla="*/ 0 w 2648036"/>
              <a:gd name="connsiteY7" fmla="*/ 193095 h 3486150"/>
              <a:gd name="connsiteX8" fmla="*/ 193095 w 2648036"/>
              <a:gd name="connsiteY8" fmla="*/ 0 h 3486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48036" h="3486150">
                <a:moveTo>
                  <a:pt x="193095" y="0"/>
                </a:moveTo>
                <a:lnTo>
                  <a:pt x="2454941" y="0"/>
                </a:lnTo>
                <a:cubicBezTo>
                  <a:pt x="2561584" y="0"/>
                  <a:pt x="2648036" y="86452"/>
                  <a:pt x="2648036" y="193095"/>
                </a:cubicBezTo>
                <a:lnTo>
                  <a:pt x="2648036" y="3293055"/>
                </a:lnTo>
                <a:cubicBezTo>
                  <a:pt x="2648036" y="3399698"/>
                  <a:pt x="2561584" y="3486150"/>
                  <a:pt x="2454941" y="3486150"/>
                </a:cubicBezTo>
                <a:lnTo>
                  <a:pt x="193095" y="3486150"/>
                </a:lnTo>
                <a:cubicBezTo>
                  <a:pt x="86452" y="3486150"/>
                  <a:pt x="0" y="3399698"/>
                  <a:pt x="0" y="3293055"/>
                </a:cubicBezTo>
                <a:lnTo>
                  <a:pt x="0" y="193095"/>
                </a:lnTo>
                <a:cubicBezTo>
                  <a:pt x="0" y="86452"/>
                  <a:pt x="86452" y="0"/>
                  <a:pt x="19309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7EF6ABD6-9B32-433C-957B-28EE3E77841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71985" y="851455"/>
            <a:ext cx="2648035" cy="3486150"/>
          </a:xfrm>
          <a:custGeom>
            <a:avLst/>
            <a:gdLst>
              <a:gd name="connsiteX0" fmla="*/ 193094 w 2648035"/>
              <a:gd name="connsiteY0" fmla="*/ 0 h 3486150"/>
              <a:gd name="connsiteX1" fmla="*/ 2454940 w 2648035"/>
              <a:gd name="connsiteY1" fmla="*/ 0 h 3486150"/>
              <a:gd name="connsiteX2" fmla="*/ 2648035 w 2648035"/>
              <a:gd name="connsiteY2" fmla="*/ 193095 h 3486150"/>
              <a:gd name="connsiteX3" fmla="*/ 2648035 w 2648035"/>
              <a:gd name="connsiteY3" fmla="*/ 3293055 h 3486150"/>
              <a:gd name="connsiteX4" fmla="*/ 2454940 w 2648035"/>
              <a:gd name="connsiteY4" fmla="*/ 3486150 h 3486150"/>
              <a:gd name="connsiteX5" fmla="*/ 193094 w 2648035"/>
              <a:gd name="connsiteY5" fmla="*/ 3486150 h 3486150"/>
              <a:gd name="connsiteX6" fmla="*/ 0 w 2648035"/>
              <a:gd name="connsiteY6" fmla="*/ 3293055 h 3486150"/>
              <a:gd name="connsiteX7" fmla="*/ 0 w 2648035"/>
              <a:gd name="connsiteY7" fmla="*/ 193095 h 3486150"/>
              <a:gd name="connsiteX8" fmla="*/ 193094 w 2648035"/>
              <a:gd name="connsiteY8" fmla="*/ 0 h 3486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48035" h="3486150">
                <a:moveTo>
                  <a:pt x="193094" y="0"/>
                </a:moveTo>
                <a:lnTo>
                  <a:pt x="2454940" y="0"/>
                </a:lnTo>
                <a:cubicBezTo>
                  <a:pt x="2561583" y="0"/>
                  <a:pt x="2648035" y="86452"/>
                  <a:pt x="2648035" y="193095"/>
                </a:cubicBezTo>
                <a:lnTo>
                  <a:pt x="2648035" y="3293055"/>
                </a:lnTo>
                <a:cubicBezTo>
                  <a:pt x="2648035" y="3399698"/>
                  <a:pt x="2561583" y="3486150"/>
                  <a:pt x="2454940" y="3486150"/>
                </a:cubicBezTo>
                <a:lnTo>
                  <a:pt x="193094" y="3486150"/>
                </a:lnTo>
                <a:cubicBezTo>
                  <a:pt x="86451" y="3486150"/>
                  <a:pt x="0" y="3399698"/>
                  <a:pt x="0" y="3293055"/>
                </a:cubicBezTo>
                <a:lnTo>
                  <a:pt x="0" y="193095"/>
                </a:lnTo>
                <a:cubicBezTo>
                  <a:pt x="0" y="86452"/>
                  <a:pt x="86451" y="0"/>
                  <a:pt x="19309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085B4B1-95C3-441B-A9D6-E4B2EF5AEFD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60672" y="851455"/>
            <a:ext cx="2648036" cy="3486150"/>
          </a:xfrm>
          <a:custGeom>
            <a:avLst/>
            <a:gdLst>
              <a:gd name="connsiteX0" fmla="*/ 193095 w 2648036"/>
              <a:gd name="connsiteY0" fmla="*/ 0 h 3486150"/>
              <a:gd name="connsiteX1" fmla="*/ 2454941 w 2648036"/>
              <a:gd name="connsiteY1" fmla="*/ 0 h 3486150"/>
              <a:gd name="connsiteX2" fmla="*/ 2648036 w 2648036"/>
              <a:gd name="connsiteY2" fmla="*/ 193095 h 3486150"/>
              <a:gd name="connsiteX3" fmla="*/ 2648036 w 2648036"/>
              <a:gd name="connsiteY3" fmla="*/ 3293055 h 3486150"/>
              <a:gd name="connsiteX4" fmla="*/ 2454941 w 2648036"/>
              <a:gd name="connsiteY4" fmla="*/ 3486150 h 3486150"/>
              <a:gd name="connsiteX5" fmla="*/ 193095 w 2648036"/>
              <a:gd name="connsiteY5" fmla="*/ 3486150 h 3486150"/>
              <a:gd name="connsiteX6" fmla="*/ 0 w 2648036"/>
              <a:gd name="connsiteY6" fmla="*/ 3293055 h 3486150"/>
              <a:gd name="connsiteX7" fmla="*/ 0 w 2648036"/>
              <a:gd name="connsiteY7" fmla="*/ 193095 h 3486150"/>
              <a:gd name="connsiteX8" fmla="*/ 193095 w 2648036"/>
              <a:gd name="connsiteY8" fmla="*/ 0 h 3486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48036" h="3486150">
                <a:moveTo>
                  <a:pt x="193095" y="0"/>
                </a:moveTo>
                <a:lnTo>
                  <a:pt x="2454941" y="0"/>
                </a:lnTo>
                <a:cubicBezTo>
                  <a:pt x="2561584" y="0"/>
                  <a:pt x="2648036" y="86452"/>
                  <a:pt x="2648036" y="193095"/>
                </a:cubicBezTo>
                <a:lnTo>
                  <a:pt x="2648036" y="3293055"/>
                </a:lnTo>
                <a:cubicBezTo>
                  <a:pt x="2648036" y="3399698"/>
                  <a:pt x="2561584" y="3486150"/>
                  <a:pt x="2454941" y="3486150"/>
                </a:cubicBezTo>
                <a:lnTo>
                  <a:pt x="193095" y="3486150"/>
                </a:lnTo>
                <a:cubicBezTo>
                  <a:pt x="86452" y="3486150"/>
                  <a:pt x="0" y="3399698"/>
                  <a:pt x="0" y="3293055"/>
                </a:cubicBezTo>
                <a:lnTo>
                  <a:pt x="0" y="193095"/>
                </a:lnTo>
                <a:cubicBezTo>
                  <a:pt x="0" y="86452"/>
                  <a:pt x="86452" y="0"/>
                  <a:pt x="19309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121BA24E-B89A-4DFF-B040-1C1EF53A90A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349361" y="851455"/>
            <a:ext cx="2648036" cy="3486150"/>
          </a:xfrm>
          <a:custGeom>
            <a:avLst/>
            <a:gdLst>
              <a:gd name="connsiteX0" fmla="*/ 193095 w 2648036"/>
              <a:gd name="connsiteY0" fmla="*/ 0 h 3486150"/>
              <a:gd name="connsiteX1" fmla="*/ 2454941 w 2648036"/>
              <a:gd name="connsiteY1" fmla="*/ 0 h 3486150"/>
              <a:gd name="connsiteX2" fmla="*/ 2648036 w 2648036"/>
              <a:gd name="connsiteY2" fmla="*/ 193095 h 3486150"/>
              <a:gd name="connsiteX3" fmla="*/ 2648036 w 2648036"/>
              <a:gd name="connsiteY3" fmla="*/ 3293055 h 3486150"/>
              <a:gd name="connsiteX4" fmla="*/ 2454941 w 2648036"/>
              <a:gd name="connsiteY4" fmla="*/ 3486150 h 3486150"/>
              <a:gd name="connsiteX5" fmla="*/ 193095 w 2648036"/>
              <a:gd name="connsiteY5" fmla="*/ 3486150 h 3486150"/>
              <a:gd name="connsiteX6" fmla="*/ 0 w 2648036"/>
              <a:gd name="connsiteY6" fmla="*/ 3293055 h 3486150"/>
              <a:gd name="connsiteX7" fmla="*/ 0 w 2648036"/>
              <a:gd name="connsiteY7" fmla="*/ 193095 h 3486150"/>
              <a:gd name="connsiteX8" fmla="*/ 193095 w 2648036"/>
              <a:gd name="connsiteY8" fmla="*/ 0 h 3486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48036" h="3486150">
                <a:moveTo>
                  <a:pt x="193095" y="0"/>
                </a:moveTo>
                <a:lnTo>
                  <a:pt x="2454941" y="0"/>
                </a:lnTo>
                <a:cubicBezTo>
                  <a:pt x="2561584" y="0"/>
                  <a:pt x="2648036" y="86452"/>
                  <a:pt x="2648036" y="193095"/>
                </a:cubicBezTo>
                <a:lnTo>
                  <a:pt x="2648036" y="3293055"/>
                </a:lnTo>
                <a:cubicBezTo>
                  <a:pt x="2648036" y="3399698"/>
                  <a:pt x="2561584" y="3486150"/>
                  <a:pt x="2454941" y="3486150"/>
                </a:cubicBezTo>
                <a:lnTo>
                  <a:pt x="193095" y="3486150"/>
                </a:lnTo>
                <a:cubicBezTo>
                  <a:pt x="86452" y="3486150"/>
                  <a:pt x="0" y="3399698"/>
                  <a:pt x="0" y="3293055"/>
                </a:cubicBezTo>
                <a:lnTo>
                  <a:pt x="0" y="193095"/>
                </a:lnTo>
                <a:cubicBezTo>
                  <a:pt x="0" y="86452"/>
                  <a:pt x="86452" y="0"/>
                  <a:pt x="19309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913AF611-4766-43B4-81E8-144015EC0CB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851455"/>
            <a:ext cx="2286086" cy="3486150"/>
          </a:xfrm>
          <a:custGeom>
            <a:avLst/>
            <a:gdLst>
              <a:gd name="connsiteX0" fmla="*/ 0 w 2286086"/>
              <a:gd name="connsiteY0" fmla="*/ 0 h 3486150"/>
              <a:gd name="connsiteX1" fmla="*/ 2092991 w 2286086"/>
              <a:gd name="connsiteY1" fmla="*/ 0 h 3486150"/>
              <a:gd name="connsiteX2" fmla="*/ 2286086 w 2286086"/>
              <a:gd name="connsiteY2" fmla="*/ 193095 h 3486150"/>
              <a:gd name="connsiteX3" fmla="*/ 2286086 w 2286086"/>
              <a:gd name="connsiteY3" fmla="*/ 3293055 h 3486150"/>
              <a:gd name="connsiteX4" fmla="*/ 2092991 w 2286086"/>
              <a:gd name="connsiteY4" fmla="*/ 3486150 h 3486150"/>
              <a:gd name="connsiteX5" fmla="*/ 0 w 2286086"/>
              <a:gd name="connsiteY5" fmla="*/ 3486150 h 3486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6086" h="3486150">
                <a:moveTo>
                  <a:pt x="0" y="0"/>
                </a:moveTo>
                <a:lnTo>
                  <a:pt x="2092991" y="0"/>
                </a:lnTo>
                <a:cubicBezTo>
                  <a:pt x="2199634" y="0"/>
                  <a:pt x="2286086" y="86452"/>
                  <a:pt x="2286086" y="193095"/>
                </a:cubicBezTo>
                <a:lnTo>
                  <a:pt x="2286086" y="3293055"/>
                </a:lnTo>
                <a:cubicBezTo>
                  <a:pt x="2286086" y="3399698"/>
                  <a:pt x="2199634" y="3486150"/>
                  <a:pt x="2092991" y="3486150"/>
                </a:cubicBezTo>
                <a:lnTo>
                  <a:pt x="0" y="348615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2865E5BF-2535-5941-BA03-16DACE7E07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84904" y="6356350"/>
            <a:ext cx="60025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/>
              <a:t>Evoluz | São Paulo, SP - Brasil</a:t>
            </a:r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E240282-0D9A-C64C-90F2-9C65C49A32FA}"/>
              </a:ext>
            </a:extLst>
          </p:cNvPr>
          <p:cNvSpPr txBox="1">
            <a:spLocks/>
          </p:cNvSpPr>
          <p:nvPr userDrawn="1"/>
        </p:nvSpPr>
        <p:spPr>
          <a:xfrm>
            <a:off x="11012557" y="6356350"/>
            <a:ext cx="878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solidFill>
                  <a:schemeClr val="tx2"/>
                </a:solidFill>
              </a:rPr>
              <a:t>@</a:t>
            </a:r>
            <a:r>
              <a:rPr lang="en-US" sz="1000" dirty="0" err="1">
                <a:solidFill>
                  <a:schemeClr val="tx2"/>
                </a:solidFill>
              </a:rPr>
              <a:t>evolu.z</a:t>
            </a:r>
            <a:endParaRPr lang="en-US" sz="1000" dirty="0">
              <a:solidFill>
                <a:schemeClr val="tx2"/>
              </a:solidFill>
            </a:endParaRPr>
          </a:p>
        </p:txBody>
      </p:sp>
      <p:pic>
        <p:nvPicPr>
          <p:cNvPr id="14" name="Imagem 13">
            <a:extLst>
              <a:ext uri="{FF2B5EF4-FFF2-40B4-BE49-F238E27FC236}">
                <a16:creationId xmlns:a16="http://schemas.microsoft.com/office/drawing/2014/main" id="{000AF0CB-79D7-8A4E-B385-A147707CD6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8192" y="5689600"/>
            <a:ext cx="846667" cy="84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5222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91E042D-7F34-47F9-87B5-8CD6C1ED91B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62300" y="0"/>
            <a:ext cx="7829700" cy="6858000"/>
          </a:xfrm>
          <a:custGeom>
            <a:avLst/>
            <a:gdLst>
              <a:gd name="connsiteX0" fmla="*/ 7088849 w 7829700"/>
              <a:gd name="connsiteY0" fmla="*/ 0 h 6858000"/>
              <a:gd name="connsiteX1" fmla="*/ 7821701 w 7829700"/>
              <a:gd name="connsiteY1" fmla="*/ 0 h 6858000"/>
              <a:gd name="connsiteX2" fmla="*/ 7829700 w 7829700"/>
              <a:gd name="connsiteY2" fmla="*/ 8324 h 6858000"/>
              <a:gd name="connsiteX3" fmla="*/ 7829700 w 7829700"/>
              <a:gd name="connsiteY3" fmla="*/ 6858000 h 6858000"/>
              <a:gd name="connsiteX4" fmla="*/ 3062205 w 7829700"/>
              <a:gd name="connsiteY4" fmla="*/ 6858000 h 6858000"/>
              <a:gd name="connsiteX5" fmla="*/ 3147973 w 7829700"/>
              <a:gd name="connsiteY5" fmla="*/ 6665975 h 6858000"/>
              <a:gd name="connsiteX6" fmla="*/ 3318736 w 7829700"/>
              <a:gd name="connsiteY6" fmla="*/ 6358183 h 6858000"/>
              <a:gd name="connsiteX7" fmla="*/ 5553557 w 7829700"/>
              <a:gd name="connsiteY7" fmla="*/ 4312886 h 6858000"/>
              <a:gd name="connsiteX8" fmla="*/ 5771025 w 7829700"/>
              <a:gd name="connsiteY8" fmla="*/ 3142163 h 6858000"/>
              <a:gd name="connsiteX9" fmla="*/ 5498034 w 7829700"/>
              <a:gd name="connsiteY9" fmla="*/ 2434176 h 6858000"/>
              <a:gd name="connsiteX10" fmla="*/ 5271313 w 7829700"/>
              <a:gd name="connsiteY10" fmla="*/ 2156533 h 6858000"/>
              <a:gd name="connsiteX11" fmla="*/ 5081608 w 7829700"/>
              <a:gd name="connsiteY11" fmla="*/ 2059359 h 6858000"/>
              <a:gd name="connsiteX12" fmla="*/ 4736104 w 7829700"/>
              <a:gd name="connsiteY12" fmla="*/ 2028124 h 6858000"/>
              <a:gd name="connsiteX13" fmla="*/ 4623539 w 7829700"/>
              <a:gd name="connsiteY13" fmla="*/ 2036222 h 6858000"/>
              <a:gd name="connsiteX14" fmla="*/ 4183977 w 7829700"/>
              <a:gd name="connsiteY14" fmla="*/ 2309237 h 6858000"/>
              <a:gd name="connsiteX15" fmla="*/ 4142335 w 7829700"/>
              <a:gd name="connsiteY15" fmla="*/ 2906167 h 6858000"/>
              <a:gd name="connsiteX16" fmla="*/ 3513069 w 7829700"/>
              <a:gd name="connsiteY16" fmla="*/ 5081029 h 6858000"/>
              <a:gd name="connsiteX17" fmla="*/ 2152743 w 7829700"/>
              <a:gd name="connsiteY17" fmla="*/ 6598806 h 6858000"/>
              <a:gd name="connsiteX18" fmla="*/ 2040539 w 7829700"/>
              <a:gd name="connsiteY18" fmla="*/ 6834730 h 6858000"/>
              <a:gd name="connsiteX19" fmla="*/ 2033041 w 7829700"/>
              <a:gd name="connsiteY19" fmla="*/ 6858000 h 6858000"/>
              <a:gd name="connsiteX20" fmla="*/ 1445399 w 7829700"/>
              <a:gd name="connsiteY20" fmla="*/ 6858000 h 6858000"/>
              <a:gd name="connsiteX21" fmla="*/ 1505466 w 7829700"/>
              <a:gd name="connsiteY21" fmla="*/ 6731531 h 6858000"/>
              <a:gd name="connsiteX22" fmla="*/ 1772693 w 7829700"/>
              <a:gd name="connsiteY22" fmla="*/ 6353295 h 6858000"/>
              <a:gd name="connsiteX23" fmla="*/ 2392754 w 7829700"/>
              <a:gd name="connsiteY23" fmla="*/ 5663910 h 6858000"/>
              <a:gd name="connsiteX24" fmla="*/ 2540829 w 7829700"/>
              <a:gd name="connsiteY24" fmla="*/ 5418692 h 6858000"/>
              <a:gd name="connsiteX25" fmla="*/ 2517692 w 7829700"/>
              <a:gd name="connsiteY25" fmla="*/ 5289143 h 6858000"/>
              <a:gd name="connsiteX26" fmla="*/ 2490073 w 7829700"/>
              <a:gd name="connsiteY26" fmla="*/ 5285095 h 6858000"/>
              <a:gd name="connsiteX27" fmla="*/ 2415891 w 7829700"/>
              <a:gd name="connsiteY27" fmla="*/ 5321531 h 6858000"/>
              <a:gd name="connsiteX28" fmla="*/ 1481172 w 7829700"/>
              <a:gd name="connsiteY28" fmla="*/ 6034049 h 6858000"/>
              <a:gd name="connsiteX29" fmla="*/ 740802 w 7829700"/>
              <a:gd name="connsiteY29" fmla="*/ 6714181 h 6858000"/>
              <a:gd name="connsiteX30" fmla="*/ 717665 w 7829700"/>
              <a:gd name="connsiteY30" fmla="*/ 6746568 h 6858000"/>
              <a:gd name="connsiteX31" fmla="*/ 647177 w 7829700"/>
              <a:gd name="connsiteY31" fmla="*/ 6858000 h 6858000"/>
              <a:gd name="connsiteX32" fmla="*/ 0 w 7829700"/>
              <a:gd name="connsiteY32" fmla="*/ 6858000 h 6858000"/>
              <a:gd name="connsiteX33" fmla="*/ 20249 w 7829700"/>
              <a:gd name="connsiteY33" fmla="*/ 6777635 h 6858000"/>
              <a:gd name="connsiteX34" fmla="*/ 1231678 w 7829700"/>
              <a:gd name="connsiteY34" fmla="*/ 5206231 h 6858000"/>
              <a:gd name="connsiteX35" fmla="*/ 2268241 w 7829700"/>
              <a:gd name="connsiteY35" fmla="*/ 4632587 h 6858000"/>
              <a:gd name="connsiteX36" fmla="*/ 3230761 w 7829700"/>
              <a:gd name="connsiteY36" fmla="*/ 4128337 h 6858000"/>
              <a:gd name="connsiteX37" fmla="*/ 3559314 w 7829700"/>
              <a:gd name="connsiteY37" fmla="*/ 2865395 h 6858000"/>
              <a:gd name="connsiteX38" fmla="*/ 2818913 w 7829700"/>
              <a:gd name="connsiteY38" fmla="*/ 1699602 h 6858000"/>
              <a:gd name="connsiteX39" fmla="*/ 2633813 w 7829700"/>
              <a:gd name="connsiteY39" fmla="*/ 788249 h 6858000"/>
              <a:gd name="connsiteX40" fmla="*/ 3207623 w 7829700"/>
              <a:gd name="connsiteY40" fmla="*/ 358016 h 6858000"/>
              <a:gd name="connsiteX41" fmla="*/ 3943397 w 7829700"/>
              <a:gd name="connsiteY41" fmla="*/ 339511 h 6858000"/>
              <a:gd name="connsiteX42" fmla="*/ 5873067 w 7829700"/>
              <a:gd name="connsiteY42" fmla="*/ 371894 h 6858000"/>
              <a:gd name="connsiteX43" fmla="*/ 6007265 w 7829700"/>
              <a:gd name="connsiteY43" fmla="*/ 353390 h 6858000"/>
              <a:gd name="connsiteX44" fmla="*/ 6844120 w 7829700"/>
              <a:gd name="connsiteY44" fmla="*/ 12049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7829700" h="6858000">
                <a:moveTo>
                  <a:pt x="7088849" y="0"/>
                </a:moveTo>
                <a:lnTo>
                  <a:pt x="7821701" y="0"/>
                </a:lnTo>
                <a:lnTo>
                  <a:pt x="7829700" y="8324"/>
                </a:lnTo>
                <a:lnTo>
                  <a:pt x="7829700" y="6858000"/>
                </a:lnTo>
                <a:lnTo>
                  <a:pt x="3062205" y="6858000"/>
                </a:lnTo>
                <a:lnTo>
                  <a:pt x="3147973" y="6665975"/>
                </a:lnTo>
                <a:cubicBezTo>
                  <a:pt x="3198725" y="6560052"/>
                  <a:pt x="3253959" y="6456515"/>
                  <a:pt x="3318736" y="6358183"/>
                </a:cubicBezTo>
                <a:cubicBezTo>
                  <a:pt x="3878599" y="5511375"/>
                  <a:pt x="5044592" y="5192086"/>
                  <a:pt x="5553557" y="4312886"/>
                </a:cubicBezTo>
                <a:cubicBezTo>
                  <a:pt x="5757144" y="3961207"/>
                  <a:pt x="5835802" y="3544744"/>
                  <a:pt x="5771025" y="3142163"/>
                </a:cubicBezTo>
                <a:cubicBezTo>
                  <a:pt x="5734009" y="2892285"/>
                  <a:pt x="5636843" y="2647035"/>
                  <a:pt x="5498034" y="2434176"/>
                </a:cubicBezTo>
                <a:cubicBezTo>
                  <a:pt x="5428629" y="2332373"/>
                  <a:pt x="5354598" y="2239826"/>
                  <a:pt x="5271313" y="2156533"/>
                </a:cubicBezTo>
                <a:cubicBezTo>
                  <a:pt x="5215789" y="2101005"/>
                  <a:pt x="5155639" y="2073241"/>
                  <a:pt x="5081608" y="2059359"/>
                </a:cubicBezTo>
                <a:cubicBezTo>
                  <a:pt x="4967090" y="2038536"/>
                  <a:pt x="4849970" y="2025521"/>
                  <a:pt x="4736104" y="2028124"/>
                </a:cubicBezTo>
                <a:cubicBezTo>
                  <a:pt x="4698149" y="2028992"/>
                  <a:pt x="4660555" y="2031594"/>
                  <a:pt x="4623539" y="2036222"/>
                </a:cubicBezTo>
                <a:cubicBezTo>
                  <a:pt x="4447714" y="2063986"/>
                  <a:pt x="4267263" y="2151906"/>
                  <a:pt x="4183977" y="2309237"/>
                </a:cubicBezTo>
                <a:cubicBezTo>
                  <a:pt x="4086811" y="2485077"/>
                  <a:pt x="4123827" y="2702563"/>
                  <a:pt x="4142335" y="2906167"/>
                </a:cubicBezTo>
                <a:cubicBezTo>
                  <a:pt x="4220993" y="3674310"/>
                  <a:pt x="3989645" y="4474844"/>
                  <a:pt x="3513069" y="5081029"/>
                </a:cubicBezTo>
                <a:cubicBezTo>
                  <a:pt x="3092015" y="5617804"/>
                  <a:pt x="2495138" y="6011130"/>
                  <a:pt x="2152743" y="6598806"/>
                </a:cubicBezTo>
                <a:cubicBezTo>
                  <a:pt x="2109944" y="6672844"/>
                  <a:pt x="2071482" y="6752377"/>
                  <a:pt x="2040539" y="6834730"/>
                </a:cubicBezTo>
                <a:lnTo>
                  <a:pt x="2033041" y="6858000"/>
                </a:lnTo>
                <a:lnTo>
                  <a:pt x="1445399" y="6858000"/>
                </a:lnTo>
                <a:lnTo>
                  <a:pt x="1505466" y="6731531"/>
                </a:lnTo>
                <a:cubicBezTo>
                  <a:pt x="1580660" y="6597356"/>
                  <a:pt x="1673206" y="6471277"/>
                  <a:pt x="1772693" y="6353295"/>
                </a:cubicBezTo>
                <a:cubicBezTo>
                  <a:pt x="1971669" y="6117331"/>
                  <a:pt x="2198407" y="5904501"/>
                  <a:pt x="2392754" y="5663910"/>
                </a:cubicBezTo>
                <a:cubicBezTo>
                  <a:pt x="2452910" y="5589882"/>
                  <a:pt x="2508437" y="5511227"/>
                  <a:pt x="2540829" y="5418692"/>
                </a:cubicBezTo>
                <a:cubicBezTo>
                  <a:pt x="2559338" y="5372425"/>
                  <a:pt x="2563965" y="5307650"/>
                  <a:pt x="2517692" y="5289143"/>
                </a:cubicBezTo>
                <a:cubicBezTo>
                  <a:pt x="2508438" y="5285673"/>
                  <a:pt x="2499183" y="5284517"/>
                  <a:pt x="2490073" y="5285095"/>
                </a:cubicBezTo>
                <a:cubicBezTo>
                  <a:pt x="2462743" y="5286830"/>
                  <a:pt x="2436714" y="5304180"/>
                  <a:pt x="2415891" y="5321531"/>
                </a:cubicBezTo>
                <a:cubicBezTo>
                  <a:pt x="2105860" y="5557495"/>
                  <a:pt x="1795830" y="5798085"/>
                  <a:pt x="1481172" y="6034049"/>
                </a:cubicBezTo>
                <a:cubicBezTo>
                  <a:pt x="1217415" y="6237626"/>
                  <a:pt x="944403" y="6445830"/>
                  <a:pt x="740802" y="6714181"/>
                </a:cubicBezTo>
                <a:cubicBezTo>
                  <a:pt x="736173" y="6728061"/>
                  <a:pt x="726919" y="6737315"/>
                  <a:pt x="717665" y="6746568"/>
                </a:cubicBezTo>
                <a:lnTo>
                  <a:pt x="647177" y="6858000"/>
                </a:lnTo>
                <a:lnTo>
                  <a:pt x="0" y="6858000"/>
                </a:lnTo>
                <a:lnTo>
                  <a:pt x="20249" y="6777635"/>
                </a:lnTo>
                <a:cubicBezTo>
                  <a:pt x="206758" y="6130163"/>
                  <a:pt x="689104" y="5586733"/>
                  <a:pt x="1231678" y="5206231"/>
                </a:cubicBezTo>
                <a:cubicBezTo>
                  <a:pt x="1555604" y="4979549"/>
                  <a:pt x="1907294" y="4794503"/>
                  <a:pt x="2268241" y="4632587"/>
                </a:cubicBezTo>
                <a:cubicBezTo>
                  <a:pt x="2592165" y="4489177"/>
                  <a:pt x="2994758" y="4401280"/>
                  <a:pt x="3230761" y="4128337"/>
                </a:cubicBezTo>
                <a:cubicBezTo>
                  <a:pt x="3522294" y="3786000"/>
                  <a:pt x="3637981" y="3304880"/>
                  <a:pt x="3559314" y="2865395"/>
                </a:cubicBezTo>
                <a:cubicBezTo>
                  <a:pt x="3466764" y="2379648"/>
                  <a:pt x="3091936" y="2083574"/>
                  <a:pt x="2818913" y="1699602"/>
                </a:cubicBezTo>
                <a:cubicBezTo>
                  <a:pt x="2633813" y="1435911"/>
                  <a:pt x="2504242" y="1088949"/>
                  <a:pt x="2633813" y="788249"/>
                </a:cubicBezTo>
                <a:cubicBezTo>
                  <a:pt x="2735619" y="561567"/>
                  <a:pt x="2966993" y="418156"/>
                  <a:pt x="3207623" y="358016"/>
                </a:cubicBezTo>
                <a:cubicBezTo>
                  <a:pt x="3448254" y="302502"/>
                  <a:pt x="3698139" y="321006"/>
                  <a:pt x="3943397" y="339511"/>
                </a:cubicBezTo>
                <a:cubicBezTo>
                  <a:pt x="4586620" y="390399"/>
                  <a:pt x="5234471" y="450539"/>
                  <a:pt x="5873067" y="371894"/>
                </a:cubicBezTo>
                <a:cubicBezTo>
                  <a:pt x="5919341" y="367268"/>
                  <a:pt x="5965617" y="362642"/>
                  <a:pt x="6007265" y="353390"/>
                </a:cubicBezTo>
                <a:cubicBezTo>
                  <a:pt x="6295326" y="308285"/>
                  <a:pt x="6578183" y="234556"/>
                  <a:pt x="6844120" y="120492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E23C68FA-7BA9-5A4D-A36C-B675E4793C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84904" y="6356350"/>
            <a:ext cx="60025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/>
              <a:t>Evoluz | São Paulo, SP - Brasil</a:t>
            </a:r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E055FD0C-4057-2249-8DDE-961D4EBD8C63}"/>
              </a:ext>
            </a:extLst>
          </p:cNvPr>
          <p:cNvSpPr txBox="1">
            <a:spLocks/>
          </p:cNvSpPr>
          <p:nvPr userDrawn="1"/>
        </p:nvSpPr>
        <p:spPr>
          <a:xfrm>
            <a:off x="11012557" y="6356350"/>
            <a:ext cx="878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solidFill>
                  <a:schemeClr val="tx2"/>
                </a:solidFill>
              </a:rPr>
              <a:t>@</a:t>
            </a:r>
            <a:r>
              <a:rPr lang="en-US" sz="1000" dirty="0" err="1">
                <a:solidFill>
                  <a:schemeClr val="tx2"/>
                </a:solidFill>
              </a:rPr>
              <a:t>evolu.z</a:t>
            </a:r>
            <a:endParaRPr lang="en-US" sz="1000" dirty="0">
              <a:solidFill>
                <a:schemeClr val="tx2"/>
              </a:solidFill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77907884-DB0B-1D42-A3AC-379F0BDBB5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8192" y="5689600"/>
            <a:ext cx="846667" cy="84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248849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36BDD90-8430-4ADC-AB3C-2371C7D079F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359741" y="2200954"/>
            <a:ext cx="2207758" cy="2207758"/>
          </a:xfrm>
          <a:custGeom>
            <a:avLst/>
            <a:gdLst>
              <a:gd name="connsiteX0" fmla="*/ 1103879 w 2207758"/>
              <a:gd name="connsiteY0" fmla="*/ 0 h 2207758"/>
              <a:gd name="connsiteX1" fmla="*/ 2207758 w 2207758"/>
              <a:gd name="connsiteY1" fmla="*/ 1103879 h 2207758"/>
              <a:gd name="connsiteX2" fmla="*/ 1103879 w 2207758"/>
              <a:gd name="connsiteY2" fmla="*/ 2207758 h 2207758"/>
              <a:gd name="connsiteX3" fmla="*/ 0 w 2207758"/>
              <a:gd name="connsiteY3" fmla="*/ 1103879 h 2207758"/>
              <a:gd name="connsiteX4" fmla="*/ 1103879 w 2207758"/>
              <a:gd name="connsiteY4" fmla="*/ 0 h 2207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7758" h="2207758">
                <a:moveTo>
                  <a:pt x="1103879" y="0"/>
                </a:moveTo>
                <a:cubicBezTo>
                  <a:pt x="1713535" y="0"/>
                  <a:pt x="2207758" y="494223"/>
                  <a:pt x="2207758" y="1103879"/>
                </a:cubicBezTo>
                <a:cubicBezTo>
                  <a:pt x="2207758" y="1713535"/>
                  <a:pt x="1713535" y="2207758"/>
                  <a:pt x="1103879" y="2207758"/>
                </a:cubicBezTo>
                <a:cubicBezTo>
                  <a:pt x="494223" y="2207758"/>
                  <a:pt x="0" y="1713535"/>
                  <a:pt x="0" y="1103879"/>
                </a:cubicBezTo>
                <a:cubicBezTo>
                  <a:pt x="0" y="494223"/>
                  <a:pt x="494223" y="0"/>
                  <a:pt x="110387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08BB5C0-84B8-4189-B188-5A3E10176FA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640003" y="3943350"/>
            <a:ext cx="3265998" cy="2914650"/>
          </a:xfrm>
          <a:custGeom>
            <a:avLst/>
            <a:gdLst>
              <a:gd name="connsiteX0" fmla="*/ 1632999 w 3265998"/>
              <a:gd name="connsiteY0" fmla="*/ 0 h 2914650"/>
              <a:gd name="connsiteX1" fmla="*/ 3265998 w 3265998"/>
              <a:gd name="connsiteY1" fmla="*/ 1632999 h 2914650"/>
              <a:gd name="connsiteX2" fmla="*/ 2671738 w 3265998"/>
              <a:gd name="connsiteY2" fmla="*/ 2893101 h 2914650"/>
              <a:gd name="connsiteX3" fmla="*/ 2642920 w 3265998"/>
              <a:gd name="connsiteY3" fmla="*/ 2914650 h 2914650"/>
              <a:gd name="connsiteX4" fmla="*/ 623079 w 3265998"/>
              <a:gd name="connsiteY4" fmla="*/ 2914650 h 2914650"/>
              <a:gd name="connsiteX5" fmla="*/ 594260 w 3265998"/>
              <a:gd name="connsiteY5" fmla="*/ 2893101 h 2914650"/>
              <a:gd name="connsiteX6" fmla="*/ 0 w 3265998"/>
              <a:gd name="connsiteY6" fmla="*/ 1632999 h 2914650"/>
              <a:gd name="connsiteX7" fmla="*/ 1632999 w 3265998"/>
              <a:gd name="connsiteY7" fmla="*/ 0 h 2914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265998" h="2914650">
                <a:moveTo>
                  <a:pt x="1632999" y="0"/>
                </a:moveTo>
                <a:cubicBezTo>
                  <a:pt x="2534879" y="0"/>
                  <a:pt x="3265998" y="731119"/>
                  <a:pt x="3265998" y="1632999"/>
                </a:cubicBezTo>
                <a:cubicBezTo>
                  <a:pt x="3265998" y="2140307"/>
                  <a:pt x="3034667" y="2593584"/>
                  <a:pt x="2671738" y="2893101"/>
                </a:cubicBezTo>
                <a:lnTo>
                  <a:pt x="2642920" y="2914650"/>
                </a:lnTo>
                <a:lnTo>
                  <a:pt x="623079" y="2914650"/>
                </a:lnTo>
                <a:lnTo>
                  <a:pt x="594260" y="2893101"/>
                </a:lnTo>
                <a:cubicBezTo>
                  <a:pt x="231331" y="2593584"/>
                  <a:pt x="0" y="2140307"/>
                  <a:pt x="0" y="1632999"/>
                </a:cubicBezTo>
                <a:cubicBezTo>
                  <a:pt x="0" y="731119"/>
                  <a:pt x="731119" y="0"/>
                  <a:pt x="163299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8523A6E9-FBCF-7540-9B9A-3FC13E46DD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84904" y="6356350"/>
            <a:ext cx="60025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/>
              <a:t>Evoluz | São Paulo, SP - Brasi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C63EB8-15C4-4244-8B52-E5047E8EA089}"/>
              </a:ext>
            </a:extLst>
          </p:cNvPr>
          <p:cNvSpPr txBox="1">
            <a:spLocks/>
          </p:cNvSpPr>
          <p:nvPr userDrawn="1"/>
        </p:nvSpPr>
        <p:spPr>
          <a:xfrm>
            <a:off x="11012557" y="6356350"/>
            <a:ext cx="878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solidFill>
                  <a:schemeClr val="tx2"/>
                </a:solidFill>
              </a:rPr>
              <a:t>@</a:t>
            </a:r>
            <a:r>
              <a:rPr lang="en-US" sz="1000" dirty="0" err="1">
                <a:solidFill>
                  <a:schemeClr val="tx2"/>
                </a:solidFill>
              </a:rPr>
              <a:t>evolu.z</a:t>
            </a:r>
            <a:endParaRPr lang="en-US" sz="1000" dirty="0">
              <a:solidFill>
                <a:schemeClr val="tx2"/>
              </a:solidFill>
            </a:endParaRP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2D7B8791-264D-5644-B56F-5F8FC98A0E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8192" y="5689600"/>
            <a:ext cx="846667" cy="84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69144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FEF91248-9709-4BFE-AA2E-DFBC7DE064D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822589" y="4649353"/>
            <a:ext cx="1583610" cy="1583610"/>
          </a:xfrm>
          <a:custGeom>
            <a:avLst/>
            <a:gdLst>
              <a:gd name="connsiteX0" fmla="*/ 791805 w 1583610"/>
              <a:gd name="connsiteY0" fmla="*/ 0 h 1583610"/>
              <a:gd name="connsiteX1" fmla="*/ 1583610 w 1583610"/>
              <a:gd name="connsiteY1" fmla="*/ 791805 h 1583610"/>
              <a:gd name="connsiteX2" fmla="*/ 791805 w 1583610"/>
              <a:gd name="connsiteY2" fmla="*/ 1583610 h 1583610"/>
              <a:gd name="connsiteX3" fmla="*/ 0 w 1583610"/>
              <a:gd name="connsiteY3" fmla="*/ 791805 h 1583610"/>
              <a:gd name="connsiteX4" fmla="*/ 791805 w 1583610"/>
              <a:gd name="connsiteY4" fmla="*/ 0 h 1583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83610" h="1583610">
                <a:moveTo>
                  <a:pt x="791805" y="0"/>
                </a:moveTo>
                <a:cubicBezTo>
                  <a:pt x="1229107" y="0"/>
                  <a:pt x="1583610" y="354503"/>
                  <a:pt x="1583610" y="791805"/>
                </a:cubicBezTo>
                <a:cubicBezTo>
                  <a:pt x="1583610" y="1229107"/>
                  <a:pt x="1229107" y="1583610"/>
                  <a:pt x="791805" y="1583610"/>
                </a:cubicBezTo>
                <a:cubicBezTo>
                  <a:pt x="354503" y="1583610"/>
                  <a:pt x="0" y="1229107"/>
                  <a:pt x="0" y="791805"/>
                </a:cubicBezTo>
                <a:cubicBezTo>
                  <a:pt x="0" y="354503"/>
                  <a:pt x="354503" y="0"/>
                  <a:pt x="79180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E34DB66-254F-4E78-BB02-A425AFAE5F5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98341" y="625038"/>
            <a:ext cx="2207758" cy="2207758"/>
          </a:xfrm>
          <a:custGeom>
            <a:avLst/>
            <a:gdLst>
              <a:gd name="connsiteX0" fmla="*/ 1103879 w 2207758"/>
              <a:gd name="connsiteY0" fmla="*/ 0 h 2207758"/>
              <a:gd name="connsiteX1" fmla="*/ 2207758 w 2207758"/>
              <a:gd name="connsiteY1" fmla="*/ 1103879 h 2207758"/>
              <a:gd name="connsiteX2" fmla="*/ 1103879 w 2207758"/>
              <a:gd name="connsiteY2" fmla="*/ 2207758 h 2207758"/>
              <a:gd name="connsiteX3" fmla="*/ 0 w 2207758"/>
              <a:gd name="connsiteY3" fmla="*/ 1103879 h 2207758"/>
              <a:gd name="connsiteX4" fmla="*/ 1103879 w 2207758"/>
              <a:gd name="connsiteY4" fmla="*/ 0 h 2207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7758" h="2207758">
                <a:moveTo>
                  <a:pt x="1103879" y="0"/>
                </a:moveTo>
                <a:cubicBezTo>
                  <a:pt x="1713535" y="0"/>
                  <a:pt x="2207758" y="494223"/>
                  <a:pt x="2207758" y="1103879"/>
                </a:cubicBezTo>
                <a:cubicBezTo>
                  <a:pt x="2207758" y="1713535"/>
                  <a:pt x="1713535" y="2207758"/>
                  <a:pt x="1103879" y="2207758"/>
                </a:cubicBezTo>
                <a:cubicBezTo>
                  <a:pt x="494223" y="2207758"/>
                  <a:pt x="0" y="1713535"/>
                  <a:pt x="0" y="1103879"/>
                </a:cubicBezTo>
                <a:cubicBezTo>
                  <a:pt x="0" y="494223"/>
                  <a:pt x="494223" y="0"/>
                  <a:pt x="110387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242CAC5-A410-4920-8B35-C064919FB03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339398" y="1522560"/>
            <a:ext cx="3296336" cy="3296336"/>
          </a:xfrm>
          <a:custGeom>
            <a:avLst/>
            <a:gdLst>
              <a:gd name="connsiteX0" fmla="*/ 1648168 w 3296336"/>
              <a:gd name="connsiteY0" fmla="*/ 0 h 3296336"/>
              <a:gd name="connsiteX1" fmla="*/ 3296336 w 3296336"/>
              <a:gd name="connsiteY1" fmla="*/ 1648168 h 3296336"/>
              <a:gd name="connsiteX2" fmla="*/ 1648168 w 3296336"/>
              <a:gd name="connsiteY2" fmla="*/ 3296336 h 3296336"/>
              <a:gd name="connsiteX3" fmla="*/ 0 w 3296336"/>
              <a:gd name="connsiteY3" fmla="*/ 1648168 h 3296336"/>
              <a:gd name="connsiteX4" fmla="*/ 1648168 w 3296336"/>
              <a:gd name="connsiteY4" fmla="*/ 0 h 3296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96336" h="3296336">
                <a:moveTo>
                  <a:pt x="1648168" y="0"/>
                </a:moveTo>
                <a:cubicBezTo>
                  <a:pt x="2558426" y="0"/>
                  <a:pt x="3296336" y="737910"/>
                  <a:pt x="3296336" y="1648168"/>
                </a:cubicBezTo>
                <a:cubicBezTo>
                  <a:pt x="3296336" y="2558426"/>
                  <a:pt x="2558426" y="3296336"/>
                  <a:pt x="1648168" y="3296336"/>
                </a:cubicBezTo>
                <a:cubicBezTo>
                  <a:pt x="737910" y="3296336"/>
                  <a:pt x="0" y="2558426"/>
                  <a:pt x="0" y="1648168"/>
                </a:cubicBezTo>
                <a:cubicBezTo>
                  <a:pt x="0" y="737910"/>
                  <a:pt x="737910" y="0"/>
                  <a:pt x="164816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89789AA-C6D3-4748-B38A-4866FD3C248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611965" y="2947453"/>
            <a:ext cx="2834970" cy="2834970"/>
          </a:xfrm>
          <a:custGeom>
            <a:avLst/>
            <a:gdLst>
              <a:gd name="connsiteX0" fmla="*/ 1417485 w 2834970"/>
              <a:gd name="connsiteY0" fmla="*/ 0 h 2834970"/>
              <a:gd name="connsiteX1" fmla="*/ 2834970 w 2834970"/>
              <a:gd name="connsiteY1" fmla="*/ 1417485 h 2834970"/>
              <a:gd name="connsiteX2" fmla="*/ 1417485 w 2834970"/>
              <a:gd name="connsiteY2" fmla="*/ 2834970 h 2834970"/>
              <a:gd name="connsiteX3" fmla="*/ 0 w 2834970"/>
              <a:gd name="connsiteY3" fmla="*/ 1417485 h 2834970"/>
              <a:gd name="connsiteX4" fmla="*/ 1417485 w 2834970"/>
              <a:gd name="connsiteY4" fmla="*/ 0 h 2834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970" h="2834970">
                <a:moveTo>
                  <a:pt x="1417485" y="0"/>
                </a:moveTo>
                <a:cubicBezTo>
                  <a:pt x="2200340" y="0"/>
                  <a:pt x="2834970" y="634630"/>
                  <a:pt x="2834970" y="1417485"/>
                </a:cubicBezTo>
                <a:cubicBezTo>
                  <a:pt x="2834970" y="2200340"/>
                  <a:pt x="2200340" y="2834970"/>
                  <a:pt x="1417485" y="2834970"/>
                </a:cubicBezTo>
                <a:cubicBezTo>
                  <a:pt x="634630" y="2834970"/>
                  <a:pt x="0" y="2200340"/>
                  <a:pt x="0" y="1417485"/>
                </a:cubicBezTo>
                <a:cubicBezTo>
                  <a:pt x="0" y="634630"/>
                  <a:pt x="634630" y="0"/>
                  <a:pt x="141748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7086CC63-2815-A54C-A08F-FDA83F1C4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84904" y="6356350"/>
            <a:ext cx="60025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/>
              <a:t>Evoluz | São Paulo, SP - Brasil</a:t>
            </a:r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D2DB783E-D4FB-664E-B14E-CE7504BFB621}"/>
              </a:ext>
            </a:extLst>
          </p:cNvPr>
          <p:cNvSpPr txBox="1">
            <a:spLocks/>
          </p:cNvSpPr>
          <p:nvPr userDrawn="1"/>
        </p:nvSpPr>
        <p:spPr>
          <a:xfrm>
            <a:off x="11012557" y="6356350"/>
            <a:ext cx="878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solidFill>
                  <a:schemeClr val="tx2"/>
                </a:solidFill>
              </a:rPr>
              <a:t>@</a:t>
            </a:r>
            <a:r>
              <a:rPr lang="en-US" sz="1000" dirty="0" err="1">
                <a:solidFill>
                  <a:schemeClr val="tx2"/>
                </a:solidFill>
              </a:rPr>
              <a:t>evolu.z</a:t>
            </a:r>
            <a:endParaRPr lang="en-US" sz="1000" dirty="0">
              <a:solidFill>
                <a:schemeClr val="tx2"/>
              </a:solidFill>
            </a:endParaRPr>
          </a:p>
        </p:txBody>
      </p:sp>
      <p:pic>
        <p:nvPicPr>
          <p:cNvPr id="11" name="Imagem 10">
            <a:extLst>
              <a:ext uri="{FF2B5EF4-FFF2-40B4-BE49-F238E27FC236}">
                <a16:creationId xmlns:a16="http://schemas.microsoft.com/office/drawing/2014/main" id="{AB479A86-2FB9-264C-A9AB-1C998EABCC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8192" y="5689600"/>
            <a:ext cx="846667" cy="84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414751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B4754C1-34DC-4F9C-9657-56F6B00ECC6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83340" y="0"/>
            <a:ext cx="6708661" cy="5198456"/>
          </a:xfrm>
          <a:custGeom>
            <a:avLst/>
            <a:gdLst>
              <a:gd name="connsiteX0" fmla="*/ 361394 w 6708661"/>
              <a:gd name="connsiteY0" fmla="*/ 0 h 5198456"/>
              <a:gd name="connsiteX1" fmla="*/ 6708661 w 6708661"/>
              <a:gd name="connsiteY1" fmla="*/ 0 h 5198456"/>
              <a:gd name="connsiteX2" fmla="*/ 6708661 w 6708661"/>
              <a:gd name="connsiteY2" fmla="*/ 3479764 h 5198456"/>
              <a:gd name="connsiteX3" fmla="*/ 6636262 w 6708661"/>
              <a:gd name="connsiteY3" fmla="*/ 3598937 h 5198456"/>
              <a:gd name="connsiteX4" fmla="*/ 3627927 w 6708661"/>
              <a:gd name="connsiteY4" fmla="*/ 5198456 h 5198456"/>
              <a:gd name="connsiteX5" fmla="*/ 0 w 6708661"/>
              <a:gd name="connsiteY5" fmla="*/ 1570528 h 5198456"/>
              <a:gd name="connsiteX6" fmla="*/ 285100 w 6708661"/>
              <a:gd name="connsiteY6" fmla="*/ 158375 h 5198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08661" h="5198456">
                <a:moveTo>
                  <a:pt x="361394" y="0"/>
                </a:moveTo>
                <a:lnTo>
                  <a:pt x="6708661" y="0"/>
                </a:lnTo>
                <a:lnTo>
                  <a:pt x="6708661" y="3479764"/>
                </a:lnTo>
                <a:lnTo>
                  <a:pt x="6636262" y="3598937"/>
                </a:lnTo>
                <a:cubicBezTo>
                  <a:pt x="5984297" y="4563972"/>
                  <a:pt x="4880208" y="5198456"/>
                  <a:pt x="3627927" y="5198456"/>
                </a:cubicBezTo>
                <a:cubicBezTo>
                  <a:pt x="1624278" y="5198456"/>
                  <a:pt x="0" y="3574177"/>
                  <a:pt x="0" y="1570528"/>
                </a:cubicBezTo>
                <a:cubicBezTo>
                  <a:pt x="0" y="1069616"/>
                  <a:pt x="101517" y="592414"/>
                  <a:pt x="285100" y="158375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1D655AE5-4546-D745-B596-B84E465CB8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84904" y="6356350"/>
            <a:ext cx="60025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/>
              <a:t>Evoluz | São Paulo, SP - Brasil</a:t>
            </a:r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9D9F4592-E645-054C-AAC2-6584C5ECDAEA}"/>
              </a:ext>
            </a:extLst>
          </p:cNvPr>
          <p:cNvSpPr txBox="1">
            <a:spLocks/>
          </p:cNvSpPr>
          <p:nvPr userDrawn="1"/>
        </p:nvSpPr>
        <p:spPr>
          <a:xfrm>
            <a:off x="11012557" y="6356350"/>
            <a:ext cx="878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solidFill>
                  <a:schemeClr val="tx2"/>
                </a:solidFill>
              </a:rPr>
              <a:t>@</a:t>
            </a:r>
            <a:r>
              <a:rPr lang="en-US" sz="1000" dirty="0" err="1">
                <a:solidFill>
                  <a:schemeClr val="tx2"/>
                </a:solidFill>
              </a:rPr>
              <a:t>evolu.z</a:t>
            </a:r>
            <a:endParaRPr lang="en-US" sz="1000" dirty="0">
              <a:solidFill>
                <a:schemeClr val="tx2"/>
              </a:solidFill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7319F098-3608-B34B-83C1-DB47D29B09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8192" y="5689600"/>
            <a:ext cx="846667" cy="84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47507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5A3CCE4-6BC5-30FB-DB56-685065661C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1103D51-6EA5-CF64-191E-9029F713546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8AEB0BD-810A-49B9-987A-4DDB0FF95B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A9B224-8366-4B39-972B-4F45DF55BDB4}" type="datetimeFigureOut">
              <a:rPr lang="pt-BR" smtClean="0"/>
              <a:t>06/08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1A39464-D3BC-AF2D-1BFC-D0DE104CB0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EE3B68AD-C548-E9BD-E81A-898D5AC407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AB19DD-0A0E-49A7-A952-DA7ACF3991C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1645097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75CDA9-E09B-43F7-93F0-25B5B3F04C5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418451" y="3343275"/>
            <a:ext cx="1151708" cy="1151706"/>
          </a:xfrm>
          <a:custGeom>
            <a:avLst/>
            <a:gdLst>
              <a:gd name="connsiteX0" fmla="*/ 575854 w 1151708"/>
              <a:gd name="connsiteY0" fmla="*/ 0 h 1151706"/>
              <a:gd name="connsiteX1" fmla="*/ 1151708 w 1151708"/>
              <a:gd name="connsiteY1" fmla="*/ 575853 h 1151706"/>
              <a:gd name="connsiteX2" fmla="*/ 575854 w 1151708"/>
              <a:gd name="connsiteY2" fmla="*/ 1151706 h 1151706"/>
              <a:gd name="connsiteX3" fmla="*/ 0 w 1151708"/>
              <a:gd name="connsiteY3" fmla="*/ 575853 h 1151706"/>
              <a:gd name="connsiteX4" fmla="*/ 575854 w 1151708"/>
              <a:gd name="connsiteY4" fmla="*/ 0 h 1151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1708" h="1151706">
                <a:moveTo>
                  <a:pt x="575854" y="0"/>
                </a:moveTo>
                <a:cubicBezTo>
                  <a:pt x="893889" y="0"/>
                  <a:pt x="1151708" y="257818"/>
                  <a:pt x="1151708" y="575853"/>
                </a:cubicBezTo>
                <a:cubicBezTo>
                  <a:pt x="1151708" y="893888"/>
                  <a:pt x="893889" y="1151706"/>
                  <a:pt x="575854" y="1151706"/>
                </a:cubicBezTo>
                <a:cubicBezTo>
                  <a:pt x="257819" y="1151706"/>
                  <a:pt x="0" y="893888"/>
                  <a:pt x="0" y="575853"/>
                </a:cubicBezTo>
                <a:cubicBezTo>
                  <a:pt x="0" y="257818"/>
                  <a:pt x="257819" y="0"/>
                  <a:pt x="57585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042C071-21B8-435D-834C-20D747E4053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487219" y="903345"/>
            <a:ext cx="1151708" cy="1151706"/>
          </a:xfrm>
          <a:custGeom>
            <a:avLst/>
            <a:gdLst>
              <a:gd name="connsiteX0" fmla="*/ 575854 w 1151708"/>
              <a:gd name="connsiteY0" fmla="*/ 0 h 1151706"/>
              <a:gd name="connsiteX1" fmla="*/ 1151708 w 1151708"/>
              <a:gd name="connsiteY1" fmla="*/ 575853 h 1151706"/>
              <a:gd name="connsiteX2" fmla="*/ 575854 w 1151708"/>
              <a:gd name="connsiteY2" fmla="*/ 1151706 h 1151706"/>
              <a:gd name="connsiteX3" fmla="*/ 0 w 1151708"/>
              <a:gd name="connsiteY3" fmla="*/ 575853 h 1151706"/>
              <a:gd name="connsiteX4" fmla="*/ 575854 w 1151708"/>
              <a:gd name="connsiteY4" fmla="*/ 0 h 1151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1708" h="1151706">
                <a:moveTo>
                  <a:pt x="575854" y="0"/>
                </a:moveTo>
                <a:cubicBezTo>
                  <a:pt x="893889" y="0"/>
                  <a:pt x="1151708" y="257818"/>
                  <a:pt x="1151708" y="575853"/>
                </a:cubicBezTo>
                <a:cubicBezTo>
                  <a:pt x="1151708" y="893888"/>
                  <a:pt x="893889" y="1151706"/>
                  <a:pt x="575854" y="1151706"/>
                </a:cubicBezTo>
                <a:cubicBezTo>
                  <a:pt x="257819" y="1151706"/>
                  <a:pt x="0" y="893888"/>
                  <a:pt x="0" y="575853"/>
                </a:cubicBezTo>
                <a:cubicBezTo>
                  <a:pt x="0" y="257818"/>
                  <a:pt x="257819" y="0"/>
                  <a:pt x="57585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7A74756-F91B-4C47-AED4-FADF1E60AA2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71261" y="3636345"/>
            <a:ext cx="1151708" cy="1151706"/>
          </a:xfrm>
          <a:custGeom>
            <a:avLst/>
            <a:gdLst>
              <a:gd name="connsiteX0" fmla="*/ 575854 w 1151708"/>
              <a:gd name="connsiteY0" fmla="*/ 0 h 1151706"/>
              <a:gd name="connsiteX1" fmla="*/ 1151708 w 1151708"/>
              <a:gd name="connsiteY1" fmla="*/ 575853 h 1151706"/>
              <a:gd name="connsiteX2" fmla="*/ 575854 w 1151708"/>
              <a:gd name="connsiteY2" fmla="*/ 1151706 h 1151706"/>
              <a:gd name="connsiteX3" fmla="*/ 0 w 1151708"/>
              <a:gd name="connsiteY3" fmla="*/ 575853 h 1151706"/>
              <a:gd name="connsiteX4" fmla="*/ 575854 w 1151708"/>
              <a:gd name="connsiteY4" fmla="*/ 0 h 1151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1708" h="1151706">
                <a:moveTo>
                  <a:pt x="575854" y="0"/>
                </a:moveTo>
                <a:cubicBezTo>
                  <a:pt x="893889" y="0"/>
                  <a:pt x="1151708" y="257818"/>
                  <a:pt x="1151708" y="575853"/>
                </a:cubicBezTo>
                <a:cubicBezTo>
                  <a:pt x="1151708" y="893888"/>
                  <a:pt x="893889" y="1151706"/>
                  <a:pt x="575854" y="1151706"/>
                </a:cubicBezTo>
                <a:cubicBezTo>
                  <a:pt x="257819" y="1151706"/>
                  <a:pt x="0" y="893888"/>
                  <a:pt x="0" y="575853"/>
                </a:cubicBezTo>
                <a:cubicBezTo>
                  <a:pt x="0" y="257818"/>
                  <a:pt x="257819" y="0"/>
                  <a:pt x="57585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0CEE09-B357-FE41-9F38-E72B011A98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84904" y="6356350"/>
            <a:ext cx="60025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/>
              <a:t>Evoluz | São Paulo, SP - Brasil</a:t>
            </a:r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E2CE1D98-7A03-4E47-8DE0-23F6C76B0AFF}"/>
              </a:ext>
            </a:extLst>
          </p:cNvPr>
          <p:cNvSpPr txBox="1">
            <a:spLocks/>
          </p:cNvSpPr>
          <p:nvPr userDrawn="1"/>
        </p:nvSpPr>
        <p:spPr>
          <a:xfrm>
            <a:off x="11012557" y="6356350"/>
            <a:ext cx="878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solidFill>
                  <a:schemeClr val="tx2"/>
                </a:solidFill>
              </a:rPr>
              <a:t>@</a:t>
            </a:r>
            <a:r>
              <a:rPr lang="en-US" sz="1000" dirty="0" err="1">
                <a:solidFill>
                  <a:schemeClr val="tx2"/>
                </a:solidFill>
              </a:rPr>
              <a:t>evolu.z</a:t>
            </a:r>
            <a:endParaRPr lang="en-US" sz="1000" dirty="0">
              <a:solidFill>
                <a:schemeClr val="tx2"/>
              </a:solidFill>
            </a:endParaRPr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428C4510-4794-1547-AA5A-CD8EB1A5D4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8192" y="5689600"/>
            <a:ext cx="846667" cy="84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968082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F4E8C2E-FEE9-4D7F-AB1B-0BEF581973C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685071" y="1944903"/>
            <a:ext cx="1053688" cy="1053688"/>
          </a:xfrm>
          <a:custGeom>
            <a:avLst/>
            <a:gdLst>
              <a:gd name="connsiteX0" fmla="*/ 526844 w 1053688"/>
              <a:gd name="connsiteY0" fmla="*/ 0 h 1053688"/>
              <a:gd name="connsiteX1" fmla="*/ 1053688 w 1053688"/>
              <a:gd name="connsiteY1" fmla="*/ 526844 h 1053688"/>
              <a:gd name="connsiteX2" fmla="*/ 526844 w 1053688"/>
              <a:gd name="connsiteY2" fmla="*/ 1053688 h 1053688"/>
              <a:gd name="connsiteX3" fmla="*/ 0 w 1053688"/>
              <a:gd name="connsiteY3" fmla="*/ 526844 h 1053688"/>
              <a:gd name="connsiteX4" fmla="*/ 526844 w 1053688"/>
              <a:gd name="connsiteY4" fmla="*/ 0 h 1053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3688" h="1053688">
                <a:moveTo>
                  <a:pt x="526844" y="0"/>
                </a:moveTo>
                <a:cubicBezTo>
                  <a:pt x="817812" y="0"/>
                  <a:pt x="1053688" y="235876"/>
                  <a:pt x="1053688" y="526844"/>
                </a:cubicBezTo>
                <a:cubicBezTo>
                  <a:pt x="1053688" y="817812"/>
                  <a:pt x="817812" y="1053688"/>
                  <a:pt x="526844" y="1053688"/>
                </a:cubicBezTo>
                <a:cubicBezTo>
                  <a:pt x="235876" y="1053688"/>
                  <a:pt x="0" y="817812"/>
                  <a:pt x="0" y="526844"/>
                </a:cubicBezTo>
                <a:cubicBezTo>
                  <a:pt x="0" y="235876"/>
                  <a:pt x="235876" y="0"/>
                  <a:pt x="52684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5C2D976-9E81-4392-A835-FC863920B56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864554" y="1944903"/>
            <a:ext cx="1053688" cy="1053688"/>
          </a:xfrm>
          <a:custGeom>
            <a:avLst/>
            <a:gdLst>
              <a:gd name="connsiteX0" fmla="*/ 526844 w 1053688"/>
              <a:gd name="connsiteY0" fmla="*/ 0 h 1053688"/>
              <a:gd name="connsiteX1" fmla="*/ 1053688 w 1053688"/>
              <a:gd name="connsiteY1" fmla="*/ 526844 h 1053688"/>
              <a:gd name="connsiteX2" fmla="*/ 526844 w 1053688"/>
              <a:gd name="connsiteY2" fmla="*/ 1053688 h 1053688"/>
              <a:gd name="connsiteX3" fmla="*/ 0 w 1053688"/>
              <a:gd name="connsiteY3" fmla="*/ 526844 h 1053688"/>
              <a:gd name="connsiteX4" fmla="*/ 526844 w 1053688"/>
              <a:gd name="connsiteY4" fmla="*/ 0 h 1053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3688" h="1053688">
                <a:moveTo>
                  <a:pt x="526844" y="0"/>
                </a:moveTo>
                <a:cubicBezTo>
                  <a:pt x="817812" y="0"/>
                  <a:pt x="1053688" y="235876"/>
                  <a:pt x="1053688" y="526844"/>
                </a:cubicBezTo>
                <a:cubicBezTo>
                  <a:pt x="1053688" y="817812"/>
                  <a:pt x="817812" y="1053688"/>
                  <a:pt x="526844" y="1053688"/>
                </a:cubicBezTo>
                <a:cubicBezTo>
                  <a:pt x="235876" y="1053688"/>
                  <a:pt x="0" y="817812"/>
                  <a:pt x="0" y="526844"/>
                </a:cubicBezTo>
                <a:cubicBezTo>
                  <a:pt x="0" y="235876"/>
                  <a:pt x="235876" y="0"/>
                  <a:pt x="52684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B55B1BB-AAAF-40D6-BBF9-9EBF7BB9237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273755" y="3048600"/>
            <a:ext cx="1053688" cy="1053688"/>
          </a:xfrm>
          <a:custGeom>
            <a:avLst/>
            <a:gdLst>
              <a:gd name="connsiteX0" fmla="*/ 526844 w 1053688"/>
              <a:gd name="connsiteY0" fmla="*/ 0 h 1053688"/>
              <a:gd name="connsiteX1" fmla="*/ 1053688 w 1053688"/>
              <a:gd name="connsiteY1" fmla="*/ 526844 h 1053688"/>
              <a:gd name="connsiteX2" fmla="*/ 526844 w 1053688"/>
              <a:gd name="connsiteY2" fmla="*/ 1053688 h 1053688"/>
              <a:gd name="connsiteX3" fmla="*/ 0 w 1053688"/>
              <a:gd name="connsiteY3" fmla="*/ 526844 h 1053688"/>
              <a:gd name="connsiteX4" fmla="*/ 526844 w 1053688"/>
              <a:gd name="connsiteY4" fmla="*/ 0 h 1053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3688" h="1053688">
                <a:moveTo>
                  <a:pt x="526844" y="0"/>
                </a:moveTo>
                <a:cubicBezTo>
                  <a:pt x="817812" y="0"/>
                  <a:pt x="1053688" y="235876"/>
                  <a:pt x="1053688" y="526844"/>
                </a:cubicBezTo>
                <a:cubicBezTo>
                  <a:pt x="1053688" y="817812"/>
                  <a:pt x="817812" y="1053688"/>
                  <a:pt x="526844" y="1053688"/>
                </a:cubicBezTo>
                <a:cubicBezTo>
                  <a:pt x="235876" y="1053688"/>
                  <a:pt x="0" y="817812"/>
                  <a:pt x="0" y="526844"/>
                </a:cubicBezTo>
                <a:cubicBezTo>
                  <a:pt x="0" y="235876"/>
                  <a:pt x="235876" y="0"/>
                  <a:pt x="52684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B6501D6-B91F-413C-9ABF-5EFC5EE38F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455354" y="3048600"/>
            <a:ext cx="1053688" cy="1053688"/>
          </a:xfrm>
          <a:custGeom>
            <a:avLst/>
            <a:gdLst>
              <a:gd name="connsiteX0" fmla="*/ 526844 w 1053688"/>
              <a:gd name="connsiteY0" fmla="*/ 0 h 1053688"/>
              <a:gd name="connsiteX1" fmla="*/ 1053688 w 1053688"/>
              <a:gd name="connsiteY1" fmla="*/ 526844 h 1053688"/>
              <a:gd name="connsiteX2" fmla="*/ 526844 w 1053688"/>
              <a:gd name="connsiteY2" fmla="*/ 1053688 h 1053688"/>
              <a:gd name="connsiteX3" fmla="*/ 0 w 1053688"/>
              <a:gd name="connsiteY3" fmla="*/ 526844 h 1053688"/>
              <a:gd name="connsiteX4" fmla="*/ 526844 w 1053688"/>
              <a:gd name="connsiteY4" fmla="*/ 0 h 1053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3688" h="1053688">
                <a:moveTo>
                  <a:pt x="526844" y="0"/>
                </a:moveTo>
                <a:cubicBezTo>
                  <a:pt x="817812" y="0"/>
                  <a:pt x="1053688" y="235876"/>
                  <a:pt x="1053688" y="526844"/>
                </a:cubicBezTo>
                <a:cubicBezTo>
                  <a:pt x="1053688" y="817812"/>
                  <a:pt x="817812" y="1053688"/>
                  <a:pt x="526844" y="1053688"/>
                </a:cubicBezTo>
                <a:cubicBezTo>
                  <a:pt x="235876" y="1053688"/>
                  <a:pt x="0" y="817812"/>
                  <a:pt x="0" y="526844"/>
                </a:cubicBezTo>
                <a:cubicBezTo>
                  <a:pt x="0" y="235876"/>
                  <a:pt x="235876" y="0"/>
                  <a:pt x="52684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264A3971-66C2-6B49-BD1B-233B12F781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84904" y="6356350"/>
            <a:ext cx="60025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/>
              <a:t>Evoluz | São Paulo, SP - Brasil</a:t>
            </a:r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A156063D-43A7-E04E-ADAD-F105D9A0F81A}"/>
              </a:ext>
            </a:extLst>
          </p:cNvPr>
          <p:cNvSpPr txBox="1">
            <a:spLocks/>
          </p:cNvSpPr>
          <p:nvPr userDrawn="1"/>
        </p:nvSpPr>
        <p:spPr>
          <a:xfrm>
            <a:off x="11012557" y="6356350"/>
            <a:ext cx="878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solidFill>
                  <a:schemeClr val="tx2"/>
                </a:solidFill>
              </a:rPr>
              <a:t>@</a:t>
            </a:r>
            <a:r>
              <a:rPr lang="en-US" sz="1000" dirty="0" err="1">
                <a:solidFill>
                  <a:schemeClr val="tx2"/>
                </a:solidFill>
              </a:rPr>
              <a:t>evolu.z</a:t>
            </a:r>
            <a:endParaRPr lang="en-US" sz="1000" dirty="0">
              <a:solidFill>
                <a:schemeClr val="tx2"/>
              </a:solidFill>
            </a:endParaRP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A0C79868-9731-5741-8722-C1497BD4EF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8192" y="5689600"/>
            <a:ext cx="846667" cy="84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6423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50BA080-0724-4418-BE2C-21AABC10323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021942" y="1523999"/>
            <a:ext cx="2301753" cy="3810002"/>
          </a:xfrm>
          <a:custGeom>
            <a:avLst/>
            <a:gdLst>
              <a:gd name="connsiteX0" fmla="*/ 167844 w 2301753"/>
              <a:gd name="connsiteY0" fmla="*/ 0 h 3810002"/>
              <a:gd name="connsiteX1" fmla="*/ 2133909 w 2301753"/>
              <a:gd name="connsiteY1" fmla="*/ 0 h 3810002"/>
              <a:gd name="connsiteX2" fmla="*/ 2301753 w 2301753"/>
              <a:gd name="connsiteY2" fmla="*/ 167844 h 3810002"/>
              <a:gd name="connsiteX3" fmla="*/ 2301753 w 2301753"/>
              <a:gd name="connsiteY3" fmla="*/ 3642158 h 3810002"/>
              <a:gd name="connsiteX4" fmla="*/ 2133909 w 2301753"/>
              <a:gd name="connsiteY4" fmla="*/ 3810002 h 3810002"/>
              <a:gd name="connsiteX5" fmla="*/ 167844 w 2301753"/>
              <a:gd name="connsiteY5" fmla="*/ 3810002 h 3810002"/>
              <a:gd name="connsiteX6" fmla="*/ 0 w 2301753"/>
              <a:gd name="connsiteY6" fmla="*/ 3642158 h 3810002"/>
              <a:gd name="connsiteX7" fmla="*/ 0 w 2301753"/>
              <a:gd name="connsiteY7" fmla="*/ 167844 h 3810002"/>
              <a:gd name="connsiteX8" fmla="*/ 167844 w 2301753"/>
              <a:gd name="connsiteY8" fmla="*/ 0 h 3810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01753" h="3810002">
                <a:moveTo>
                  <a:pt x="167844" y="0"/>
                </a:moveTo>
                <a:lnTo>
                  <a:pt x="2133909" y="0"/>
                </a:lnTo>
                <a:cubicBezTo>
                  <a:pt x="2226607" y="0"/>
                  <a:pt x="2301753" y="75146"/>
                  <a:pt x="2301753" y="167844"/>
                </a:cubicBezTo>
                <a:lnTo>
                  <a:pt x="2301753" y="3642158"/>
                </a:lnTo>
                <a:cubicBezTo>
                  <a:pt x="2301753" y="3734856"/>
                  <a:pt x="2226607" y="3810002"/>
                  <a:pt x="2133909" y="3810002"/>
                </a:cubicBezTo>
                <a:lnTo>
                  <a:pt x="167844" y="3810002"/>
                </a:lnTo>
                <a:cubicBezTo>
                  <a:pt x="75146" y="3810002"/>
                  <a:pt x="0" y="3734856"/>
                  <a:pt x="0" y="3642158"/>
                </a:cubicBezTo>
                <a:lnTo>
                  <a:pt x="0" y="167844"/>
                </a:lnTo>
                <a:cubicBezTo>
                  <a:pt x="0" y="75146"/>
                  <a:pt x="75146" y="0"/>
                  <a:pt x="16784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E051DB5-ED84-476C-9073-9A16DE45AF2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0324932" y="1524001"/>
            <a:ext cx="1867068" cy="3810002"/>
          </a:xfrm>
          <a:custGeom>
            <a:avLst/>
            <a:gdLst>
              <a:gd name="connsiteX0" fmla="*/ 167844 w 1867068"/>
              <a:gd name="connsiteY0" fmla="*/ 0 h 3810002"/>
              <a:gd name="connsiteX1" fmla="*/ 1867068 w 1867068"/>
              <a:gd name="connsiteY1" fmla="*/ 0 h 3810002"/>
              <a:gd name="connsiteX2" fmla="*/ 1867068 w 1867068"/>
              <a:gd name="connsiteY2" fmla="*/ 3810002 h 3810002"/>
              <a:gd name="connsiteX3" fmla="*/ 167844 w 1867068"/>
              <a:gd name="connsiteY3" fmla="*/ 3810002 h 3810002"/>
              <a:gd name="connsiteX4" fmla="*/ 0 w 1867068"/>
              <a:gd name="connsiteY4" fmla="*/ 3642158 h 3810002"/>
              <a:gd name="connsiteX5" fmla="*/ 0 w 1867068"/>
              <a:gd name="connsiteY5" fmla="*/ 167844 h 3810002"/>
              <a:gd name="connsiteX6" fmla="*/ 167844 w 1867068"/>
              <a:gd name="connsiteY6" fmla="*/ 0 h 3810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67068" h="3810002">
                <a:moveTo>
                  <a:pt x="167844" y="0"/>
                </a:moveTo>
                <a:lnTo>
                  <a:pt x="1867068" y="0"/>
                </a:lnTo>
                <a:lnTo>
                  <a:pt x="1867068" y="3810002"/>
                </a:lnTo>
                <a:lnTo>
                  <a:pt x="167844" y="3810002"/>
                </a:lnTo>
                <a:cubicBezTo>
                  <a:pt x="75146" y="3810002"/>
                  <a:pt x="0" y="3734856"/>
                  <a:pt x="0" y="3642158"/>
                </a:cubicBezTo>
                <a:lnTo>
                  <a:pt x="0" y="167844"/>
                </a:lnTo>
                <a:cubicBezTo>
                  <a:pt x="0" y="75146"/>
                  <a:pt x="75146" y="0"/>
                  <a:pt x="16784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8874A00-B85C-410F-B329-DB37E7190F2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73437" y="1523999"/>
            <a:ext cx="2301753" cy="3810002"/>
          </a:xfrm>
          <a:custGeom>
            <a:avLst/>
            <a:gdLst>
              <a:gd name="connsiteX0" fmla="*/ 167844 w 2301753"/>
              <a:gd name="connsiteY0" fmla="*/ 0 h 3810002"/>
              <a:gd name="connsiteX1" fmla="*/ 2133909 w 2301753"/>
              <a:gd name="connsiteY1" fmla="*/ 0 h 3810002"/>
              <a:gd name="connsiteX2" fmla="*/ 2301753 w 2301753"/>
              <a:gd name="connsiteY2" fmla="*/ 167844 h 3810002"/>
              <a:gd name="connsiteX3" fmla="*/ 2301753 w 2301753"/>
              <a:gd name="connsiteY3" fmla="*/ 3642158 h 3810002"/>
              <a:gd name="connsiteX4" fmla="*/ 2133909 w 2301753"/>
              <a:gd name="connsiteY4" fmla="*/ 3810002 h 3810002"/>
              <a:gd name="connsiteX5" fmla="*/ 167844 w 2301753"/>
              <a:gd name="connsiteY5" fmla="*/ 3810002 h 3810002"/>
              <a:gd name="connsiteX6" fmla="*/ 0 w 2301753"/>
              <a:gd name="connsiteY6" fmla="*/ 3642158 h 3810002"/>
              <a:gd name="connsiteX7" fmla="*/ 0 w 2301753"/>
              <a:gd name="connsiteY7" fmla="*/ 167844 h 3810002"/>
              <a:gd name="connsiteX8" fmla="*/ 167844 w 2301753"/>
              <a:gd name="connsiteY8" fmla="*/ 0 h 3810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01753" h="3810002">
                <a:moveTo>
                  <a:pt x="167844" y="0"/>
                </a:moveTo>
                <a:lnTo>
                  <a:pt x="2133909" y="0"/>
                </a:lnTo>
                <a:cubicBezTo>
                  <a:pt x="2226607" y="0"/>
                  <a:pt x="2301753" y="75146"/>
                  <a:pt x="2301753" y="167844"/>
                </a:cubicBezTo>
                <a:lnTo>
                  <a:pt x="2301753" y="3642158"/>
                </a:lnTo>
                <a:cubicBezTo>
                  <a:pt x="2301753" y="3734856"/>
                  <a:pt x="2226607" y="3810002"/>
                  <a:pt x="2133909" y="3810002"/>
                </a:cubicBezTo>
                <a:lnTo>
                  <a:pt x="167844" y="3810002"/>
                </a:lnTo>
                <a:cubicBezTo>
                  <a:pt x="75146" y="3810002"/>
                  <a:pt x="0" y="3734856"/>
                  <a:pt x="0" y="3642158"/>
                </a:cubicBezTo>
                <a:lnTo>
                  <a:pt x="0" y="167844"/>
                </a:lnTo>
                <a:cubicBezTo>
                  <a:pt x="0" y="75146"/>
                  <a:pt x="75146" y="0"/>
                  <a:pt x="16784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52CC95-0FB9-4547-8E04-8A479A266F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84904" y="6356350"/>
            <a:ext cx="60025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/>
              <a:t>Evoluz | São Paulo, SP - Brasil</a:t>
            </a:r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9D6AEA9-1B7D-E24D-BDEB-4D595ECD2491}"/>
              </a:ext>
            </a:extLst>
          </p:cNvPr>
          <p:cNvSpPr txBox="1">
            <a:spLocks/>
          </p:cNvSpPr>
          <p:nvPr userDrawn="1"/>
        </p:nvSpPr>
        <p:spPr>
          <a:xfrm>
            <a:off x="11012557" y="6356350"/>
            <a:ext cx="878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solidFill>
                  <a:schemeClr val="tx2"/>
                </a:solidFill>
              </a:rPr>
              <a:t>@</a:t>
            </a:r>
            <a:r>
              <a:rPr lang="en-US" sz="1000" dirty="0" err="1">
                <a:solidFill>
                  <a:schemeClr val="tx2"/>
                </a:solidFill>
              </a:rPr>
              <a:t>evolu.z</a:t>
            </a:r>
            <a:endParaRPr lang="en-US" sz="1000" dirty="0">
              <a:solidFill>
                <a:schemeClr val="tx2"/>
              </a:solidFill>
            </a:endParaRPr>
          </a:p>
        </p:txBody>
      </p:sp>
      <p:pic>
        <p:nvPicPr>
          <p:cNvPr id="12" name="Imagem 11">
            <a:extLst>
              <a:ext uri="{FF2B5EF4-FFF2-40B4-BE49-F238E27FC236}">
                <a16:creationId xmlns:a16="http://schemas.microsoft.com/office/drawing/2014/main" id="{8635EB4B-6EF6-384F-B9F7-633DD17F02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8192" y="5689600"/>
            <a:ext cx="846667" cy="84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796906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DB7E656-8236-4D0B-9482-B036C8CD2F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465137" y="1909730"/>
            <a:ext cx="3366188" cy="3311158"/>
          </a:xfrm>
          <a:custGeom>
            <a:avLst/>
            <a:gdLst>
              <a:gd name="connsiteX0" fmla="*/ 241450 w 3366188"/>
              <a:gd name="connsiteY0" fmla="*/ 0 h 3311158"/>
              <a:gd name="connsiteX1" fmla="*/ 3124738 w 3366188"/>
              <a:gd name="connsiteY1" fmla="*/ 0 h 3311158"/>
              <a:gd name="connsiteX2" fmla="*/ 3366188 w 3366188"/>
              <a:gd name="connsiteY2" fmla="*/ 241450 h 3311158"/>
              <a:gd name="connsiteX3" fmla="*/ 3366188 w 3366188"/>
              <a:gd name="connsiteY3" fmla="*/ 3069708 h 3311158"/>
              <a:gd name="connsiteX4" fmla="*/ 3124738 w 3366188"/>
              <a:gd name="connsiteY4" fmla="*/ 3311158 h 3311158"/>
              <a:gd name="connsiteX5" fmla="*/ 241450 w 3366188"/>
              <a:gd name="connsiteY5" fmla="*/ 3311158 h 3311158"/>
              <a:gd name="connsiteX6" fmla="*/ 0 w 3366188"/>
              <a:gd name="connsiteY6" fmla="*/ 3069708 h 3311158"/>
              <a:gd name="connsiteX7" fmla="*/ 0 w 3366188"/>
              <a:gd name="connsiteY7" fmla="*/ 241450 h 3311158"/>
              <a:gd name="connsiteX8" fmla="*/ 241450 w 3366188"/>
              <a:gd name="connsiteY8" fmla="*/ 0 h 33111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6188" h="3311158">
                <a:moveTo>
                  <a:pt x="241450" y="0"/>
                </a:moveTo>
                <a:lnTo>
                  <a:pt x="3124738" y="0"/>
                </a:lnTo>
                <a:cubicBezTo>
                  <a:pt x="3258087" y="0"/>
                  <a:pt x="3366188" y="108101"/>
                  <a:pt x="3366188" y="241450"/>
                </a:cubicBezTo>
                <a:lnTo>
                  <a:pt x="3366188" y="3069708"/>
                </a:lnTo>
                <a:cubicBezTo>
                  <a:pt x="3366188" y="3203057"/>
                  <a:pt x="3258087" y="3311158"/>
                  <a:pt x="3124738" y="3311158"/>
                </a:cubicBezTo>
                <a:lnTo>
                  <a:pt x="241450" y="3311158"/>
                </a:lnTo>
                <a:cubicBezTo>
                  <a:pt x="108101" y="3311158"/>
                  <a:pt x="0" y="3203057"/>
                  <a:pt x="0" y="3069708"/>
                </a:cubicBezTo>
                <a:lnTo>
                  <a:pt x="0" y="241450"/>
                </a:lnTo>
                <a:cubicBezTo>
                  <a:pt x="0" y="108101"/>
                  <a:pt x="108101" y="0"/>
                  <a:pt x="24145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9CDD55F5-DAB2-4A33-BAD9-7BD8E1E14BE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" y="581954"/>
            <a:ext cx="4896465" cy="2043132"/>
          </a:xfrm>
          <a:custGeom>
            <a:avLst/>
            <a:gdLst>
              <a:gd name="connsiteX0" fmla="*/ 0 w 4896465"/>
              <a:gd name="connsiteY0" fmla="*/ 0 h 2043132"/>
              <a:gd name="connsiteX1" fmla="*/ 4747480 w 4896465"/>
              <a:gd name="connsiteY1" fmla="*/ 0 h 2043132"/>
              <a:gd name="connsiteX2" fmla="*/ 4896465 w 4896465"/>
              <a:gd name="connsiteY2" fmla="*/ 148985 h 2043132"/>
              <a:gd name="connsiteX3" fmla="*/ 4896465 w 4896465"/>
              <a:gd name="connsiteY3" fmla="*/ 1894147 h 2043132"/>
              <a:gd name="connsiteX4" fmla="*/ 4747480 w 4896465"/>
              <a:gd name="connsiteY4" fmla="*/ 2043132 h 2043132"/>
              <a:gd name="connsiteX5" fmla="*/ 0 w 4896465"/>
              <a:gd name="connsiteY5" fmla="*/ 2043132 h 2043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96465" h="2043132">
                <a:moveTo>
                  <a:pt x="0" y="0"/>
                </a:moveTo>
                <a:lnTo>
                  <a:pt x="4747480" y="0"/>
                </a:lnTo>
                <a:cubicBezTo>
                  <a:pt x="4829762" y="0"/>
                  <a:pt x="4896465" y="66703"/>
                  <a:pt x="4896465" y="148985"/>
                </a:cubicBezTo>
                <a:lnTo>
                  <a:pt x="4896465" y="1894147"/>
                </a:lnTo>
                <a:cubicBezTo>
                  <a:pt x="4896465" y="1976429"/>
                  <a:pt x="4829762" y="2043132"/>
                  <a:pt x="4747480" y="2043132"/>
                </a:cubicBezTo>
                <a:lnTo>
                  <a:pt x="0" y="204313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232E9A9F-5754-4277-91FF-917E587E2DA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72052" y="888164"/>
            <a:ext cx="3519948" cy="2533462"/>
          </a:xfrm>
          <a:custGeom>
            <a:avLst/>
            <a:gdLst>
              <a:gd name="connsiteX0" fmla="*/ 184740 w 3519948"/>
              <a:gd name="connsiteY0" fmla="*/ 0 h 2533462"/>
              <a:gd name="connsiteX1" fmla="*/ 3519948 w 3519948"/>
              <a:gd name="connsiteY1" fmla="*/ 0 h 2533462"/>
              <a:gd name="connsiteX2" fmla="*/ 3519948 w 3519948"/>
              <a:gd name="connsiteY2" fmla="*/ 2533462 h 2533462"/>
              <a:gd name="connsiteX3" fmla="*/ 184740 w 3519948"/>
              <a:gd name="connsiteY3" fmla="*/ 2533462 h 2533462"/>
              <a:gd name="connsiteX4" fmla="*/ 0 w 3519948"/>
              <a:gd name="connsiteY4" fmla="*/ 2348722 h 2533462"/>
              <a:gd name="connsiteX5" fmla="*/ 0 w 3519948"/>
              <a:gd name="connsiteY5" fmla="*/ 184740 h 2533462"/>
              <a:gd name="connsiteX6" fmla="*/ 184740 w 3519948"/>
              <a:gd name="connsiteY6" fmla="*/ 0 h 2533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19948" h="2533462">
                <a:moveTo>
                  <a:pt x="184740" y="0"/>
                </a:moveTo>
                <a:lnTo>
                  <a:pt x="3519948" y="0"/>
                </a:lnTo>
                <a:lnTo>
                  <a:pt x="3519948" y="2533462"/>
                </a:lnTo>
                <a:lnTo>
                  <a:pt x="184740" y="2533462"/>
                </a:lnTo>
                <a:cubicBezTo>
                  <a:pt x="82711" y="2533462"/>
                  <a:pt x="0" y="2450751"/>
                  <a:pt x="0" y="2348722"/>
                </a:cubicBezTo>
                <a:lnTo>
                  <a:pt x="0" y="184740"/>
                </a:lnTo>
                <a:cubicBezTo>
                  <a:pt x="0" y="82711"/>
                  <a:pt x="82711" y="0"/>
                  <a:pt x="18474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14BE03-EFB5-A144-8234-2B1745E7AA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84904" y="6356350"/>
            <a:ext cx="60025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/>
              <a:t>Evoluz | São Paulo, SP - Brasil</a:t>
            </a:r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2317A5AC-DF06-6447-A6CD-26A16962E802}"/>
              </a:ext>
            </a:extLst>
          </p:cNvPr>
          <p:cNvSpPr txBox="1">
            <a:spLocks/>
          </p:cNvSpPr>
          <p:nvPr userDrawn="1"/>
        </p:nvSpPr>
        <p:spPr>
          <a:xfrm>
            <a:off x="11012557" y="6356350"/>
            <a:ext cx="878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solidFill>
                  <a:schemeClr val="tx2"/>
                </a:solidFill>
              </a:rPr>
              <a:t>@</a:t>
            </a:r>
            <a:r>
              <a:rPr lang="en-US" sz="1000" dirty="0" err="1">
                <a:solidFill>
                  <a:schemeClr val="tx2"/>
                </a:solidFill>
              </a:rPr>
              <a:t>evolu.z</a:t>
            </a:r>
            <a:endParaRPr lang="en-US" sz="1000" dirty="0">
              <a:solidFill>
                <a:schemeClr val="tx2"/>
              </a:solidFill>
            </a:endParaRP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1B140755-EA1E-784A-9DD6-E36FE766ED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8192" y="5689600"/>
            <a:ext cx="846667" cy="84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337340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6D35DCB-0A73-4D17-9D04-A933561EF1C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981075"/>
            <a:ext cx="4705350" cy="4267200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EBBB9758-58A9-E54E-97C2-A6B538D6D8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84904" y="6356350"/>
            <a:ext cx="60025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/>
              <a:t>Evoluz | São Paulo, SP - Brasil</a:t>
            </a:r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9662F5DD-DA4F-8E43-87C9-BB29AB9762AD}"/>
              </a:ext>
            </a:extLst>
          </p:cNvPr>
          <p:cNvSpPr txBox="1">
            <a:spLocks/>
          </p:cNvSpPr>
          <p:nvPr userDrawn="1"/>
        </p:nvSpPr>
        <p:spPr>
          <a:xfrm>
            <a:off x="11012557" y="6356350"/>
            <a:ext cx="878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solidFill>
                  <a:schemeClr val="tx2"/>
                </a:solidFill>
              </a:rPr>
              <a:t>@</a:t>
            </a:r>
            <a:r>
              <a:rPr lang="en-US" sz="1000" dirty="0" err="1">
                <a:solidFill>
                  <a:schemeClr val="tx2"/>
                </a:solidFill>
              </a:rPr>
              <a:t>evolu.z</a:t>
            </a:r>
            <a:endParaRPr lang="en-US" sz="1000" dirty="0">
              <a:solidFill>
                <a:schemeClr val="tx2"/>
              </a:solidFill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FB1F5BBB-BB3A-AD4D-B178-C62B1886EE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8192" y="5689600"/>
            <a:ext cx="846667" cy="84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688137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893AF62-13DD-459E-92B0-8E31FBCCFAF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963340" y="694883"/>
            <a:ext cx="2505823" cy="5397573"/>
          </a:xfrm>
          <a:custGeom>
            <a:avLst/>
            <a:gdLst>
              <a:gd name="connsiteX0" fmla="*/ 336106 w 2505823"/>
              <a:gd name="connsiteY0" fmla="*/ 0 h 5397573"/>
              <a:gd name="connsiteX1" fmla="*/ 2169717 w 2505823"/>
              <a:gd name="connsiteY1" fmla="*/ 0 h 5397573"/>
              <a:gd name="connsiteX2" fmla="*/ 2505823 w 2505823"/>
              <a:gd name="connsiteY2" fmla="*/ 336106 h 5397573"/>
              <a:gd name="connsiteX3" fmla="*/ 2505823 w 2505823"/>
              <a:gd name="connsiteY3" fmla="*/ 5061467 h 5397573"/>
              <a:gd name="connsiteX4" fmla="*/ 2169717 w 2505823"/>
              <a:gd name="connsiteY4" fmla="*/ 5397573 h 5397573"/>
              <a:gd name="connsiteX5" fmla="*/ 336106 w 2505823"/>
              <a:gd name="connsiteY5" fmla="*/ 5397573 h 5397573"/>
              <a:gd name="connsiteX6" fmla="*/ 0 w 2505823"/>
              <a:gd name="connsiteY6" fmla="*/ 5061467 h 5397573"/>
              <a:gd name="connsiteX7" fmla="*/ 0 w 2505823"/>
              <a:gd name="connsiteY7" fmla="*/ 336106 h 5397573"/>
              <a:gd name="connsiteX8" fmla="*/ 336106 w 2505823"/>
              <a:gd name="connsiteY8" fmla="*/ 0 h 5397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05823" h="5397573">
                <a:moveTo>
                  <a:pt x="336106" y="0"/>
                </a:moveTo>
                <a:lnTo>
                  <a:pt x="2169717" y="0"/>
                </a:lnTo>
                <a:cubicBezTo>
                  <a:pt x="2355343" y="0"/>
                  <a:pt x="2505823" y="150480"/>
                  <a:pt x="2505823" y="336106"/>
                </a:cubicBezTo>
                <a:lnTo>
                  <a:pt x="2505823" y="5061467"/>
                </a:lnTo>
                <a:cubicBezTo>
                  <a:pt x="2505823" y="5247093"/>
                  <a:pt x="2355343" y="5397573"/>
                  <a:pt x="2169717" y="5397573"/>
                </a:cubicBezTo>
                <a:lnTo>
                  <a:pt x="336106" y="5397573"/>
                </a:lnTo>
                <a:cubicBezTo>
                  <a:pt x="150480" y="5397573"/>
                  <a:pt x="0" y="5247093"/>
                  <a:pt x="0" y="5061467"/>
                </a:cubicBezTo>
                <a:lnTo>
                  <a:pt x="0" y="336106"/>
                </a:lnTo>
                <a:cubicBezTo>
                  <a:pt x="0" y="150480"/>
                  <a:pt x="150480" y="0"/>
                  <a:pt x="336106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FC85B5C-7BD3-EE4F-9FA5-CE6727D850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84904" y="6356350"/>
            <a:ext cx="60025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/>
              <a:t>Evoluz | São Paulo, SP - Brasil</a:t>
            </a:r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3C1E3D0F-B3DB-464D-928B-F30AAC0EE87C}"/>
              </a:ext>
            </a:extLst>
          </p:cNvPr>
          <p:cNvSpPr txBox="1">
            <a:spLocks/>
          </p:cNvSpPr>
          <p:nvPr userDrawn="1"/>
        </p:nvSpPr>
        <p:spPr>
          <a:xfrm>
            <a:off x="11012557" y="6356350"/>
            <a:ext cx="878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solidFill>
                  <a:schemeClr val="tx2"/>
                </a:solidFill>
              </a:rPr>
              <a:t>@</a:t>
            </a:r>
            <a:r>
              <a:rPr lang="en-US" sz="1000" dirty="0" err="1">
                <a:solidFill>
                  <a:schemeClr val="tx2"/>
                </a:solidFill>
              </a:rPr>
              <a:t>evolu.z</a:t>
            </a:r>
            <a:endParaRPr lang="en-US" sz="1000" dirty="0">
              <a:solidFill>
                <a:schemeClr val="tx2"/>
              </a:solidFill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F0548343-D32E-0543-8DEA-64B1FA39AB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8192" y="5689600"/>
            <a:ext cx="846667" cy="84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93184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5E502BF-5313-457E-9542-DA7ECB60D47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59045" y="2128885"/>
            <a:ext cx="2271962" cy="4729117"/>
          </a:xfrm>
          <a:custGeom>
            <a:avLst/>
            <a:gdLst>
              <a:gd name="connsiteX0" fmla="*/ 304738 w 2271962"/>
              <a:gd name="connsiteY0" fmla="*/ 0 h 4729117"/>
              <a:gd name="connsiteX1" fmla="*/ 1967224 w 2271962"/>
              <a:gd name="connsiteY1" fmla="*/ 0 h 4729117"/>
              <a:gd name="connsiteX2" fmla="*/ 2271962 w 2271962"/>
              <a:gd name="connsiteY2" fmla="*/ 304738 h 4729117"/>
              <a:gd name="connsiteX3" fmla="*/ 2271962 w 2271962"/>
              <a:gd name="connsiteY3" fmla="*/ 4589096 h 4729117"/>
              <a:gd name="connsiteX4" fmla="*/ 2248014 w 2271962"/>
              <a:gd name="connsiteY4" fmla="*/ 4707714 h 4729117"/>
              <a:gd name="connsiteX5" fmla="*/ 2236397 w 2271962"/>
              <a:gd name="connsiteY5" fmla="*/ 4729117 h 4729117"/>
              <a:gd name="connsiteX6" fmla="*/ 35565 w 2271962"/>
              <a:gd name="connsiteY6" fmla="*/ 4729117 h 4729117"/>
              <a:gd name="connsiteX7" fmla="*/ 23948 w 2271962"/>
              <a:gd name="connsiteY7" fmla="*/ 4707714 h 4729117"/>
              <a:gd name="connsiteX8" fmla="*/ 0 w 2271962"/>
              <a:gd name="connsiteY8" fmla="*/ 4589096 h 4729117"/>
              <a:gd name="connsiteX9" fmla="*/ 0 w 2271962"/>
              <a:gd name="connsiteY9" fmla="*/ 304738 h 4729117"/>
              <a:gd name="connsiteX10" fmla="*/ 304738 w 2271962"/>
              <a:gd name="connsiteY10" fmla="*/ 0 h 4729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71962" h="4729117">
                <a:moveTo>
                  <a:pt x="304738" y="0"/>
                </a:moveTo>
                <a:lnTo>
                  <a:pt x="1967224" y="0"/>
                </a:lnTo>
                <a:cubicBezTo>
                  <a:pt x="2135526" y="0"/>
                  <a:pt x="2271962" y="136436"/>
                  <a:pt x="2271962" y="304738"/>
                </a:cubicBezTo>
                <a:lnTo>
                  <a:pt x="2271962" y="4589096"/>
                </a:lnTo>
                <a:cubicBezTo>
                  <a:pt x="2271962" y="4631172"/>
                  <a:pt x="2263435" y="4671256"/>
                  <a:pt x="2248014" y="4707714"/>
                </a:cubicBezTo>
                <a:lnTo>
                  <a:pt x="2236397" y="4729117"/>
                </a:lnTo>
                <a:lnTo>
                  <a:pt x="35565" y="4729117"/>
                </a:lnTo>
                <a:lnTo>
                  <a:pt x="23948" y="4707714"/>
                </a:lnTo>
                <a:cubicBezTo>
                  <a:pt x="8527" y="4671256"/>
                  <a:pt x="0" y="4631172"/>
                  <a:pt x="0" y="4589096"/>
                </a:cubicBezTo>
                <a:lnTo>
                  <a:pt x="0" y="304738"/>
                </a:lnTo>
                <a:cubicBezTo>
                  <a:pt x="0" y="136436"/>
                  <a:pt x="136436" y="0"/>
                  <a:pt x="30473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D27A0B4F-E36E-4377-BEF7-1C130704FE5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206503" y="2"/>
            <a:ext cx="3157055" cy="4953915"/>
          </a:xfrm>
          <a:custGeom>
            <a:avLst/>
            <a:gdLst>
              <a:gd name="connsiteX0" fmla="*/ 0 w 3157055"/>
              <a:gd name="connsiteY0" fmla="*/ 0 h 4953915"/>
              <a:gd name="connsiteX1" fmla="*/ 3157055 w 3157055"/>
              <a:gd name="connsiteY1" fmla="*/ 0 h 4953915"/>
              <a:gd name="connsiteX2" fmla="*/ 3157055 w 3157055"/>
              <a:gd name="connsiteY2" fmla="*/ 4530459 h 4953915"/>
              <a:gd name="connsiteX3" fmla="*/ 2733599 w 3157055"/>
              <a:gd name="connsiteY3" fmla="*/ 4953915 h 4953915"/>
              <a:gd name="connsiteX4" fmla="*/ 423456 w 3157055"/>
              <a:gd name="connsiteY4" fmla="*/ 4953915 h 4953915"/>
              <a:gd name="connsiteX5" fmla="*/ 0 w 3157055"/>
              <a:gd name="connsiteY5" fmla="*/ 4530459 h 4953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57055" h="4953915">
                <a:moveTo>
                  <a:pt x="0" y="0"/>
                </a:moveTo>
                <a:lnTo>
                  <a:pt x="3157055" y="0"/>
                </a:lnTo>
                <a:lnTo>
                  <a:pt x="3157055" y="4530459"/>
                </a:lnTo>
                <a:cubicBezTo>
                  <a:pt x="3157055" y="4764327"/>
                  <a:pt x="2967467" y="4953915"/>
                  <a:pt x="2733599" y="4953915"/>
                </a:cubicBezTo>
                <a:lnTo>
                  <a:pt x="423456" y="4953915"/>
                </a:lnTo>
                <a:cubicBezTo>
                  <a:pt x="189588" y="4953915"/>
                  <a:pt x="0" y="4764327"/>
                  <a:pt x="0" y="4530459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EBA20CFB-4747-41C7-AE14-F76E45E3F8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93201" y="4292641"/>
            <a:ext cx="1053688" cy="1053688"/>
          </a:xfrm>
          <a:custGeom>
            <a:avLst/>
            <a:gdLst>
              <a:gd name="connsiteX0" fmla="*/ 526844 w 1053688"/>
              <a:gd name="connsiteY0" fmla="*/ 0 h 1053688"/>
              <a:gd name="connsiteX1" fmla="*/ 1053688 w 1053688"/>
              <a:gd name="connsiteY1" fmla="*/ 526844 h 1053688"/>
              <a:gd name="connsiteX2" fmla="*/ 526844 w 1053688"/>
              <a:gd name="connsiteY2" fmla="*/ 1053688 h 1053688"/>
              <a:gd name="connsiteX3" fmla="*/ 0 w 1053688"/>
              <a:gd name="connsiteY3" fmla="*/ 526844 h 1053688"/>
              <a:gd name="connsiteX4" fmla="*/ 526844 w 1053688"/>
              <a:gd name="connsiteY4" fmla="*/ 0 h 1053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3688" h="1053688">
                <a:moveTo>
                  <a:pt x="526844" y="0"/>
                </a:moveTo>
                <a:cubicBezTo>
                  <a:pt x="817812" y="0"/>
                  <a:pt x="1053688" y="235876"/>
                  <a:pt x="1053688" y="526844"/>
                </a:cubicBezTo>
                <a:cubicBezTo>
                  <a:pt x="1053688" y="817812"/>
                  <a:pt x="817812" y="1053688"/>
                  <a:pt x="526844" y="1053688"/>
                </a:cubicBezTo>
                <a:cubicBezTo>
                  <a:pt x="235876" y="1053688"/>
                  <a:pt x="0" y="817812"/>
                  <a:pt x="0" y="526844"/>
                </a:cubicBezTo>
                <a:cubicBezTo>
                  <a:pt x="0" y="235876"/>
                  <a:pt x="235876" y="0"/>
                  <a:pt x="52684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4C344D2-A732-4508-BABF-D7F2F195C95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58438" y="4292641"/>
            <a:ext cx="1053688" cy="1053688"/>
          </a:xfrm>
          <a:custGeom>
            <a:avLst/>
            <a:gdLst>
              <a:gd name="connsiteX0" fmla="*/ 526844 w 1053688"/>
              <a:gd name="connsiteY0" fmla="*/ 0 h 1053688"/>
              <a:gd name="connsiteX1" fmla="*/ 1053688 w 1053688"/>
              <a:gd name="connsiteY1" fmla="*/ 526844 h 1053688"/>
              <a:gd name="connsiteX2" fmla="*/ 526844 w 1053688"/>
              <a:gd name="connsiteY2" fmla="*/ 1053688 h 1053688"/>
              <a:gd name="connsiteX3" fmla="*/ 0 w 1053688"/>
              <a:gd name="connsiteY3" fmla="*/ 526844 h 1053688"/>
              <a:gd name="connsiteX4" fmla="*/ 526844 w 1053688"/>
              <a:gd name="connsiteY4" fmla="*/ 0 h 1053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3688" h="1053688">
                <a:moveTo>
                  <a:pt x="526844" y="0"/>
                </a:moveTo>
                <a:cubicBezTo>
                  <a:pt x="817812" y="0"/>
                  <a:pt x="1053688" y="235876"/>
                  <a:pt x="1053688" y="526844"/>
                </a:cubicBezTo>
                <a:cubicBezTo>
                  <a:pt x="1053688" y="817812"/>
                  <a:pt x="817812" y="1053688"/>
                  <a:pt x="526844" y="1053688"/>
                </a:cubicBezTo>
                <a:cubicBezTo>
                  <a:pt x="235876" y="1053688"/>
                  <a:pt x="0" y="817812"/>
                  <a:pt x="0" y="526844"/>
                </a:cubicBezTo>
                <a:cubicBezTo>
                  <a:pt x="0" y="235876"/>
                  <a:pt x="235876" y="0"/>
                  <a:pt x="52684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F0C4DA01-04D1-9D49-9ED7-3E19E89FCA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84904" y="6356350"/>
            <a:ext cx="60025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/>
              <a:t>Evoluz | São Paulo, SP - Brasil</a:t>
            </a:r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637BCF3-A6BB-6047-8EBA-C78C48BA50AF}"/>
              </a:ext>
            </a:extLst>
          </p:cNvPr>
          <p:cNvSpPr txBox="1">
            <a:spLocks/>
          </p:cNvSpPr>
          <p:nvPr userDrawn="1"/>
        </p:nvSpPr>
        <p:spPr>
          <a:xfrm>
            <a:off x="11012557" y="6356350"/>
            <a:ext cx="878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solidFill>
                  <a:schemeClr val="tx2"/>
                </a:solidFill>
              </a:rPr>
              <a:t>@</a:t>
            </a:r>
            <a:r>
              <a:rPr lang="en-US" sz="1000" dirty="0" err="1">
                <a:solidFill>
                  <a:schemeClr val="tx2"/>
                </a:solidFill>
              </a:rPr>
              <a:t>evolu.z</a:t>
            </a:r>
            <a:endParaRPr lang="en-US" sz="1000" dirty="0">
              <a:solidFill>
                <a:schemeClr val="tx2"/>
              </a:solidFill>
            </a:endParaRPr>
          </a:p>
        </p:txBody>
      </p:sp>
      <p:pic>
        <p:nvPicPr>
          <p:cNvPr id="11" name="Imagem 10">
            <a:extLst>
              <a:ext uri="{FF2B5EF4-FFF2-40B4-BE49-F238E27FC236}">
                <a16:creationId xmlns:a16="http://schemas.microsoft.com/office/drawing/2014/main" id="{1D58DD79-77E8-B445-9C23-EC463C8DAD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8192" y="5689600"/>
            <a:ext cx="846667" cy="84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139309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EAC2B28-292F-4A52-B28D-58F80D9CFCC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31280" y="1082040"/>
            <a:ext cx="4297680" cy="2887980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05BD59F-6105-4FA9-B893-538891F3D3B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2612" y="1339072"/>
            <a:ext cx="3579859" cy="4067529"/>
          </a:xfrm>
          <a:custGeom>
            <a:avLst/>
            <a:gdLst>
              <a:gd name="connsiteX0" fmla="*/ 0 w 4297680"/>
              <a:gd name="connsiteY0" fmla="*/ 0 h 2583180"/>
              <a:gd name="connsiteX1" fmla="*/ 4297680 w 4297680"/>
              <a:gd name="connsiteY1" fmla="*/ 0 h 2583180"/>
              <a:gd name="connsiteX2" fmla="*/ 4297680 w 4297680"/>
              <a:gd name="connsiteY2" fmla="*/ 2583180 h 2583180"/>
              <a:gd name="connsiteX3" fmla="*/ 0 w 4297680"/>
              <a:gd name="connsiteY3" fmla="*/ 2583180 h 2583180"/>
              <a:gd name="connsiteX4" fmla="*/ 0 w 4297680"/>
              <a:gd name="connsiteY4" fmla="*/ 0 h 2583180"/>
              <a:gd name="connsiteX0" fmla="*/ 0 w 4297680"/>
              <a:gd name="connsiteY0" fmla="*/ 0 h 3970020"/>
              <a:gd name="connsiteX1" fmla="*/ 4297680 w 4297680"/>
              <a:gd name="connsiteY1" fmla="*/ 0 h 3970020"/>
              <a:gd name="connsiteX2" fmla="*/ 1882140 w 4297680"/>
              <a:gd name="connsiteY2" fmla="*/ 3970020 h 3970020"/>
              <a:gd name="connsiteX3" fmla="*/ 0 w 4297680"/>
              <a:gd name="connsiteY3" fmla="*/ 2583180 h 3970020"/>
              <a:gd name="connsiteX4" fmla="*/ 0 w 4297680"/>
              <a:gd name="connsiteY4" fmla="*/ 0 h 3970020"/>
              <a:gd name="connsiteX0" fmla="*/ 0 w 3429000"/>
              <a:gd name="connsiteY0" fmla="*/ 0 h 3970020"/>
              <a:gd name="connsiteX1" fmla="*/ 3429000 w 3429000"/>
              <a:gd name="connsiteY1" fmla="*/ 2293620 h 3970020"/>
              <a:gd name="connsiteX2" fmla="*/ 1882140 w 3429000"/>
              <a:gd name="connsiteY2" fmla="*/ 3970020 h 3970020"/>
              <a:gd name="connsiteX3" fmla="*/ 0 w 3429000"/>
              <a:gd name="connsiteY3" fmla="*/ 2583180 h 3970020"/>
              <a:gd name="connsiteX4" fmla="*/ 0 w 3429000"/>
              <a:gd name="connsiteY4" fmla="*/ 0 h 3970020"/>
              <a:gd name="connsiteX0" fmla="*/ 0 w 3429000"/>
              <a:gd name="connsiteY0" fmla="*/ 0 h 3934301"/>
              <a:gd name="connsiteX1" fmla="*/ 3429000 w 3429000"/>
              <a:gd name="connsiteY1" fmla="*/ 2293620 h 3934301"/>
              <a:gd name="connsiteX2" fmla="*/ 1882140 w 3429000"/>
              <a:gd name="connsiteY2" fmla="*/ 3934301 h 3934301"/>
              <a:gd name="connsiteX3" fmla="*/ 0 w 3429000"/>
              <a:gd name="connsiteY3" fmla="*/ 2583180 h 3934301"/>
              <a:gd name="connsiteX4" fmla="*/ 0 w 3429000"/>
              <a:gd name="connsiteY4" fmla="*/ 0 h 3934301"/>
              <a:gd name="connsiteX0" fmla="*/ 0 w 3429000"/>
              <a:gd name="connsiteY0" fmla="*/ 0 h 3934301"/>
              <a:gd name="connsiteX1" fmla="*/ 3429000 w 3429000"/>
              <a:gd name="connsiteY1" fmla="*/ 2293620 h 3934301"/>
              <a:gd name="connsiteX2" fmla="*/ 2200275 w 3429000"/>
              <a:gd name="connsiteY2" fmla="*/ 3597117 h 3934301"/>
              <a:gd name="connsiteX3" fmla="*/ 1882140 w 3429000"/>
              <a:gd name="connsiteY3" fmla="*/ 3934301 h 3934301"/>
              <a:gd name="connsiteX4" fmla="*/ 0 w 3429000"/>
              <a:gd name="connsiteY4" fmla="*/ 2583180 h 3934301"/>
              <a:gd name="connsiteX5" fmla="*/ 0 w 3429000"/>
              <a:gd name="connsiteY5" fmla="*/ 0 h 3934301"/>
              <a:gd name="connsiteX0" fmla="*/ 0 w 3429000"/>
              <a:gd name="connsiteY0" fmla="*/ 0 h 3934301"/>
              <a:gd name="connsiteX1" fmla="*/ 3429000 w 3429000"/>
              <a:gd name="connsiteY1" fmla="*/ 2293620 h 3934301"/>
              <a:gd name="connsiteX2" fmla="*/ 2431256 w 3429000"/>
              <a:gd name="connsiteY2" fmla="*/ 3854292 h 3934301"/>
              <a:gd name="connsiteX3" fmla="*/ 1882140 w 3429000"/>
              <a:gd name="connsiteY3" fmla="*/ 3934301 h 3934301"/>
              <a:gd name="connsiteX4" fmla="*/ 0 w 3429000"/>
              <a:gd name="connsiteY4" fmla="*/ 2583180 h 3934301"/>
              <a:gd name="connsiteX5" fmla="*/ 0 w 3429000"/>
              <a:gd name="connsiteY5" fmla="*/ 0 h 3934301"/>
              <a:gd name="connsiteX0" fmla="*/ 0 w 3429000"/>
              <a:gd name="connsiteY0" fmla="*/ 0 h 3957561"/>
              <a:gd name="connsiteX1" fmla="*/ 3429000 w 3429000"/>
              <a:gd name="connsiteY1" fmla="*/ 2293620 h 3957561"/>
              <a:gd name="connsiteX2" fmla="*/ 2431256 w 3429000"/>
              <a:gd name="connsiteY2" fmla="*/ 3854292 h 3957561"/>
              <a:gd name="connsiteX3" fmla="*/ 1882140 w 3429000"/>
              <a:gd name="connsiteY3" fmla="*/ 3934301 h 3957561"/>
              <a:gd name="connsiteX4" fmla="*/ 0 w 3429000"/>
              <a:gd name="connsiteY4" fmla="*/ 2583180 h 3957561"/>
              <a:gd name="connsiteX5" fmla="*/ 0 w 3429000"/>
              <a:gd name="connsiteY5" fmla="*/ 0 h 3957561"/>
              <a:gd name="connsiteX0" fmla="*/ 0 w 3429000"/>
              <a:gd name="connsiteY0" fmla="*/ 0 h 4019762"/>
              <a:gd name="connsiteX1" fmla="*/ 3429000 w 3429000"/>
              <a:gd name="connsiteY1" fmla="*/ 2293620 h 4019762"/>
              <a:gd name="connsiteX2" fmla="*/ 2431256 w 3429000"/>
              <a:gd name="connsiteY2" fmla="*/ 3854292 h 4019762"/>
              <a:gd name="connsiteX3" fmla="*/ 1882140 w 3429000"/>
              <a:gd name="connsiteY3" fmla="*/ 3934301 h 4019762"/>
              <a:gd name="connsiteX4" fmla="*/ 0 w 3429000"/>
              <a:gd name="connsiteY4" fmla="*/ 2583180 h 4019762"/>
              <a:gd name="connsiteX5" fmla="*/ 0 w 3429000"/>
              <a:gd name="connsiteY5" fmla="*/ 0 h 4019762"/>
              <a:gd name="connsiteX0" fmla="*/ 2381 w 3431381"/>
              <a:gd name="connsiteY0" fmla="*/ 0 h 4019762"/>
              <a:gd name="connsiteX1" fmla="*/ 3431381 w 3431381"/>
              <a:gd name="connsiteY1" fmla="*/ 2293620 h 4019762"/>
              <a:gd name="connsiteX2" fmla="*/ 2433637 w 3431381"/>
              <a:gd name="connsiteY2" fmla="*/ 3854292 h 4019762"/>
              <a:gd name="connsiteX3" fmla="*/ 1884521 w 3431381"/>
              <a:gd name="connsiteY3" fmla="*/ 3934301 h 4019762"/>
              <a:gd name="connsiteX4" fmla="*/ 0 w 3431381"/>
              <a:gd name="connsiteY4" fmla="*/ 2392680 h 4019762"/>
              <a:gd name="connsiteX5" fmla="*/ 2381 w 3431381"/>
              <a:gd name="connsiteY5" fmla="*/ 0 h 4019762"/>
              <a:gd name="connsiteX0" fmla="*/ 2381 w 3374231"/>
              <a:gd name="connsiteY0" fmla="*/ 0 h 4019762"/>
              <a:gd name="connsiteX1" fmla="*/ 3374231 w 3374231"/>
              <a:gd name="connsiteY1" fmla="*/ 2293620 h 4019762"/>
              <a:gd name="connsiteX2" fmla="*/ 2433637 w 3374231"/>
              <a:gd name="connsiteY2" fmla="*/ 3854292 h 4019762"/>
              <a:gd name="connsiteX3" fmla="*/ 1884521 w 3374231"/>
              <a:gd name="connsiteY3" fmla="*/ 3934301 h 4019762"/>
              <a:gd name="connsiteX4" fmla="*/ 0 w 3374231"/>
              <a:gd name="connsiteY4" fmla="*/ 2392680 h 4019762"/>
              <a:gd name="connsiteX5" fmla="*/ 2381 w 3374231"/>
              <a:gd name="connsiteY5" fmla="*/ 0 h 4019762"/>
              <a:gd name="connsiteX0" fmla="*/ 2381 w 3531393"/>
              <a:gd name="connsiteY0" fmla="*/ 0 h 4019762"/>
              <a:gd name="connsiteX1" fmla="*/ 3531393 w 3531393"/>
              <a:gd name="connsiteY1" fmla="*/ 2415064 h 4019762"/>
              <a:gd name="connsiteX2" fmla="*/ 2433637 w 3531393"/>
              <a:gd name="connsiteY2" fmla="*/ 3854292 h 4019762"/>
              <a:gd name="connsiteX3" fmla="*/ 1884521 w 3531393"/>
              <a:gd name="connsiteY3" fmla="*/ 3934301 h 4019762"/>
              <a:gd name="connsiteX4" fmla="*/ 0 w 3531393"/>
              <a:gd name="connsiteY4" fmla="*/ 2392680 h 4019762"/>
              <a:gd name="connsiteX5" fmla="*/ 2381 w 3531393"/>
              <a:gd name="connsiteY5" fmla="*/ 0 h 4019762"/>
              <a:gd name="connsiteX0" fmla="*/ 2381 w 3531393"/>
              <a:gd name="connsiteY0" fmla="*/ 0 h 4019762"/>
              <a:gd name="connsiteX1" fmla="*/ 3531393 w 3531393"/>
              <a:gd name="connsiteY1" fmla="*/ 2415064 h 4019762"/>
              <a:gd name="connsiteX2" fmla="*/ 3424238 w 3531393"/>
              <a:gd name="connsiteY2" fmla="*/ 2542223 h 4019762"/>
              <a:gd name="connsiteX3" fmla="*/ 2433637 w 3531393"/>
              <a:gd name="connsiteY3" fmla="*/ 3854292 h 4019762"/>
              <a:gd name="connsiteX4" fmla="*/ 1884521 w 3531393"/>
              <a:gd name="connsiteY4" fmla="*/ 3934301 h 4019762"/>
              <a:gd name="connsiteX5" fmla="*/ 0 w 3531393"/>
              <a:gd name="connsiteY5" fmla="*/ 2392680 h 4019762"/>
              <a:gd name="connsiteX6" fmla="*/ 2381 w 3531393"/>
              <a:gd name="connsiteY6" fmla="*/ 0 h 4019762"/>
              <a:gd name="connsiteX0" fmla="*/ 2381 w 3531393"/>
              <a:gd name="connsiteY0" fmla="*/ 0 h 4019762"/>
              <a:gd name="connsiteX1" fmla="*/ 3531393 w 3531393"/>
              <a:gd name="connsiteY1" fmla="*/ 2415064 h 4019762"/>
              <a:gd name="connsiteX2" fmla="*/ 3481388 w 3531393"/>
              <a:gd name="connsiteY2" fmla="*/ 2770823 h 4019762"/>
              <a:gd name="connsiteX3" fmla="*/ 2433637 w 3531393"/>
              <a:gd name="connsiteY3" fmla="*/ 3854292 h 4019762"/>
              <a:gd name="connsiteX4" fmla="*/ 1884521 w 3531393"/>
              <a:gd name="connsiteY4" fmla="*/ 3934301 h 4019762"/>
              <a:gd name="connsiteX5" fmla="*/ 0 w 3531393"/>
              <a:gd name="connsiteY5" fmla="*/ 2392680 h 4019762"/>
              <a:gd name="connsiteX6" fmla="*/ 2381 w 3531393"/>
              <a:gd name="connsiteY6" fmla="*/ 0 h 4019762"/>
              <a:gd name="connsiteX0" fmla="*/ 2381 w 3537931"/>
              <a:gd name="connsiteY0" fmla="*/ 0 h 4019762"/>
              <a:gd name="connsiteX1" fmla="*/ 3531393 w 3537931"/>
              <a:gd name="connsiteY1" fmla="*/ 2415064 h 4019762"/>
              <a:gd name="connsiteX2" fmla="*/ 3481388 w 3537931"/>
              <a:gd name="connsiteY2" fmla="*/ 2770823 h 4019762"/>
              <a:gd name="connsiteX3" fmla="*/ 2433637 w 3537931"/>
              <a:gd name="connsiteY3" fmla="*/ 3854292 h 4019762"/>
              <a:gd name="connsiteX4" fmla="*/ 1884521 w 3537931"/>
              <a:gd name="connsiteY4" fmla="*/ 3934301 h 4019762"/>
              <a:gd name="connsiteX5" fmla="*/ 0 w 3537931"/>
              <a:gd name="connsiteY5" fmla="*/ 2392680 h 4019762"/>
              <a:gd name="connsiteX6" fmla="*/ 2381 w 3537931"/>
              <a:gd name="connsiteY6" fmla="*/ 0 h 4019762"/>
              <a:gd name="connsiteX0" fmla="*/ 2381 w 3534090"/>
              <a:gd name="connsiteY0" fmla="*/ 0 h 4019762"/>
              <a:gd name="connsiteX1" fmla="*/ 3521868 w 3534090"/>
              <a:gd name="connsiteY1" fmla="*/ 2417445 h 4019762"/>
              <a:gd name="connsiteX2" fmla="*/ 3481388 w 3534090"/>
              <a:gd name="connsiteY2" fmla="*/ 2770823 h 4019762"/>
              <a:gd name="connsiteX3" fmla="*/ 2433637 w 3534090"/>
              <a:gd name="connsiteY3" fmla="*/ 3854292 h 4019762"/>
              <a:gd name="connsiteX4" fmla="*/ 1884521 w 3534090"/>
              <a:gd name="connsiteY4" fmla="*/ 3934301 h 4019762"/>
              <a:gd name="connsiteX5" fmla="*/ 0 w 3534090"/>
              <a:gd name="connsiteY5" fmla="*/ 2392680 h 4019762"/>
              <a:gd name="connsiteX6" fmla="*/ 2381 w 3534090"/>
              <a:gd name="connsiteY6" fmla="*/ 0 h 4019762"/>
              <a:gd name="connsiteX0" fmla="*/ 2381 w 3579630"/>
              <a:gd name="connsiteY0" fmla="*/ 0 h 4019762"/>
              <a:gd name="connsiteX1" fmla="*/ 3521868 w 3579630"/>
              <a:gd name="connsiteY1" fmla="*/ 2417445 h 4019762"/>
              <a:gd name="connsiteX2" fmla="*/ 3481388 w 3579630"/>
              <a:gd name="connsiteY2" fmla="*/ 2770823 h 4019762"/>
              <a:gd name="connsiteX3" fmla="*/ 2433637 w 3579630"/>
              <a:gd name="connsiteY3" fmla="*/ 3854292 h 4019762"/>
              <a:gd name="connsiteX4" fmla="*/ 1884521 w 3579630"/>
              <a:gd name="connsiteY4" fmla="*/ 3934301 h 4019762"/>
              <a:gd name="connsiteX5" fmla="*/ 0 w 3579630"/>
              <a:gd name="connsiteY5" fmla="*/ 2392680 h 4019762"/>
              <a:gd name="connsiteX6" fmla="*/ 2381 w 3579630"/>
              <a:gd name="connsiteY6" fmla="*/ 0 h 4019762"/>
              <a:gd name="connsiteX0" fmla="*/ 2381 w 3579630"/>
              <a:gd name="connsiteY0" fmla="*/ 0 h 4019762"/>
              <a:gd name="connsiteX1" fmla="*/ 233363 w 3579630"/>
              <a:gd name="connsiteY1" fmla="*/ 158591 h 4019762"/>
              <a:gd name="connsiteX2" fmla="*/ 3521868 w 3579630"/>
              <a:gd name="connsiteY2" fmla="*/ 2417445 h 4019762"/>
              <a:gd name="connsiteX3" fmla="*/ 3481388 w 3579630"/>
              <a:gd name="connsiteY3" fmla="*/ 2770823 h 4019762"/>
              <a:gd name="connsiteX4" fmla="*/ 2433637 w 3579630"/>
              <a:gd name="connsiteY4" fmla="*/ 3854292 h 4019762"/>
              <a:gd name="connsiteX5" fmla="*/ 1884521 w 3579630"/>
              <a:gd name="connsiteY5" fmla="*/ 3934301 h 4019762"/>
              <a:gd name="connsiteX6" fmla="*/ 0 w 3579630"/>
              <a:gd name="connsiteY6" fmla="*/ 2392680 h 4019762"/>
              <a:gd name="connsiteX7" fmla="*/ 2381 w 3579630"/>
              <a:gd name="connsiteY7" fmla="*/ 0 h 4019762"/>
              <a:gd name="connsiteX0" fmla="*/ 2381 w 3579630"/>
              <a:gd name="connsiteY0" fmla="*/ 0 h 4019762"/>
              <a:gd name="connsiteX1" fmla="*/ 652463 w 3579630"/>
              <a:gd name="connsiteY1" fmla="*/ 237172 h 4019762"/>
              <a:gd name="connsiteX2" fmla="*/ 3521868 w 3579630"/>
              <a:gd name="connsiteY2" fmla="*/ 2417445 h 4019762"/>
              <a:gd name="connsiteX3" fmla="*/ 3481388 w 3579630"/>
              <a:gd name="connsiteY3" fmla="*/ 2770823 h 4019762"/>
              <a:gd name="connsiteX4" fmla="*/ 2433637 w 3579630"/>
              <a:gd name="connsiteY4" fmla="*/ 3854292 h 4019762"/>
              <a:gd name="connsiteX5" fmla="*/ 1884521 w 3579630"/>
              <a:gd name="connsiteY5" fmla="*/ 3934301 h 4019762"/>
              <a:gd name="connsiteX6" fmla="*/ 0 w 3579630"/>
              <a:gd name="connsiteY6" fmla="*/ 2392680 h 4019762"/>
              <a:gd name="connsiteX7" fmla="*/ 2381 w 3579630"/>
              <a:gd name="connsiteY7" fmla="*/ 0 h 4019762"/>
              <a:gd name="connsiteX0" fmla="*/ 2381 w 3579630"/>
              <a:gd name="connsiteY0" fmla="*/ 0 h 4019762"/>
              <a:gd name="connsiteX1" fmla="*/ 83345 w 3579630"/>
              <a:gd name="connsiteY1" fmla="*/ 34766 h 4019762"/>
              <a:gd name="connsiteX2" fmla="*/ 652463 w 3579630"/>
              <a:gd name="connsiteY2" fmla="*/ 237172 h 4019762"/>
              <a:gd name="connsiteX3" fmla="*/ 3521868 w 3579630"/>
              <a:gd name="connsiteY3" fmla="*/ 2417445 h 4019762"/>
              <a:gd name="connsiteX4" fmla="*/ 3481388 w 3579630"/>
              <a:gd name="connsiteY4" fmla="*/ 2770823 h 4019762"/>
              <a:gd name="connsiteX5" fmla="*/ 2433637 w 3579630"/>
              <a:gd name="connsiteY5" fmla="*/ 3854292 h 4019762"/>
              <a:gd name="connsiteX6" fmla="*/ 1884521 w 3579630"/>
              <a:gd name="connsiteY6" fmla="*/ 3934301 h 4019762"/>
              <a:gd name="connsiteX7" fmla="*/ 0 w 3579630"/>
              <a:gd name="connsiteY7" fmla="*/ 2392680 h 4019762"/>
              <a:gd name="connsiteX8" fmla="*/ 2381 w 3579630"/>
              <a:gd name="connsiteY8" fmla="*/ 0 h 4019762"/>
              <a:gd name="connsiteX0" fmla="*/ 2381 w 3579630"/>
              <a:gd name="connsiteY0" fmla="*/ 0 h 4019762"/>
              <a:gd name="connsiteX1" fmla="*/ 338139 w 3579630"/>
              <a:gd name="connsiteY1" fmla="*/ 8572 h 4019762"/>
              <a:gd name="connsiteX2" fmla="*/ 652463 w 3579630"/>
              <a:gd name="connsiteY2" fmla="*/ 237172 h 4019762"/>
              <a:gd name="connsiteX3" fmla="*/ 3521868 w 3579630"/>
              <a:gd name="connsiteY3" fmla="*/ 2417445 h 4019762"/>
              <a:gd name="connsiteX4" fmla="*/ 3481388 w 3579630"/>
              <a:gd name="connsiteY4" fmla="*/ 2770823 h 4019762"/>
              <a:gd name="connsiteX5" fmla="*/ 2433637 w 3579630"/>
              <a:gd name="connsiteY5" fmla="*/ 3854292 h 4019762"/>
              <a:gd name="connsiteX6" fmla="*/ 1884521 w 3579630"/>
              <a:gd name="connsiteY6" fmla="*/ 3934301 h 4019762"/>
              <a:gd name="connsiteX7" fmla="*/ 0 w 3579630"/>
              <a:gd name="connsiteY7" fmla="*/ 2392680 h 4019762"/>
              <a:gd name="connsiteX8" fmla="*/ 2381 w 3579630"/>
              <a:gd name="connsiteY8" fmla="*/ 0 h 4019762"/>
              <a:gd name="connsiteX0" fmla="*/ 2381 w 3579630"/>
              <a:gd name="connsiteY0" fmla="*/ 22957 h 4042719"/>
              <a:gd name="connsiteX1" fmla="*/ 338139 w 3579630"/>
              <a:gd name="connsiteY1" fmla="*/ 31529 h 4042719"/>
              <a:gd name="connsiteX2" fmla="*/ 652463 w 3579630"/>
              <a:gd name="connsiteY2" fmla="*/ 260129 h 4042719"/>
              <a:gd name="connsiteX3" fmla="*/ 3521868 w 3579630"/>
              <a:gd name="connsiteY3" fmla="*/ 2440402 h 4042719"/>
              <a:gd name="connsiteX4" fmla="*/ 3481388 w 3579630"/>
              <a:gd name="connsiteY4" fmla="*/ 2793780 h 4042719"/>
              <a:gd name="connsiteX5" fmla="*/ 2433637 w 3579630"/>
              <a:gd name="connsiteY5" fmla="*/ 3877249 h 4042719"/>
              <a:gd name="connsiteX6" fmla="*/ 1884521 w 3579630"/>
              <a:gd name="connsiteY6" fmla="*/ 3957258 h 4042719"/>
              <a:gd name="connsiteX7" fmla="*/ 0 w 3579630"/>
              <a:gd name="connsiteY7" fmla="*/ 2415637 h 4042719"/>
              <a:gd name="connsiteX8" fmla="*/ 2381 w 3579630"/>
              <a:gd name="connsiteY8" fmla="*/ 22957 h 4042719"/>
              <a:gd name="connsiteX0" fmla="*/ 2381 w 3579630"/>
              <a:gd name="connsiteY0" fmla="*/ 42182 h 4061944"/>
              <a:gd name="connsiteX1" fmla="*/ 338139 w 3579630"/>
              <a:gd name="connsiteY1" fmla="*/ 50754 h 4061944"/>
              <a:gd name="connsiteX2" fmla="*/ 652463 w 3579630"/>
              <a:gd name="connsiteY2" fmla="*/ 279354 h 4061944"/>
              <a:gd name="connsiteX3" fmla="*/ 3521868 w 3579630"/>
              <a:gd name="connsiteY3" fmla="*/ 2459627 h 4061944"/>
              <a:gd name="connsiteX4" fmla="*/ 3481388 w 3579630"/>
              <a:gd name="connsiteY4" fmla="*/ 2813005 h 4061944"/>
              <a:gd name="connsiteX5" fmla="*/ 2433637 w 3579630"/>
              <a:gd name="connsiteY5" fmla="*/ 3896474 h 4061944"/>
              <a:gd name="connsiteX6" fmla="*/ 1884521 w 3579630"/>
              <a:gd name="connsiteY6" fmla="*/ 3976483 h 4061944"/>
              <a:gd name="connsiteX7" fmla="*/ 0 w 3579630"/>
              <a:gd name="connsiteY7" fmla="*/ 2434862 h 4061944"/>
              <a:gd name="connsiteX8" fmla="*/ 2381 w 3579630"/>
              <a:gd name="connsiteY8" fmla="*/ 42182 h 4061944"/>
              <a:gd name="connsiteX0" fmla="*/ 229 w 3579859"/>
              <a:gd name="connsiteY0" fmla="*/ 35015 h 4071446"/>
              <a:gd name="connsiteX1" fmla="*/ 338368 w 3579859"/>
              <a:gd name="connsiteY1" fmla="*/ 60256 h 4071446"/>
              <a:gd name="connsiteX2" fmla="*/ 652692 w 3579859"/>
              <a:gd name="connsiteY2" fmla="*/ 288856 h 4071446"/>
              <a:gd name="connsiteX3" fmla="*/ 3522097 w 3579859"/>
              <a:gd name="connsiteY3" fmla="*/ 2469129 h 4071446"/>
              <a:gd name="connsiteX4" fmla="*/ 3481617 w 3579859"/>
              <a:gd name="connsiteY4" fmla="*/ 2822507 h 4071446"/>
              <a:gd name="connsiteX5" fmla="*/ 2433866 w 3579859"/>
              <a:gd name="connsiteY5" fmla="*/ 3905976 h 4071446"/>
              <a:gd name="connsiteX6" fmla="*/ 1884750 w 3579859"/>
              <a:gd name="connsiteY6" fmla="*/ 3985985 h 4071446"/>
              <a:gd name="connsiteX7" fmla="*/ 229 w 3579859"/>
              <a:gd name="connsiteY7" fmla="*/ 2444364 h 4071446"/>
              <a:gd name="connsiteX8" fmla="*/ 229 w 3579859"/>
              <a:gd name="connsiteY8" fmla="*/ 35015 h 4071446"/>
              <a:gd name="connsiteX0" fmla="*/ 229 w 3579859"/>
              <a:gd name="connsiteY0" fmla="*/ 37039 h 4073470"/>
              <a:gd name="connsiteX1" fmla="*/ 338368 w 3579859"/>
              <a:gd name="connsiteY1" fmla="*/ 62280 h 4073470"/>
              <a:gd name="connsiteX2" fmla="*/ 652692 w 3579859"/>
              <a:gd name="connsiteY2" fmla="*/ 290880 h 4073470"/>
              <a:gd name="connsiteX3" fmla="*/ 3522097 w 3579859"/>
              <a:gd name="connsiteY3" fmla="*/ 2471153 h 4073470"/>
              <a:gd name="connsiteX4" fmla="*/ 3481617 w 3579859"/>
              <a:gd name="connsiteY4" fmla="*/ 2824531 h 4073470"/>
              <a:gd name="connsiteX5" fmla="*/ 2433866 w 3579859"/>
              <a:gd name="connsiteY5" fmla="*/ 3908000 h 4073470"/>
              <a:gd name="connsiteX6" fmla="*/ 1884750 w 3579859"/>
              <a:gd name="connsiteY6" fmla="*/ 3988009 h 4073470"/>
              <a:gd name="connsiteX7" fmla="*/ 229 w 3579859"/>
              <a:gd name="connsiteY7" fmla="*/ 2446388 h 4073470"/>
              <a:gd name="connsiteX8" fmla="*/ 229 w 3579859"/>
              <a:gd name="connsiteY8" fmla="*/ 37039 h 4073470"/>
              <a:gd name="connsiteX0" fmla="*/ 229 w 3579859"/>
              <a:gd name="connsiteY0" fmla="*/ 31098 h 4067529"/>
              <a:gd name="connsiteX1" fmla="*/ 338368 w 3579859"/>
              <a:gd name="connsiteY1" fmla="*/ 56339 h 4067529"/>
              <a:gd name="connsiteX2" fmla="*/ 652692 w 3579859"/>
              <a:gd name="connsiteY2" fmla="*/ 284939 h 4067529"/>
              <a:gd name="connsiteX3" fmla="*/ 3522097 w 3579859"/>
              <a:gd name="connsiteY3" fmla="*/ 2465212 h 4067529"/>
              <a:gd name="connsiteX4" fmla="*/ 3481617 w 3579859"/>
              <a:gd name="connsiteY4" fmla="*/ 2818590 h 4067529"/>
              <a:gd name="connsiteX5" fmla="*/ 2433866 w 3579859"/>
              <a:gd name="connsiteY5" fmla="*/ 3902059 h 4067529"/>
              <a:gd name="connsiteX6" fmla="*/ 1884750 w 3579859"/>
              <a:gd name="connsiteY6" fmla="*/ 3982068 h 4067529"/>
              <a:gd name="connsiteX7" fmla="*/ 229 w 3579859"/>
              <a:gd name="connsiteY7" fmla="*/ 2440447 h 4067529"/>
              <a:gd name="connsiteX8" fmla="*/ 229 w 3579859"/>
              <a:gd name="connsiteY8" fmla="*/ 31098 h 4067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79859" h="4067529">
                <a:moveTo>
                  <a:pt x="229" y="31098"/>
                </a:moveTo>
                <a:cubicBezTo>
                  <a:pt x="157393" y="-30339"/>
                  <a:pt x="259786" y="10620"/>
                  <a:pt x="338368" y="56339"/>
                </a:cubicBezTo>
                <a:lnTo>
                  <a:pt x="652692" y="284939"/>
                </a:lnTo>
                <a:lnTo>
                  <a:pt x="3522097" y="2465212"/>
                </a:lnTo>
                <a:cubicBezTo>
                  <a:pt x="3622110" y="2617136"/>
                  <a:pt x="3581629" y="2707148"/>
                  <a:pt x="3481617" y="2818590"/>
                </a:cubicBezTo>
                <a:lnTo>
                  <a:pt x="2433866" y="3902059"/>
                </a:lnTo>
                <a:cubicBezTo>
                  <a:pt x="2217490" y="4093035"/>
                  <a:pt x="2065407" y="4117323"/>
                  <a:pt x="1884750" y="3982068"/>
                </a:cubicBezTo>
                <a:lnTo>
                  <a:pt x="229" y="2440447"/>
                </a:lnTo>
                <a:cubicBezTo>
                  <a:pt x="1023" y="1642887"/>
                  <a:pt x="-565" y="828658"/>
                  <a:pt x="229" y="31098"/>
                </a:cubicBezTo>
                <a:close/>
              </a:path>
            </a:pathLst>
          </a:custGeom>
        </p:spPr>
        <p:txBody>
          <a:bodyPr/>
          <a:lstStyle/>
          <a:p>
            <a:endParaRPr lang="en-ID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932B6670-7E69-714B-AA22-940E62EE34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84904" y="6356350"/>
            <a:ext cx="60025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/>
              <a:t>Evoluz | São Paulo, SP - Brasi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4850F5-E2FF-5B4E-857E-B1F4D73907D7}"/>
              </a:ext>
            </a:extLst>
          </p:cNvPr>
          <p:cNvSpPr txBox="1">
            <a:spLocks/>
          </p:cNvSpPr>
          <p:nvPr userDrawn="1"/>
        </p:nvSpPr>
        <p:spPr>
          <a:xfrm>
            <a:off x="11012557" y="6356350"/>
            <a:ext cx="878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solidFill>
                  <a:schemeClr val="tx2"/>
                </a:solidFill>
              </a:rPr>
              <a:t>@</a:t>
            </a:r>
            <a:r>
              <a:rPr lang="en-US" sz="1000" dirty="0" err="1">
                <a:solidFill>
                  <a:schemeClr val="tx2"/>
                </a:solidFill>
              </a:rPr>
              <a:t>evolu.z</a:t>
            </a:r>
            <a:endParaRPr lang="en-US" sz="1000" dirty="0">
              <a:solidFill>
                <a:schemeClr val="tx2"/>
              </a:solidFill>
            </a:endParaRP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310B4C09-E7B5-C843-90DD-5522E124E3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8192" y="5689600"/>
            <a:ext cx="846667" cy="84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23867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 userDrawn="1">
            <p:ph type="dt" sz="half" idx="10"/>
          </p:nvPr>
        </p:nvSpPr>
        <p:spPr>
          <a:xfrm>
            <a:off x="5808406" y="6341602"/>
            <a:ext cx="2743200" cy="365125"/>
          </a:xfrm>
          <a:prstGeom prst="rect">
            <a:avLst/>
          </a:prstGeom>
        </p:spPr>
        <p:txBody>
          <a:bodyPr/>
          <a:lstStyle/>
          <a:p>
            <a:fld id="{DD250816-D052-4A87-98BB-D13D023A311B}" type="datetime1">
              <a:rPr lang="en-US" smtClean="0"/>
              <a:t>8/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en-US"/>
              <a:t>B2B Company, Inc. | New York Empire State Building 123 AVE, USA | Phone: +54 994 022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9932C-87E5-4920-8ED0-A39ED56213C7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267985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"/>
          <p:cNvSpPr txBox="1">
            <a:spLocks noGrp="1"/>
          </p:cNvSpPr>
          <p:nvPr>
            <p:ph type="body" sz="quarter" idx="21"/>
          </p:nvPr>
        </p:nvSpPr>
        <p:spPr>
          <a:xfrm>
            <a:off x="381000" y="305294"/>
            <a:ext cx="10477500" cy="329706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defTabSz="32385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defRPr sz="1800" cap="all" spc="90">
                <a:latin typeface="DIN Alternate Bold"/>
                <a:ea typeface="DIN Alternate Bold"/>
                <a:cs typeface="DIN Alternate Bold"/>
                <a:sym typeface="DIN Alternate Bold"/>
              </a:defRPr>
            </a:lvl1pPr>
          </a:lstStyle>
          <a:p>
            <a:r>
              <a:t>Text</a:t>
            </a:r>
          </a:p>
        </p:txBody>
      </p:sp>
      <p:sp>
        <p:nvSpPr>
          <p:cNvPr id="65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6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20770898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76ED796-991A-06BB-123E-0A6584BEF5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AA620EB2-4BC1-21AD-7F90-1BEBA285BC6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C1536A90-8B25-F5E2-3CDB-DB49911B7D2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8F93DE21-2782-6686-BC32-AAA31B63D9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A9B224-8366-4B39-972B-4F45DF55BDB4}" type="datetimeFigureOut">
              <a:rPr lang="pt-BR" smtClean="0"/>
              <a:t>06/08/2024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23325331-53CA-7D7A-CF9A-1CA5F47012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7F8DB43B-EB53-05C2-4B72-98DE9FB3FE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AB19DD-0A0E-49A7-A952-DA7ACF3991C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9414963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Title Text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lIns="91439" tIns="91439" rIns="91439" bIns="91439" anchor="ctr"/>
          <a:lstStyle>
            <a:lvl1pPr defTabSz="914400">
              <a:lnSpc>
                <a:spcPct val="90000"/>
              </a:lnSpc>
              <a:spcBef>
                <a:spcPts val="0"/>
              </a:spcBef>
              <a:defRPr sz="4400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235" name="Body Level One…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lIns="91439" tIns="91439" rIns="91439" bIns="91439"/>
          <a:lstStyle>
            <a:lvl1pPr marL="228600" indent="-228600" defTabSz="914400">
              <a:lnSpc>
                <a:spcPct val="90000"/>
              </a:lnSpc>
              <a:spcBef>
                <a:spcPts val="1000"/>
              </a:spcBef>
              <a:buClrTx/>
              <a:buSzPct val="100000"/>
              <a:buFont typeface="Arial"/>
              <a:buChar char="•"/>
              <a:defRPr sz="2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95300" indent="-266700" defTabSz="914400">
              <a:lnSpc>
                <a:spcPct val="90000"/>
              </a:lnSpc>
              <a:spcBef>
                <a:spcPts val="1000"/>
              </a:spcBef>
              <a:buClrTx/>
              <a:buSzPct val="100000"/>
              <a:buFont typeface="Arial"/>
              <a:buChar char="•"/>
              <a:defRPr sz="2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777240" indent="-320040" defTabSz="914400">
              <a:lnSpc>
                <a:spcPct val="90000"/>
              </a:lnSpc>
              <a:spcBef>
                <a:spcPts val="1000"/>
              </a:spcBef>
              <a:buClrTx/>
              <a:buSzPct val="100000"/>
              <a:buFont typeface="Arial"/>
              <a:buChar char="•"/>
              <a:defRPr sz="2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41400" indent="-355600" defTabSz="914400">
              <a:lnSpc>
                <a:spcPct val="90000"/>
              </a:lnSpc>
              <a:spcBef>
                <a:spcPts val="1000"/>
              </a:spcBef>
              <a:buClrTx/>
              <a:buSzPct val="100000"/>
              <a:buFont typeface="Arial"/>
              <a:buChar char="•"/>
              <a:defRPr sz="2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270000" indent="-355600" defTabSz="914400">
              <a:lnSpc>
                <a:spcPct val="90000"/>
              </a:lnSpc>
              <a:spcBef>
                <a:spcPts val="1000"/>
              </a:spcBef>
              <a:buClrTx/>
              <a:buSzPct val="100000"/>
              <a:buFont typeface="Arial"/>
              <a:buChar char="•"/>
              <a:defRPr sz="2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pic>
        <p:nvPicPr>
          <p:cNvPr id="236" name="Picture 3" descr="Picture 3"/>
          <p:cNvPicPr>
            <a:picLocks noChangeAspect="1"/>
          </p:cNvPicPr>
          <p:nvPr/>
        </p:nvPicPr>
        <p:blipFill>
          <a:blip r:embed="rId2"/>
          <a:srcRect l="8089" t="26409" r="5203" b="34670"/>
          <a:stretch>
            <a:fillRect/>
          </a:stretch>
        </p:blipFill>
        <p:spPr>
          <a:xfrm>
            <a:off x="10702706" y="370185"/>
            <a:ext cx="952192" cy="199459"/>
          </a:xfrm>
          <a:prstGeom prst="rect">
            <a:avLst/>
          </a:prstGeom>
          <a:ln w="12700">
            <a:miter lim="400000"/>
          </a:ln>
        </p:spPr>
      </p:pic>
      <p:sp>
        <p:nvSpPr>
          <p:cNvPr id="23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0917464" y="6354248"/>
            <a:ext cx="436336" cy="369330"/>
          </a:xfrm>
          <a:prstGeom prst="rect">
            <a:avLst/>
          </a:prstGeom>
        </p:spPr>
        <p:txBody>
          <a:bodyPr lIns="91439" tIns="91439" rIns="91439" bIns="91439" anchor="ctr"/>
          <a:lstStyle>
            <a:lvl1pPr defTabSz="914400">
              <a:lnSpc>
                <a:spcPct val="100000"/>
              </a:lnSpc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25014729"/>
      </p:ext>
    </p:extLst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05AA857-8435-7E7A-68CC-6C23D048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79858754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mparação" preserve="1">
  <p:cSld name="1_Comparação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oogle Shape;20;p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88534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" name="Google Shape;21;p19"/>
          <p:cNvSpPr/>
          <p:nvPr/>
        </p:nvSpPr>
        <p:spPr>
          <a:xfrm>
            <a:off x="210000" y="153000"/>
            <a:ext cx="11808000" cy="6552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" name="Google Shape;22;p19"/>
          <p:cNvSpPr/>
          <p:nvPr/>
        </p:nvSpPr>
        <p:spPr>
          <a:xfrm>
            <a:off x="11433363" y="6131798"/>
            <a:ext cx="538477" cy="535135"/>
          </a:xfrm>
          <a:custGeom>
            <a:avLst/>
            <a:gdLst/>
            <a:ahLst/>
            <a:cxnLst/>
            <a:rect l="l" t="t" r="r" b="b"/>
            <a:pathLst>
              <a:path w="10550814" h="8968831" extrusionOk="0">
                <a:moveTo>
                  <a:pt x="0" y="0"/>
                </a:moveTo>
                <a:lnTo>
                  <a:pt x="10550815" y="0"/>
                </a:lnTo>
                <a:lnTo>
                  <a:pt x="10550815" y="8968830"/>
                </a:lnTo>
                <a:lnTo>
                  <a:pt x="0" y="8968830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 l="-44074" t="-56685" r="-54863" b="-56552"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4110996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ângulo 11">
            <a:extLst>
              <a:ext uri="{FF2B5EF4-FFF2-40B4-BE49-F238E27FC236}">
                <a16:creationId xmlns:a16="http://schemas.microsoft.com/office/drawing/2014/main" id="{A6763083-EF89-49B7-A84F-7D9E1F4DCC0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Título 1">
            <a:extLst>
              <a:ext uri="{FF2B5EF4-FFF2-40B4-BE49-F238E27FC236}">
                <a16:creationId xmlns:a16="http://schemas.microsoft.com/office/drawing/2014/main" id="{BB94172F-1C67-47C1-B77C-4CE5D46F3C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474" y="290175"/>
            <a:ext cx="11595716" cy="564265"/>
          </a:xfrm>
          <a:prstGeom prst="rect">
            <a:avLst/>
          </a:prstGeom>
        </p:spPr>
        <p:txBody>
          <a:bodyPr anchor="t"/>
          <a:lstStyle>
            <a:lvl1pPr>
              <a:lnSpc>
                <a:spcPct val="75000"/>
              </a:lnSpc>
              <a:spcBef>
                <a:spcPts val="0"/>
              </a:spcBef>
              <a:defRPr kumimoji="0" lang="pt-BR" sz="2800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  <a:cs typeface="Itau Display Heavy" panose="020B0803020204020204" pitchFamily="34" charset="0"/>
              </a:defRPr>
            </a:lvl1pPr>
          </a:lstStyle>
          <a:p>
            <a:pPr marL="0" marR="0" lvl="0" indent="0" algn="l" defTabSz="914411" rtl="0" eaLnBrk="1" fontAlgn="auto" latinLnBrk="0" hangingPunct="1">
              <a:lnSpc>
                <a:spcPct val="8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/>
              <a:t>Clique para editar o título</a:t>
            </a:r>
          </a:p>
        </p:txBody>
      </p:sp>
      <p:sp>
        <p:nvSpPr>
          <p:cNvPr id="9" name="Espaço Reservado para Conteúdo 14">
            <a:extLst>
              <a:ext uri="{FF2B5EF4-FFF2-40B4-BE49-F238E27FC236}">
                <a16:creationId xmlns:a16="http://schemas.microsoft.com/office/drawing/2014/main" id="{554B08CF-3DAC-47C0-B0D3-DFF0656BE9F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59960" y="59960"/>
            <a:ext cx="11880000" cy="2099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spc="300">
                <a:solidFill>
                  <a:schemeClr val="tx1"/>
                </a:solidFill>
                <a:latin typeface="Itau Text" panose="020B0503020204020203" pitchFamily="34" charset="0"/>
                <a:cs typeface="Itau Text" panose="020B0503020204020203" pitchFamily="34" charset="0"/>
              </a:defRPr>
            </a:lvl1pPr>
          </a:lstStyle>
          <a:p>
            <a:pPr lvl="0"/>
            <a:r>
              <a:rPr lang="pt-BR"/>
              <a:t>NOME DA SEÇÃO OU DA APRESENTAÇÃO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70234BDE-F8FB-42F3-9431-1C9B2B7D49E9}"/>
              </a:ext>
            </a:extLst>
          </p:cNvPr>
          <p:cNvSpPr/>
          <p:nvPr userDrawn="1"/>
        </p:nvSpPr>
        <p:spPr>
          <a:xfrm>
            <a:off x="0" y="322946"/>
            <a:ext cx="192506" cy="604154"/>
          </a:xfrm>
          <a:prstGeom prst="rect">
            <a:avLst/>
          </a:prstGeom>
          <a:gradFill flip="none" rotWithShape="1">
            <a:gsLst>
              <a:gs pos="100000">
                <a:srgbClr val="FF7500"/>
              </a:gs>
              <a:gs pos="0">
                <a:srgbClr val="FD9D00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pt-BR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9071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a L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059844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Usar este) Tema L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4FFF7A9-CE60-48C2-B659-BFE79F8DA8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474" y="290175"/>
            <a:ext cx="11595716" cy="564265"/>
          </a:xfrm>
          <a:prstGeom prst="rect">
            <a:avLst/>
          </a:prstGeom>
        </p:spPr>
        <p:txBody>
          <a:bodyPr/>
          <a:lstStyle>
            <a:lvl1pPr>
              <a:lnSpc>
                <a:spcPct val="75000"/>
              </a:lnSpc>
              <a:spcBef>
                <a:spcPts val="0"/>
              </a:spcBef>
              <a:defRPr kumimoji="0" lang="pt-BR" sz="2800" b="0" i="0" u="none" strike="noStrike" kern="1200" cap="none" spc="0" normalizeH="0" baseline="0" dirty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  <a:cs typeface="Itau Display Heavy" panose="020B0803020204020204" pitchFamily="34" charset="0"/>
              </a:defRPr>
            </a:lvl1pPr>
          </a:lstStyle>
          <a:p>
            <a:pPr marL="0" marR="0" lvl="0" indent="0" algn="l" defTabSz="914411" rtl="0" eaLnBrk="1" fontAlgn="auto" latinLnBrk="0" hangingPunct="1">
              <a:lnSpc>
                <a:spcPct val="8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/>
              <a:t>Clique para editar o título Mestre</a:t>
            </a:r>
          </a:p>
        </p:txBody>
      </p:sp>
      <p:sp>
        <p:nvSpPr>
          <p:cNvPr id="15" name="Espaço Reservado para Conteúdo 14">
            <a:extLst>
              <a:ext uri="{FF2B5EF4-FFF2-40B4-BE49-F238E27FC236}">
                <a16:creationId xmlns:a16="http://schemas.microsoft.com/office/drawing/2014/main" id="{37F7E4E2-423C-4417-8014-D57DD29ABE3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59960" y="59960"/>
            <a:ext cx="4496762" cy="2099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spc="300">
                <a:solidFill>
                  <a:srgbClr val="5F6062"/>
                </a:solidFill>
                <a:latin typeface="Itau Text" panose="020B0503020204020203" pitchFamily="34" charset="0"/>
                <a:cs typeface="Itau Text" panose="020B0503020204020203" pitchFamily="34" charset="0"/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382544799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132048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A23A5A8-62EB-00E6-1628-F4F13057E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53F3B8D-5691-A9FC-6A07-C4A24B0C22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DB88910-0DF0-44C5-50F2-90C52A1B6C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B9584-85A1-4C33-9536-5877B49C27CA}" type="datetimeFigureOut">
              <a:rPr lang="pt-BR" smtClean="0"/>
              <a:t>06/08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D5020882-6743-EE52-784B-F7D0B30A22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CE8463B6-493B-692C-F165-CA1F0FBA1D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3B61C9-026D-4EC3-854F-886574FC6E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8166808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C0841A8-5B01-5D88-7644-5494186ECC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59754864-C04E-9607-7D1C-FC62A4FE45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6" indent="0" algn="ctr">
              <a:buNone/>
              <a:defRPr sz="2000"/>
            </a:lvl2pPr>
            <a:lvl3pPr marL="914411" indent="0" algn="ctr">
              <a:buNone/>
              <a:defRPr sz="1801"/>
            </a:lvl3pPr>
            <a:lvl4pPr marL="1371617" indent="0" algn="ctr">
              <a:buNone/>
              <a:defRPr sz="1600"/>
            </a:lvl4pPr>
            <a:lvl5pPr marL="1828823" indent="0" algn="ctr">
              <a:buNone/>
              <a:defRPr sz="1600"/>
            </a:lvl5pPr>
            <a:lvl6pPr marL="2286029" indent="0" algn="ctr">
              <a:buNone/>
              <a:defRPr sz="1600"/>
            </a:lvl6pPr>
            <a:lvl7pPr marL="2743234" indent="0" algn="ctr">
              <a:buNone/>
              <a:defRPr sz="1600"/>
            </a:lvl7pPr>
            <a:lvl8pPr marL="3200440" indent="0" algn="ctr">
              <a:buNone/>
              <a:defRPr sz="1600"/>
            </a:lvl8pPr>
            <a:lvl9pPr marL="3657646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909BDFC-6900-6593-874B-181F7D7122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ED7884-6F60-4B7B-8BCB-383FE7B076DB}" type="datetimeFigureOut">
              <a:rPr lang="pt-BR" smtClean="0"/>
              <a:t>06/08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6AE677E7-D521-C084-D54C-71783D1331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EE54373-F593-A7BB-50F0-D71CDD2C4B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6B0928-E252-4939-8950-7DDEA942FFF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4745167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4BC1EE0E-4AF6-464F-8FD2-72C72D56FEB8}"/>
              </a:ext>
            </a:extLst>
          </p:cNvPr>
          <p:cNvSpPr/>
          <p:nvPr userDrawn="1"/>
        </p:nvSpPr>
        <p:spPr>
          <a:xfrm>
            <a:off x="0" y="1"/>
            <a:ext cx="4616970" cy="6858000"/>
          </a:xfrm>
          <a:prstGeom prst="rect">
            <a:avLst/>
          </a:prstGeom>
          <a:gradFill flip="none" rotWithShape="1">
            <a:gsLst>
              <a:gs pos="100000">
                <a:srgbClr val="FF7500"/>
              </a:gs>
              <a:gs pos="0">
                <a:srgbClr val="FD9D00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pt-BR">
              <a:solidFill>
                <a:schemeClr val="accent1"/>
              </a:solidFill>
            </a:endParaRPr>
          </a:p>
        </p:txBody>
      </p:sp>
      <p:sp>
        <p:nvSpPr>
          <p:cNvPr id="3" name="Forma Livre: Forma 2">
            <a:extLst>
              <a:ext uri="{FF2B5EF4-FFF2-40B4-BE49-F238E27FC236}">
                <a16:creationId xmlns:a16="http://schemas.microsoft.com/office/drawing/2014/main" id="{AC044DF5-85D2-448F-9B85-E337D3BE4E41}"/>
              </a:ext>
            </a:extLst>
          </p:cNvPr>
          <p:cNvSpPr/>
          <p:nvPr userDrawn="1"/>
        </p:nvSpPr>
        <p:spPr>
          <a:xfrm>
            <a:off x="3682467" y="0"/>
            <a:ext cx="8509532" cy="6858001"/>
          </a:xfrm>
          <a:custGeom>
            <a:avLst/>
            <a:gdLst>
              <a:gd name="connsiteX0" fmla="*/ 5126978 w 8509532"/>
              <a:gd name="connsiteY0" fmla="*/ 0 h 6858001"/>
              <a:gd name="connsiteX1" fmla="*/ 7493532 w 8509532"/>
              <a:gd name="connsiteY1" fmla="*/ 0 h 6858001"/>
              <a:gd name="connsiteX2" fmla="*/ 7885418 w 8509532"/>
              <a:gd name="connsiteY2" fmla="*/ 0 h 6858001"/>
              <a:gd name="connsiteX3" fmla="*/ 8509532 w 8509532"/>
              <a:gd name="connsiteY3" fmla="*/ 0 h 6858001"/>
              <a:gd name="connsiteX4" fmla="*/ 8509532 w 8509532"/>
              <a:gd name="connsiteY4" fmla="*/ 6858000 h 6858001"/>
              <a:gd name="connsiteX5" fmla="*/ 7885418 w 8509532"/>
              <a:gd name="connsiteY5" fmla="*/ 6858000 h 6858001"/>
              <a:gd name="connsiteX6" fmla="*/ 7493532 w 8509532"/>
              <a:gd name="connsiteY6" fmla="*/ 6858000 h 6858001"/>
              <a:gd name="connsiteX7" fmla="*/ 5462258 w 8509532"/>
              <a:gd name="connsiteY7" fmla="*/ 6858000 h 6858001"/>
              <a:gd name="connsiteX8" fmla="*/ 5462258 w 8509532"/>
              <a:gd name="connsiteY8" fmla="*/ 6858001 h 6858001"/>
              <a:gd name="connsiteX9" fmla="*/ 524362 w 8509532"/>
              <a:gd name="connsiteY9" fmla="*/ 6858001 h 6858001"/>
              <a:gd name="connsiteX10" fmla="*/ 0 w 8509532"/>
              <a:gd name="connsiteY10" fmla="*/ 6333639 h 6858001"/>
              <a:gd name="connsiteX11" fmla="*/ 0 w 8509532"/>
              <a:gd name="connsiteY11" fmla="*/ 524364 h 6858001"/>
              <a:gd name="connsiteX12" fmla="*/ 524362 w 8509532"/>
              <a:gd name="connsiteY12" fmla="*/ 1 h 6858001"/>
              <a:gd name="connsiteX13" fmla="*/ 5126978 w 8509532"/>
              <a:gd name="connsiteY13" fmla="*/ 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509532" h="6858001">
                <a:moveTo>
                  <a:pt x="5126978" y="0"/>
                </a:moveTo>
                <a:lnTo>
                  <a:pt x="7493532" y="0"/>
                </a:lnTo>
                <a:lnTo>
                  <a:pt x="7885418" y="0"/>
                </a:lnTo>
                <a:lnTo>
                  <a:pt x="8509532" y="0"/>
                </a:lnTo>
                <a:lnTo>
                  <a:pt x="8509532" y="6858000"/>
                </a:lnTo>
                <a:lnTo>
                  <a:pt x="7885418" y="6858000"/>
                </a:lnTo>
                <a:lnTo>
                  <a:pt x="7493532" y="6858000"/>
                </a:lnTo>
                <a:lnTo>
                  <a:pt x="5462258" y="6858000"/>
                </a:lnTo>
                <a:lnTo>
                  <a:pt x="5462258" y="6858001"/>
                </a:lnTo>
                <a:lnTo>
                  <a:pt x="524362" y="6858001"/>
                </a:lnTo>
                <a:cubicBezTo>
                  <a:pt x="234765" y="6858001"/>
                  <a:pt x="0" y="6623236"/>
                  <a:pt x="0" y="6333639"/>
                </a:cubicBezTo>
                <a:lnTo>
                  <a:pt x="0" y="524364"/>
                </a:lnTo>
                <a:cubicBezTo>
                  <a:pt x="0" y="234766"/>
                  <a:pt x="234765" y="1"/>
                  <a:pt x="524362" y="1"/>
                </a:cubicBezTo>
                <a:lnTo>
                  <a:pt x="5126978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1D4080"/>
              </a:solidFill>
              <a:effectLst/>
              <a:uLnTx/>
              <a:uFillTx/>
              <a:latin typeface="Itau Display"/>
              <a:ea typeface="+mn-ea"/>
              <a:cs typeface="+mn-cs"/>
            </a:endParaRPr>
          </a:p>
        </p:txBody>
      </p:sp>
      <p:sp>
        <p:nvSpPr>
          <p:cNvPr id="4" name="MSIPCMContentMarking" descr="{&quot;HashCode&quot;:1316756096,&quot;Placement&quot;:&quot;Footer&quot;}">
            <a:extLst>
              <a:ext uri="{FF2B5EF4-FFF2-40B4-BE49-F238E27FC236}">
                <a16:creationId xmlns:a16="http://schemas.microsoft.com/office/drawing/2014/main" id="{A4A39B52-6E9F-4ED6-806E-7C7AC85D7C14}"/>
              </a:ext>
            </a:extLst>
          </p:cNvPr>
          <p:cNvSpPr txBox="1"/>
          <p:nvPr userDrawn="1"/>
        </p:nvSpPr>
        <p:spPr>
          <a:xfrm>
            <a:off x="0" y="6649884"/>
            <a:ext cx="1406068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Text" panose="020B0503020204020203" pitchFamily="34" charset="0"/>
                <a:ea typeface="+mn-ea"/>
                <a:cs typeface="Itau Text" panose="020B0503020204020203" pitchFamily="34" charset="0"/>
              </a:rPr>
              <a:t>Corporativo | Interno</a:t>
            </a:r>
          </a:p>
        </p:txBody>
      </p:sp>
      <p:sp>
        <p:nvSpPr>
          <p:cNvPr id="7" name="Título 1">
            <a:extLst>
              <a:ext uri="{FF2B5EF4-FFF2-40B4-BE49-F238E27FC236}">
                <a16:creationId xmlns:a16="http://schemas.microsoft.com/office/drawing/2014/main" id="{C153E15E-E186-4FF9-B747-912E983FA5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100" y="290175"/>
            <a:ext cx="8054090" cy="564265"/>
          </a:xfrm>
          <a:prstGeom prst="rect">
            <a:avLst/>
          </a:prstGeom>
        </p:spPr>
        <p:txBody>
          <a:bodyPr/>
          <a:lstStyle>
            <a:lvl1pPr>
              <a:lnSpc>
                <a:spcPct val="75000"/>
              </a:lnSpc>
              <a:spcBef>
                <a:spcPts val="0"/>
              </a:spcBef>
              <a:defRPr kumimoji="0" lang="pt-BR" sz="2800" b="0" i="0" u="none" strike="noStrike" kern="1200" cap="none" spc="0" normalizeH="0" baseline="0" dirty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  <a:cs typeface="Itau Display Heavy" panose="020B0803020204020204" pitchFamily="34" charset="0"/>
              </a:defRPr>
            </a:lvl1pPr>
          </a:lstStyle>
          <a:p>
            <a:pPr marL="0" marR="0" lvl="0" indent="0" algn="l" defTabSz="914411" rtl="0" eaLnBrk="1" fontAlgn="auto" latinLnBrk="0" hangingPunct="1">
              <a:lnSpc>
                <a:spcPct val="8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/>
              <a:t>Clique para editar o título Mestre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325F535E-1CF6-4ECC-AD98-61A3B74EA21C}"/>
              </a:ext>
            </a:extLst>
          </p:cNvPr>
          <p:cNvSpPr txBox="1"/>
          <p:nvPr userDrawn="1"/>
        </p:nvSpPr>
        <p:spPr>
          <a:xfrm>
            <a:off x="11103756" y="6415790"/>
            <a:ext cx="502626" cy="253658"/>
          </a:xfrm>
          <a:prstGeom prst="rect">
            <a:avLst/>
          </a:prstGeom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>
            <a:defPPr>
              <a:defRPr lang="pt-BR"/>
            </a:defPPr>
            <a:lvl1pPr algn="r">
              <a:defRPr sz="900" b="1">
                <a:solidFill>
                  <a:srgbClr val="606163"/>
                </a:solidFill>
              </a:defRPr>
            </a:lvl1pPr>
          </a:lstStyle>
          <a:p>
            <a:pPr lvl="0"/>
            <a:endParaRPr lang="en-US" altLang="pt-BR" sz="800" b="0">
              <a:solidFill>
                <a:srgbClr val="5F6062"/>
              </a:solidFill>
              <a:latin typeface="Itau Text" panose="020B0503020204020203" pitchFamily="34" charset="0"/>
              <a:cs typeface="Itau Text" panose="020B050302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70516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41A5997-0158-F9C4-3511-681096BECE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CC4797B7-8990-FD77-87E4-7A708EAB9E8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DE2DECFC-FAF9-3518-DE44-26A1414C92C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E76C45E7-072E-08A3-58D8-37E23628DE0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541852DC-5CD1-9605-0B91-AA5E8AFC590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50EDC4B9-DED2-6314-7927-B3D7A56C9F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A9B224-8366-4B39-972B-4F45DF55BDB4}" type="datetimeFigureOut">
              <a:rPr lang="pt-BR" smtClean="0"/>
              <a:t>06/08/2024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49CF2A8C-2273-4F4A-3A67-06593C729D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8772AFBC-D713-3CBA-628F-865953121E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AB19DD-0A0E-49A7-A952-DA7ACF3991C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9904998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4BC1EE0E-4AF6-464F-8FD2-72C72D56FEB8}"/>
              </a:ext>
            </a:extLst>
          </p:cNvPr>
          <p:cNvSpPr/>
          <p:nvPr userDrawn="1"/>
        </p:nvSpPr>
        <p:spPr>
          <a:xfrm>
            <a:off x="0" y="1"/>
            <a:ext cx="4616970" cy="6858000"/>
          </a:xfrm>
          <a:prstGeom prst="rect">
            <a:avLst/>
          </a:prstGeom>
          <a:gradFill flip="none" rotWithShape="1">
            <a:gsLst>
              <a:gs pos="100000">
                <a:srgbClr val="FF7500"/>
              </a:gs>
              <a:gs pos="0">
                <a:srgbClr val="FD9D00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pt-BR">
              <a:solidFill>
                <a:schemeClr val="accent1"/>
              </a:solidFill>
            </a:endParaRPr>
          </a:p>
        </p:txBody>
      </p:sp>
      <p:sp>
        <p:nvSpPr>
          <p:cNvPr id="3" name="Forma Livre: Forma 2">
            <a:extLst>
              <a:ext uri="{FF2B5EF4-FFF2-40B4-BE49-F238E27FC236}">
                <a16:creationId xmlns:a16="http://schemas.microsoft.com/office/drawing/2014/main" id="{AC044DF5-85D2-448F-9B85-E337D3BE4E41}"/>
              </a:ext>
            </a:extLst>
          </p:cNvPr>
          <p:cNvSpPr/>
          <p:nvPr userDrawn="1"/>
        </p:nvSpPr>
        <p:spPr>
          <a:xfrm>
            <a:off x="3682467" y="0"/>
            <a:ext cx="8509532" cy="6858001"/>
          </a:xfrm>
          <a:custGeom>
            <a:avLst/>
            <a:gdLst>
              <a:gd name="connsiteX0" fmla="*/ 5126978 w 8509532"/>
              <a:gd name="connsiteY0" fmla="*/ 0 h 6858001"/>
              <a:gd name="connsiteX1" fmla="*/ 7493532 w 8509532"/>
              <a:gd name="connsiteY1" fmla="*/ 0 h 6858001"/>
              <a:gd name="connsiteX2" fmla="*/ 7885418 w 8509532"/>
              <a:gd name="connsiteY2" fmla="*/ 0 h 6858001"/>
              <a:gd name="connsiteX3" fmla="*/ 8509532 w 8509532"/>
              <a:gd name="connsiteY3" fmla="*/ 0 h 6858001"/>
              <a:gd name="connsiteX4" fmla="*/ 8509532 w 8509532"/>
              <a:gd name="connsiteY4" fmla="*/ 6858000 h 6858001"/>
              <a:gd name="connsiteX5" fmla="*/ 7885418 w 8509532"/>
              <a:gd name="connsiteY5" fmla="*/ 6858000 h 6858001"/>
              <a:gd name="connsiteX6" fmla="*/ 7493532 w 8509532"/>
              <a:gd name="connsiteY6" fmla="*/ 6858000 h 6858001"/>
              <a:gd name="connsiteX7" fmla="*/ 5462258 w 8509532"/>
              <a:gd name="connsiteY7" fmla="*/ 6858000 h 6858001"/>
              <a:gd name="connsiteX8" fmla="*/ 5462258 w 8509532"/>
              <a:gd name="connsiteY8" fmla="*/ 6858001 h 6858001"/>
              <a:gd name="connsiteX9" fmla="*/ 524362 w 8509532"/>
              <a:gd name="connsiteY9" fmla="*/ 6858001 h 6858001"/>
              <a:gd name="connsiteX10" fmla="*/ 0 w 8509532"/>
              <a:gd name="connsiteY10" fmla="*/ 6333639 h 6858001"/>
              <a:gd name="connsiteX11" fmla="*/ 0 w 8509532"/>
              <a:gd name="connsiteY11" fmla="*/ 524364 h 6858001"/>
              <a:gd name="connsiteX12" fmla="*/ 524362 w 8509532"/>
              <a:gd name="connsiteY12" fmla="*/ 1 h 6858001"/>
              <a:gd name="connsiteX13" fmla="*/ 5126978 w 8509532"/>
              <a:gd name="connsiteY13" fmla="*/ 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509532" h="6858001">
                <a:moveTo>
                  <a:pt x="5126978" y="0"/>
                </a:moveTo>
                <a:lnTo>
                  <a:pt x="7493532" y="0"/>
                </a:lnTo>
                <a:lnTo>
                  <a:pt x="7885418" y="0"/>
                </a:lnTo>
                <a:lnTo>
                  <a:pt x="8509532" y="0"/>
                </a:lnTo>
                <a:lnTo>
                  <a:pt x="8509532" y="6858000"/>
                </a:lnTo>
                <a:lnTo>
                  <a:pt x="7885418" y="6858000"/>
                </a:lnTo>
                <a:lnTo>
                  <a:pt x="7493532" y="6858000"/>
                </a:lnTo>
                <a:lnTo>
                  <a:pt x="5462258" y="6858000"/>
                </a:lnTo>
                <a:lnTo>
                  <a:pt x="5462258" y="6858001"/>
                </a:lnTo>
                <a:lnTo>
                  <a:pt x="524362" y="6858001"/>
                </a:lnTo>
                <a:cubicBezTo>
                  <a:pt x="234765" y="6858001"/>
                  <a:pt x="0" y="6623236"/>
                  <a:pt x="0" y="6333639"/>
                </a:cubicBezTo>
                <a:lnTo>
                  <a:pt x="0" y="524364"/>
                </a:lnTo>
                <a:cubicBezTo>
                  <a:pt x="0" y="234766"/>
                  <a:pt x="234765" y="1"/>
                  <a:pt x="524362" y="1"/>
                </a:cubicBezTo>
                <a:lnTo>
                  <a:pt x="5126978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1D4080"/>
              </a:solidFill>
              <a:effectLst/>
              <a:uLnTx/>
              <a:uFillTx/>
              <a:latin typeface="Itau Display"/>
              <a:ea typeface="+mn-ea"/>
              <a:cs typeface="+mn-cs"/>
            </a:endParaRPr>
          </a:p>
        </p:txBody>
      </p:sp>
      <p:sp>
        <p:nvSpPr>
          <p:cNvPr id="4" name="MSIPCMContentMarking" descr="{&quot;HashCode&quot;:1316756096,&quot;Placement&quot;:&quot;Footer&quot;}">
            <a:extLst>
              <a:ext uri="{FF2B5EF4-FFF2-40B4-BE49-F238E27FC236}">
                <a16:creationId xmlns:a16="http://schemas.microsoft.com/office/drawing/2014/main" id="{A4A39B52-6E9F-4ED6-806E-7C7AC85D7C14}"/>
              </a:ext>
            </a:extLst>
          </p:cNvPr>
          <p:cNvSpPr txBox="1"/>
          <p:nvPr userDrawn="1"/>
        </p:nvSpPr>
        <p:spPr>
          <a:xfrm>
            <a:off x="0" y="6649884"/>
            <a:ext cx="1406068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Text" panose="020B0503020204020203" pitchFamily="34" charset="0"/>
                <a:ea typeface="+mn-ea"/>
                <a:cs typeface="Itau Text" panose="020B0503020204020203" pitchFamily="34" charset="0"/>
              </a:rPr>
              <a:t>Corporativo | Interno</a:t>
            </a:r>
          </a:p>
        </p:txBody>
      </p:sp>
      <p:sp>
        <p:nvSpPr>
          <p:cNvPr id="7" name="Título 1">
            <a:extLst>
              <a:ext uri="{FF2B5EF4-FFF2-40B4-BE49-F238E27FC236}">
                <a16:creationId xmlns:a16="http://schemas.microsoft.com/office/drawing/2014/main" id="{C153E15E-E186-4FF9-B747-912E983FA5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100" y="290175"/>
            <a:ext cx="8054090" cy="564265"/>
          </a:xfrm>
          <a:prstGeom prst="rect">
            <a:avLst/>
          </a:prstGeom>
        </p:spPr>
        <p:txBody>
          <a:bodyPr/>
          <a:lstStyle>
            <a:lvl1pPr>
              <a:lnSpc>
                <a:spcPct val="75000"/>
              </a:lnSpc>
              <a:spcBef>
                <a:spcPts val="0"/>
              </a:spcBef>
              <a:defRPr kumimoji="0" lang="pt-BR" sz="2800" b="0" i="0" u="none" strike="noStrike" kern="1200" cap="none" spc="0" normalizeH="0" baseline="0" dirty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  <a:cs typeface="Itau Display Heavy" panose="020B0803020204020204" pitchFamily="34" charset="0"/>
              </a:defRPr>
            </a:lvl1pPr>
          </a:lstStyle>
          <a:p>
            <a:pPr marL="0" marR="0" lvl="0" indent="0" algn="l" defTabSz="914411" rtl="0" eaLnBrk="1" fontAlgn="auto" latinLnBrk="0" hangingPunct="1">
              <a:lnSpc>
                <a:spcPct val="8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/>
              <a:t>Clique para editar o título Mestre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325F535E-1CF6-4ECC-AD98-61A3B74EA21C}"/>
              </a:ext>
            </a:extLst>
          </p:cNvPr>
          <p:cNvSpPr txBox="1"/>
          <p:nvPr userDrawn="1"/>
        </p:nvSpPr>
        <p:spPr>
          <a:xfrm>
            <a:off x="11103756" y="6415790"/>
            <a:ext cx="502626" cy="253658"/>
          </a:xfrm>
          <a:prstGeom prst="rect">
            <a:avLst/>
          </a:prstGeom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>
            <a:defPPr>
              <a:defRPr lang="pt-BR"/>
            </a:defPPr>
            <a:lvl1pPr algn="r">
              <a:defRPr sz="900" b="1">
                <a:solidFill>
                  <a:srgbClr val="606163"/>
                </a:solidFill>
              </a:defRPr>
            </a:lvl1pPr>
          </a:lstStyle>
          <a:p>
            <a:pPr lvl="0"/>
            <a:endParaRPr lang="en-US" altLang="pt-BR" sz="800" b="0">
              <a:solidFill>
                <a:srgbClr val="5F6062"/>
              </a:solidFill>
              <a:latin typeface="Itau Text" panose="020B0503020204020203" pitchFamily="34" charset="0"/>
              <a:cs typeface="Itau Text" panose="020B050302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057082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4BC1EE0E-4AF6-464F-8FD2-72C72D56FEB8}"/>
              </a:ext>
            </a:extLst>
          </p:cNvPr>
          <p:cNvSpPr/>
          <p:nvPr userDrawn="1"/>
        </p:nvSpPr>
        <p:spPr>
          <a:xfrm>
            <a:off x="0" y="1"/>
            <a:ext cx="4616970" cy="6858000"/>
          </a:xfrm>
          <a:prstGeom prst="rect">
            <a:avLst/>
          </a:prstGeom>
          <a:gradFill flip="none" rotWithShape="1">
            <a:gsLst>
              <a:gs pos="100000">
                <a:srgbClr val="134E95"/>
              </a:gs>
              <a:gs pos="0">
                <a:srgbClr val="1262B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pt-BR">
              <a:solidFill>
                <a:schemeClr val="accent1"/>
              </a:solidFill>
            </a:endParaRPr>
          </a:p>
        </p:txBody>
      </p:sp>
      <p:sp>
        <p:nvSpPr>
          <p:cNvPr id="3" name="Forma Livre: Forma 2">
            <a:extLst>
              <a:ext uri="{FF2B5EF4-FFF2-40B4-BE49-F238E27FC236}">
                <a16:creationId xmlns:a16="http://schemas.microsoft.com/office/drawing/2014/main" id="{AC044DF5-85D2-448F-9B85-E337D3BE4E41}"/>
              </a:ext>
            </a:extLst>
          </p:cNvPr>
          <p:cNvSpPr/>
          <p:nvPr userDrawn="1"/>
        </p:nvSpPr>
        <p:spPr>
          <a:xfrm>
            <a:off x="3682467" y="0"/>
            <a:ext cx="8509532" cy="6858001"/>
          </a:xfrm>
          <a:custGeom>
            <a:avLst/>
            <a:gdLst>
              <a:gd name="connsiteX0" fmla="*/ 5126978 w 8509532"/>
              <a:gd name="connsiteY0" fmla="*/ 0 h 6858001"/>
              <a:gd name="connsiteX1" fmla="*/ 7493532 w 8509532"/>
              <a:gd name="connsiteY1" fmla="*/ 0 h 6858001"/>
              <a:gd name="connsiteX2" fmla="*/ 7885418 w 8509532"/>
              <a:gd name="connsiteY2" fmla="*/ 0 h 6858001"/>
              <a:gd name="connsiteX3" fmla="*/ 8509532 w 8509532"/>
              <a:gd name="connsiteY3" fmla="*/ 0 h 6858001"/>
              <a:gd name="connsiteX4" fmla="*/ 8509532 w 8509532"/>
              <a:gd name="connsiteY4" fmla="*/ 6858000 h 6858001"/>
              <a:gd name="connsiteX5" fmla="*/ 7885418 w 8509532"/>
              <a:gd name="connsiteY5" fmla="*/ 6858000 h 6858001"/>
              <a:gd name="connsiteX6" fmla="*/ 7493532 w 8509532"/>
              <a:gd name="connsiteY6" fmla="*/ 6858000 h 6858001"/>
              <a:gd name="connsiteX7" fmla="*/ 5462258 w 8509532"/>
              <a:gd name="connsiteY7" fmla="*/ 6858000 h 6858001"/>
              <a:gd name="connsiteX8" fmla="*/ 5462258 w 8509532"/>
              <a:gd name="connsiteY8" fmla="*/ 6858001 h 6858001"/>
              <a:gd name="connsiteX9" fmla="*/ 524362 w 8509532"/>
              <a:gd name="connsiteY9" fmla="*/ 6858001 h 6858001"/>
              <a:gd name="connsiteX10" fmla="*/ 0 w 8509532"/>
              <a:gd name="connsiteY10" fmla="*/ 6333639 h 6858001"/>
              <a:gd name="connsiteX11" fmla="*/ 0 w 8509532"/>
              <a:gd name="connsiteY11" fmla="*/ 524364 h 6858001"/>
              <a:gd name="connsiteX12" fmla="*/ 524362 w 8509532"/>
              <a:gd name="connsiteY12" fmla="*/ 1 h 6858001"/>
              <a:gd name="connsiteX13" fmla="*/ 5126978 w 8509532"/>
              <a:gd name="connsiteY13" fmla="*/ 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509532" h="6858001">
                <a:moveTo>
                  <a:pt x="5126978" y="0"/>
                </a:moveTo>
                <a:lnTo>
                  <a:pt x="7493532" y="0"/>
                </a:lnTo>
                <a:lnTo>
                  <a:pt x="7885418" y="0"/>
                </a:lnTo>
                <a:lnTo>
                  <a:pt x="8509532" y="0"/>
                </a:lnTo>
                <a:lnTo>
                  <a:pt x="8509532" y="6858000"/>
                </a:lnTo>
                <a:lnTo>
                  <a:pt x="7885418" y="6858000"/>
                </a:lnTo>
                <a:lnTo>
                  <a:pt x="7493532" y="6858000"/>
                </a:lnTo>
                <a:lnTo>
                  <a:pt x="5462258" y="6858000"/>
                </a:lnTo>
                <a:lnTo>
                  <a:pt x="5462258" y="6858001"/>
                </a:lnTo>
                <a:lnTo>
                  <a:pt x="524362" y="6858001"/>
                </a:lnTo>
                <a:cubicBezTo>
                  <a:pt x="234765" y="6858001"/>
                  <a:pt x="0" y="6623236"/>
                  <a:pt x="0" y="6333639"/>
                </a:cubicBezTo>
                <a:lnTo>
                  <a:pt x="0" y="524364"/>
                </a:lnTo>
                <a:cubicBezTo>
                  <a:pt x="0" y="234766"/>
                  <a:pt x="234765" y="1"/>
                  <a:pt x="524362" y="1"/>
                </a:cubicBezTo>
                <a:lnTo>
                  <a:pt x="5126978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1D4080"/>
              </a:solidFill>
              <a:effectLst/>
              <a:uLnTx/>
              <a:uFillTx/>
              <a:latin typeface="Itau Display"/>
              <a:ea typeface="+mn-ea"/>
              <a:cs typeface="+mn-cs"/>
            </a:endParaRPr>
          </a:p>
        </p:txBody>
      </p:sp>
      <p:sp>
        <p:nvSpPr>
          <p:cNvPr id="4" name="MSIPCMContentMarking" descr="{&quot;HashCode&quot;:1316756096,&quot;Placement&quot;:&quot;Footer&quot;}">
            <a:extLst>
              <a:ext uri="{FF2B5EF4-FFF2-40B4-BE49-F238E27FC236}">
                <a16:creationId xmlns:a16="http://schemas.microsoft.com/office/drawing/2014/main" id="{A4A39B52-6E9F-4ED6-806E-7C7AC85D7C14}"/>
              </a:ext>
            </a:extLst>
          </p:cNvPr>
          <p:cNvSpPr txBox="1"/>
          <p:nvPr userDrawn="1"/>
        </p:nvSpPr>
        <p:spPr>
          <a:xfrm>
            <a:off x="0" y="6649884"/>
            <a:ext cx="1406068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Text" panose="020B0503020204020203" pitchFamily="34" charset="0"/>
                <a:ea typeface="+mn-ea"/>
                <a:cs typeface="Itau Text" panose="020B0503020204020203" pitchFamily="34" charset="0"/>
              </a:rPr>
              <a:t>Corporativo | Interno</a:t>
            </a:r>
          </a:p>
        </p:txBody>
      </p:sp>
      <p:sp>
        <p:nvSpPr>
          <p:cNvPr id="7" name="Título 1">
            <a:extLst>
              <a:ext uri="{FF2B5EF4-FFF2-40B4-BE49-F238E27FC236}">
                <a16:creationId xmlns:a16="http://schemas.microsoft.com/office/drawing/2014/main" id="{C153E15E-E186-4FF9-B747-912E983FA5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100" y="290175"/>
            <a:ext cx="8054090" cy="564265"/>
          </a:xfrm>
          <a:prstGeom prst="rect">
            <a:avLst/>
          </a:prstGeom>
        </p:spPr>
        <p:txBody>
          <a:bodyPr/>
          <a:lstStyle>
            <a:lvl1pPr>
              <a:lnSpc>
                <a:spcPct val="75000"/>
              </a:lnSpc>
              <a:spcBef>
                <a:spcPts val="0"/>
              </a:spcBef>
              <a:defRPr kumimoji="0" lang="pt-BR" sz="2800" b="0" i="0" u="none" strike="noStrike" kern="1200" cap="none" spc="0" normalizeH="0" baseline="0" dirty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  <a:cs typeface="Itau Display Heavy" panose="020B0803020204020204" pitchFamily="34" charset="0"/>
              </a:defRPr>
            </a:lvl1pPr>
          </a:lstStyle>
          <a:p>
            <a:pPr marL="0" marR="0" lvl="0" indent="0" algn="l" defTabSz="914411" rtl="0" eaLnBrk="1" fontAlgn="auto" latinLnBrk="0" hangingPunct="1">
              <a:lnSpc>
                <a:spcPct val="8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/>
              <a:t>Clique para editar o título Mestre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325F535E-1CF6-4ECC-AD98-61A3B74EA21C}"/>
              </a:ext>
            </a:extLst>
          </p:cNvPr>
          <p:cNvSpPr txBox="1"/>
          <p:nvPr userDrawn="1"/>
        </p:nvSpPr>
        <p:spPr>
          <a:xfrm>
            <a:off x="11103756" y="6415790"/>
            <a:ext cx="502626" cy="253658"/>
          </a:xfrm>
          <a:prstGeom prst="rect">
            <a:avLst/>
          </a:prstGeom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>
            <a:defPPr>
              <a:defRPr lang="pt-BR"/>
            </a:defPPr>
            <a:lvl1pPr algn="r">
              <a:defRPr sz="900" b="1">
                <a:solidFill>
                  <a:srgbClr val="606163"/>
                </a:solidFill>
              </a:defRPr>
            </a:lvl1pPr>
          </a:lstStyle>
          <a:p>
            <a:pPr lvl="0"/>
            <a:endParaRPr lang="en-US" altLang="pt-BR" sz="800" b="0">
              <a:solidFill>
                <a:srgbClr val="5F6062"/>
              </a:solidFill>
              <a:latin typeface="Itau Text" panose="020B0503020204020203" pitchFamily="34" charset="0"/>
              <a:cs typeface="Itau Text" panose="020B050302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684470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conteúdo antes e depoi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SIPCMContentMarking" descr="{&quot;HashCode&quot;:673120239,&quot;Placement&quot;:&quot;Footer&quot;,&quot;Top&quot;:520.68866,&quot;Left&quot;:0.0,&quot;SlideWidth&quot;:960,&quot;SlideHeight&quot;:540}">
            <a:extLst>
              <a:ext uri="{FF2B5EF4-FFF2-40B4-BE49-F238E27FC236}">
                <a16:creationId xmlns:a16="http://schemas.microsoft.com/office/drawing/2014/main" id="{D3935C14-8AC0-4770-B242-94A6ED315972}"/>
              </a:ext>
            </a:extLst>
          </p:cNvPr>
          <p:cNvSpPr txBox="1"/>
          <p:nvPr userDrawn="1"/>
        </p:nvSpPr>
        <p:spPr>
          <a:xfrm>
            <a:off x="0" y="6612746"/>
            <a:ext cx="1274605" cy="24525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pt-BR" sz="900">
                <a:solidFill>
                  <a:srgbClr val="000000"/>
                </a:solidFill>
                <a:latin typeface="Calibri" panose="020F0502020204030204" pitchFamily="34" charset="0"/>
              </a:rPr>
              <a:t>Corporativo | Interno</a:t>
            </a: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76250804-5F75-4337-A14E-BE11C2A8A60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9C44A3D5-6DF1-4DF1-8A0F-E842A127FB09}"/>
              </a:ext>
            </a:extLst>
          </p:cNvPr>
          <p:cNvSpPr/>
          <p:nvPr userDrawn="1"/>
        </p:nvSpPr>
        <p:spPr>
          <a:xfrm>
            <a:off x="6100997" y="0"/>
            <a:ext cx="6091004" cy="6858000"/>
          </a:xfrm>
          <a:prstGeom prst="rect">
            <a:avLst/>
          </a:prstGeom>
          <a:gradFill flip="none" rotWithShape="1">
            <a:gsLst>
              <a:gs pos="100000">
                <a:srgbClr val="FF7500"/>
              </a:gs>
              <a:gs pos="0">
                <a:srgbClr val="FD9D00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pt-BR">
              <a:solidFill>
                <a:schemeClr val="accent1"/>
              </a:solidFill>
            </a:endParaRP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CA4E05E4-6183-404F-AF5A-DE18919510CC}"/>
              </a:ext>
            </a:extLst>
          </p:cNvPr>
          <p:cNvSpPr/>
          <p:nvPr userDrawn="1"/>
        </p:nvSpPr>
        <p:spPr>
          <a:xfrm>
            <a:off x="0" y="322946"/>
            <a:ext cx="192506" cy="604154"/>
          </a:xfrm>
          <a:prstGeom prst="rect">
            <a:avLst/>
          </a:prstGeom>
          <a:gradFill flip="none" rotWithShape="1">
            <a:gsLst>
              <a:gs pos="100000">
                <a:srgbClr val="FF7500"/>
              </a:gs>
              <a:gs pos="0">
                <a:srgbClr val="FD9D00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pt-BR">
              <a:solidFill>
                <a:schemeClr val="accent1"/>
              </a:solidFill>
            </a:endParaRPr>
          </a:p>
        </p:txBody>
      </p:sp>
      <p:sp>
        <p:nvSpPr>
          <p:cNvPr id="23" name="Título 1">
            <a:extLst>
              <a:ext uri="{FF2B5EF4-FFF2-40B4-BE49-F238E27FC236}">
                <a16:creationId xmlns:a16="http://schemas.microsoft.com/office/drawing/2014/main" id="{2A14E4C4-AF0C-4795-B22D-DCA2D9CBE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474" y="290175"/>
            <a:ext cx="5614641" cy="564265"/>
          </a:xfrm>
          <a:prstGeom prst="rect">
            <a:avLst/>
          </a:prstGeom>
        </p:spPr>
        <p:txBody>
          <a:bodyPr anchor="t"/>
          <a:lstStyle>
            <a:lvl1pPr>
              <a:lnSpc>
                <a:spcPct val="75000"/>
              </a:lnSpc>
              <a:spcBef>
                <a:spcPts val="0"/>
              </a:spcBef>
              <a:defRPr kumimoji="0" lang="pt-BR" sz="2800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  <a:cs typeface="Itau Display Heavy" panose="020B0803020204020204" pitchFamily="34" charset="0"/>
              </a:defRPr>
            </a:lvl1pPr>
          </a:lstStyle>
          <a:p>
            <a:pPr marL="0" marR="0" lvl="0" indent="0" algn="l" defTabSz="914411" rtl="0" eaLnBrk="1" fontAlgn="auto" latinLnBrk="0" hangingPunct="1">
              <a:lnSpc>
                <a:spcPct val="8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/>
              <a:t>Clique para editar o título</a:t>
            </a:r>
          </a:p>
        </p:txBody>
      </p:sp>
      <p:sp>
        <p:nvSpPr>
          <p:cNvPr id="25" name="Espaço Reservado para Conteúdo 14">
            <a:extLst>
              <a:ext uri="{FF2B5EF4-FFF2-40B4-BE49-F238E27FC236}">
                <a16:creationId xmlns:a16="http://schemas.microsoft.com/office/drawing/2014/main" id="{1A8ABE9B-C4DC-430B-B17E-32299AFC15F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59960" y="59960"/>
            <a:ext cx="5868000" cy="2099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spc="300">
                <a:solidFill>
                  <a:schemeClr val="tx1"/>
                </a:solidFill>
                <a:latin typeface="Itau Text" panose="020B0503020204020203" pitchFamily="34" charset="0"/>
                <a:cs typeface="Itau Text" panose="020B0503020204020203" pitchFamily="34" charset="0"/>
              </a:defRPr>
            </a:lvl1pPr>
          </a:lstStyle>
          <a:p>
            <a:pPr lvl="0"/>
            <a:r>
              <a:rPr lang="pt-BR"/>
              <a:t>NOME DA SEÇÃO OU DA APRESENTAÇÃO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0396E5A8-8AEE-4608-877B-1A5C34973CCC}"/>
              </a:ext>
            </a:extLst>
          </p:cNvPr>
          <p:cNvSpPr txBox="1"/>
          <p:nvPr userDrawn="1"/>
        </p:nvSpPr>
        <p:spPr>
          <a:xfrm>
            <a:off x="11117998" y="6410465"/>
            <a:ext cx="502626" cy="230832"/>
          </a:xfrm>
          <a:prstGeom prst="rect">
            <a:avLst/>
          </a:prstGeom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>
            <a:defPPr>
              <a:defRPr lang="pt-BR"/>
            </a:defPPr>
            <a:lvl1pPr algn="r">
              <a:defRPr sz="900" b="1">
                <a:solidFill>
                  <a:srgbClr val="606163"/>
                </a:solidFill>
              </a:defRPr>
            </a:lvl1pPr>
          </a:lstStyle>
          <a:p>
            <a:pPr lvl="0"/>
            <a:endParaRPr lang="en-US" altLang="pt-BR" sz="800" b="0">
              <a:solidFill>
                <a:schemeClr val="bg1"/>
              </a:solidFill>
              <a:latin typeface="Itau Text" panose="020B0503020204020203" pitchFamily="34" charset="0"/>
              <a:cs typeface="Itau Text" panose="020B050302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3612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Agrupar 15">
            <a:extLst>
              <a:ext uri="{FF2B5EF4-FFF2-40B4-BE49-F238E27FC236}">
                <a16:creationId xmlns:a16="http://schemas.microsoft.com/office/drawing/2014/main" id="{05E38C21-5C3A-43C0-9D8B-795088476894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17" name="Imagem 16">
              <a:extLst>
                <a:ext uri="{FF2B5EF4-FFF2-40B4-BE49-F238E27FC236}">
                  <a16:creationId xmlns:a16="http://schemas.microsoft.com/office/drawing/2014/main" id="{14622861-1BB5-49AB-A497-716A5DF061B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20" name="Retângulo 19">
              <a:extLst>
                <a:ext uri="{FF2B5EF4-FFF2-40B4-BE49-F238E27FC236}">
                  <a16:creationId xmlns:a16="http://schemas.microsoft.com/office/drawing/2014/main" id="{33FBCBDF-738B-41C0-A236-402027597CD0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gradFill flip="none" rotWithShape="1">
              <a:gsLst>
                <a:gs pos="0">
                  <a:srgbClr val="797979">
                    <a:alpha val="15000"/>
                  </a:srgbClr>
                </a:gs>
                <a:gs pos="100000">
                  <a:schemeClr val="tx2">
                    <a:alpha val="7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>
                <a:solidFill>
                  <a:schemeClr val="accent1"/>
                </a:solidFill>
              </a:endParaRPr>
            </a:p>
          </p:txBody>
        </p:sp>
      </p:grp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BC643769-DB60-4A99-B124-47F4D4C39AB6}"/>
              </a:ext>
            </a:extLst>
          </p:cNvPr>
          <p:cNvSpPr txBox="1"/>
          <p:nvPr userDrawn="1"/>
        </p:nvSpPr>
        <p:spPr>
          <a:xfrm>
            <a:off x="838824" y="3022396"/>
            <a:ext cx="4460393" cy="11224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lnSpc>
                <a:spcPct val="75000"/>
              </a:lnSpc>
              <a:defRPr sz="8800">
                <a:ln w="25400">
                  <a:solidFill>
                    <a:schemeClr val="bg1"/>
                  </a:solidFill>
                </a:ln>
                <a:noFill/>
                <a:latin typeface="Itau Display Heavy" panose="020B0803020204020204" pitchFamily="34" charset="0"/>
                <a:cs typeface="Itau Display Heavy" panose="020B08030202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800" b="0" i="0" u="none" strike="noStrike" kern="1200" cap="none" spc="0" normalizeH="0" baseline="0" noProof="0">
                <a:ln w="25400">
                  <a:solidFill>
                    <a:prstClr val="white"/>
                  </a:solidFill>
                </a:ln>
                <a:noFill/>
                <a:effectLst/>
                <a:uLnTx/>
                <a:uFillTx/>
                <a:latin typeface="Itau Display Heavy" panose="020B0803020204020204" pitchFamily="34" charset="0"/>
                <a:ea typeface="+mn-ea"/>
                <a:cs typeface="Itau Display Heavy" panose="020B0803020204020204" pitchFamily="34" charset="0"/>
              </a:rPr>
              <a:t>Agenda</a:t>
            </a:r>
          </a:p>
        </p:txBody>
      </p:sp>
      <p:cxnSp>
        <p:nvCxnSpPr>
          <p:cNvPr id="21" name="Conector reto 20">
            <a:extLst>
              <a:ext uri="{FF2B5EF4-FFF2-40B4-BE49-F238E27FC236}">
                <a16:creationId xmlns:a16="http://schemas.microsoft.com/office/drawing/2014/main" id="{6834EC9B-2BF3-427F-B4C2-6BB512E89B1F}"/>
              </a:ext>
            </a:extLst>
          </p:cNvPr>
          <p:cNvCxnSpPr>
            <a:cxnSpLocks/>
          </p:cNvCxnSpPr>
          <p:nvPr/>
        </p:nvCxnSpPr>
        <p:spPr>
          <a:xfrm>
            <a:off x="5758915" y="990603"/>
            <a:ext cx="0" cy="4907277"/>
          </a:xfrm>
          <a:prstGeom prst="line">
            <a:avLst/>
          </a:prstGeom>
          <a:solidFill>
            <a:sysClr val="window" lastClr="FFFFFF"/>
          </a:solidFill>
          <a:ln w="50800" cap="rnd" cmpd="sng" algn="ctr">
            <a:solidFill>
              <a:schemeClr val="bg1">
                <a:alpha val="40000"/>
              </a:schemeClr>
            </a:solidFill>
            <a:prstDash val="solid"/>
            <a:round/>
          </a:ln>
          <a:effectLst/>
        </p:spPr>
      </p:cxnSp>
      <p:sp>
        <p:nvSpPr>
          <p:cNvPr id="30" name="Título 1">
            <a:extLst>
              <a:ext uri="{FF2B5EF4-FFF2-40B4-BE49-F238E27FC236}">
                <a16:creationId xmlns:a16="http://schemas.microsoft.com/office/drawing/2014/main" id="{E125E5D0-EFF4-47B0-A768-AD30E20175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00769" y="1144614"/>
            <a:ext cx="3976766" cy="56426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75000"/>
              </a:lnSpc>
              <a:spcBef>
                <a:spcPts val="0"/>
              </a:spcBef>
              <a:defRPr kumimoji="0" lang="pt-BR" sz="2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tau Display XBold" panose="020B0803020204020204" pitchFamily="34" charset="0"/>
                <a:ea typeface="+mn-ea"/>
                <a:cs typeface="Itau Display XBold" panose="020B08030202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consectetue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endParaRPr lang="pt-BR"/>
          </a:p>
        </p:txBody>
      </p:sp>
      <p:sp>
        <p:nvSpPr>
          <p:cNvPr id="31" name="Espaço Reservado para Texto 7">
            <a:extLst>
              <a:ext uri="{FF2B5EF4-FFF2-40B4-BE49-F238E27FC236}">
                <a16:creationId xmlns:a16="http://schemas.microsoft.com/office/drawing/2014/main" id="{A887BE0B-8608-4A26-9706-07B525F6284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147" y="4021713"/>
            <a:ext cx="4032000" cy="29967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pt-BR" sz="1600" b="0" kern="1200" dirty="0">
                <a:solidFill>
                  <a:schemeClr val="bg1"/>
                </a:solidFill>
                <a:latin typeface="Itau Display Light" panose="020B0403020204020204" pitchFamily="34" charset="0"/>
                <a:ea typeface="Itau Display Heavy" charset="0"/>
                <a:cs typeface="Itau Display Light" panose="020B0403020204020204" pitchFamily="34" charset="0"/>
              </a:defRPr>
            </a:lvl1pPr>
          </a:lstStyle>
          <a:p>
            <a:pPr marL="0" marR="0" lvl="0" indent="0" algn="l" defTabSz="914411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/>
              <a:t>XX de XXXXXX de XXXX</a:t>
            </a:r>
          </a:p>
        </p:txBody>
      </p:sp>
      <p:sp>
        <p:nvSpPr>
          <p:cNvPr id="32" name="Espaço Reservado para Texto 2">
            <a:extLst>
              <a:ext uri="{FF2B5EF4-FFF2-40B4-BE49-F238E27FC236}">
                <a16:creationId xmlns:a16="http://schemas.microsoft.com/office/drawing/2014/main" id="{23E2E3B1-46EE-4729-B58A-E245923BC3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91400" y="2484725"/>
            <a:ext cx="4038600" cy="5715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tau Display XBold" panose="020B0803020204020204" pitchFamily="34" charset="0"/>
                <a:ea typeface="+mn-ea"/>
                <a:cs typeface="Itau Display XBold" panose="020B08030202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consectetue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endParaRPr lang="pt-BR"/>
          </a:p>
        </p:txBody>
      </p:sp>
      <p:sp>
        <p:nvSpPr>
          <p:cNvPr id="33" name="Espaço Reservado para Texto 2">
            <a:extLst>
              <a:ext uri="{FF2B5EF4-FFF2-40B4-BE49-F238E27FC236}">
                <a16:creationId xmlns:a16="http://schemas.microsoft.com/office/drawing/2014/main" id="{4E1609CC-060E-4861-AC6B-1CF8C6CEE5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91400" y="3832071"/>
            <a:ext cx="4038600" cy="5715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tau Display XBold" panose="020B0803020204020204" pitchFamily="34" charset="0"/>
                <a:ea typeface="+mn-ea"/>
                <a:cs typeface="Itau Display XBold" panose="020B08030202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consectetue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endParaRPr lang="pt-BR"/>
          </a:p>
        </p:txBody>
      </p:sp>
      <p:sp>
        <p:nvSpPr>
          <p:cNvPr id="34" name="Espaço Reservado para Texto 2">
            <a:extLst>
              <a:ext uri="{FF2B5EF4-FFF2-40B4-BE49-F238E27FC236}">
                <a16:creationId xmlns:a16="http://schemas.microsoft.com/office/drawing/2014/main" id="{4D73D4FC-2A5B-4A1A-94AA-F810B721E5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91400" y="5179418"/>
            <a:ext cx="4038600" cy="5715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tau Display XBold" panose="020B0803020204020204" pitchFamily="34" charset="0"/>
                <a:ea typeface="+mn-ea"/>
                <a:cs typeface="Itau Display XBold" panose="020B08030202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 </a:t>
            </a:r>
            <a:r>
              <a:rPr lang="pt-BR" err="1"/>
              <a:t>consectetue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endParaRPr lang="pt-BR"/>
          </a:p>
        </p:txBody>
      </p:sp>
      <p:sp>
        <p:nvSpPr>
          <p:cNvPr id="18" name="Espaço Reservado para Texto 2">
            <a:extLst>
              <a:ext uri="{FF2B5EF4-FFF2-40B4-BE49-F238E27FC236}">
                <a16:creationId xmlns:a16="http://schemas.microsoft.com/office/drawing/2014/main" id="{7C58675A-50A3-479C-9DB8-E56AA433BB8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14101" y="1239292"/>
            <a:ext cx="778239" cy="5715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kumimoji="0" lang="pt-BR" sz="8800" b="0" i="0" u="none" strike="noStrike" kern="1200" cap="none" spc="0" normalizeH="0" baseline="0" dirty="0">
                <a:ln w="25400">
                  <a:solidFill>
                    <a:srgbClr val="47C3D3"/>
                  </a:solidFill>
                </a:ln>
                <a:noFill/>
                <a:effectLst/>
                <a:uLnTx/>
                <a:uFillTx/>
                <a:latin typeface="Itau Display Heavy" panose="020B0803020204020204" pitchFamily="34" charset="0"/>
                <a:ea typeface="+mn-ea"/>
                <a:cs typeface="Itau Display Heavy" panose="020B08030202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/>
              <a:t>1</a:t>
            </a:r>
          </a:p>
        </p:txBody>
      </p:sp>
      <p:sp>
        <p:nvSpPr>
          <p:cNvPr id="22" name="Espaço Reservado para Texto 2">
            <a:extLst>
              <a:ext uri="{FF2B5EF4-FFF2-40B4-BE49-F238E27FC236}">
                <a16:creationId xmlns:a16="http://schemas.microsoft.com/office/drawing/2014/main" id="{82097918-1E75-47D5-8911-B3570C1C5DA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14101" y="2610892"/>
            <a:ext cx="778239" cy="5715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kumimoji="0" lang="pt-BR" sz="8800" b="0" i="0" u="none" strike="noStrike" kern="1200" cap="none" spc="0" normalizeH="0" baseline="0" dirty="0">
                <a:ln w="25400">
                  <a:solidFill>
                    <a:srgbClr val="47C3D3"/>
                  </a:solidFill>
                </a:ln>
                <a:noFill/>
                <a:effectLst/>
                <a:uLnTx/>
                <a:uFillTx/>
                <a:latin typeface="Itau Display Heavy" panose="020B0803020204020204" pitchFamily="34" charset="0"/>
                <a:ea typeface="+mn-ea"/>
                <a:cs typeface="Itau Display Heavy" panose="020B08030202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/>
              <a:t>2</a:t>
            </a:r>
          </a:p>
        </p:txBody>
      </p:sp>
      <p:sp>
        <p:nvSpPr>
          <p:cNvPr id="23" name="Espaço Reservado para Texto 2">
            <a:extLst>
              <a:ext uri="{FF2B5EF4-FFF2-40B4-BE49-F238E27FC236}">
                <a16:creationId xmlns:a16="http://schemas.microsoft.com/office/drawing/2014/main" id="{FDDD97C8-1D33-482C-AD89-C6F585A269E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14101" y="3974996"/>
            <a:ext cx="778239" cy="5715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kumimoji="0" lang="pt-BR" sz="8800" b="0" i="0" u="none" strike="noStrike" kern="1200" cap="none" spc="0" normalizeH="0" baseline="0" dirty="0">
                <a:ln w="25400">
                  <a:solidFill>
                    <a:srgbClr val="47C3D3"/>
                  </a:solidFill>
                </a:ln>
                <a:noFill/>
                <a:effectLst/>
                <a:uLnTx/>
                <a:uFillTx/>
                <a:latin typeface="Itau Display Heavy" panose="020B0803020204020204" pitchFamily="34" charset="0"/>
                <a:ea typeface="+mn-ea"/>
                <a:cs typeface="Itau Display Heavy" panose="020B08030202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/>
              <a:t>3</a:t>
            </a:r>
          </a:p>
        </p:txBody>
      </p:sp>
      <p:sp>
        <p:nvSpPr>
          <p:cNvPr id="24" name="Espaço Reservado para Texto 2">
            <a:extLst>
              <a:ext uri="{FF2B5EF4-FFF2-40B4-BE49-F238E27FC236}">
                <a16:creationId xmlns:a16="http://schemas.microsoft.com/office/drawing/2014/main" id="{BF40757C-32B5-40EE-A1AB-05882A3F5DC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14101" y="5339101"/>
            <a:ext cx="778239" cy="5715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kumimoji="0" lang="pt-BR" sz="8800" b="0" i="0" u="none" strike="noStrike" kern="1200" cap="none" spc="0" normalizeH="0" baseline="0" dirty="0">
                <a:ln w="25400">
                  <a:solidFill>
                    <a:srgbClr val="47C3D3"/>
                  </a:solidFill>
                </a:ln>
                <a:noFill/>
                <a:effectLst/>
                <a:uLnTx/>
                <a:uFillTx/>
                <a:latin typeface="Itau Display Heavy" panose="020B0803020204020204" pitchFamily="34" charset="0"/>
                <a:ea typeface="+mn-ea"/>
                <a:cs typeface="Itau Display Heavy" panose="020B08030202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23467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 descr="Uma imagem contendo Interface gráfica do usuário&#10;&#10;Descrição gerada automaticamente">
            <a:extLst>
              <a:ext uri="{FF2B5EF4-FFF2-40B4-BE49-F238E27FC236}">
                <a16:creationId xmlns:a16="http://schemas.microsoft.com/office/drawing/2014/main" id="{16247D07-1BDA-66A8-B268-230F1531FB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3"/>
          <a:stretch/>
        </p:blipFill>
        <p:spPr>
          <a:xfrm>
            <a:off x="3" y="0"/>
            <a:ext cx="12191998" cy="6858000"/>
          </a:xfrm>
          <a:prstGeom prst="rect">
            <a:avLst/>
          </a:prstGeom>
        </p:spPr>
      </p:pic>
      <p:sp>
        <p:nvSpPr>
          <p:cNvPr id="9" name="Retângulo 8">
            <a:extLst>
              <a:ext uri="{FF2B5EF4-FFF2-40B4-BE49-F238E27FC236}">
                <a16:creationId xmlns:a16="http://schemas.microsoft.com/office/drawing/2014/main" id="{BAFD69D0-7013-4E5F-B675-3E5E1EBE2F31}"/>
              </a:ext>
            </a:extLst>
          </p:cNvPr>
          <p:cNvSpPr/>
          <p:nvPr userDrawn="1"/>
        </p:nvSpPr>
        <p:spPr>
          <a:xfrm>
            <a:off x="8936181" y="249382"/>
            <a:ext cx="3255819" cy="3179618"/>
          </a:xfrm>
          <a:prstGeom prst="rect">
            <a:avLst/>
          </a:prstGeom>
          <a:solidFill>
            <a:srgbClr val="0048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1"/>
          </a:p>
        </p:txBody>
      </p:sp>
    </p:spTree>
    <p:extLst>
      <p:ext uri="{BB962C8B-B14F-4D97-AF65-F5344CB8AC3E}">
        <p14:creationId xmlns:p14="http://schemas.microsoft.com/office/powerpoint/2010/main" val="53396016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Uma imagem contendo Interface gráfica do usuário&#10;&#10;Descrição gerada automaticamente">
            <a:extLst>
              <a:ext uri="{FF2B5EF4-FFF2-40B4-BE49-F238E27FC236}">
                <a16:creationId xmlns:a16="http://schemas.microsoft.com/office/drawing/2014/main" id="{FE91477C-DF31-038B-8FC0-E1A11F3F76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92" t="17778" r="73593"/>
          <a:stretch/>
        </p:blipFill>
        <p:spPr>
          <a:xfrm>
            <a:off x="1" y="1219200"/>
            <a:ext cx="1114295" cy="5638800"/>
          </a:xfrm>
          <a:prstGeom prst="rect">
            <a:avLst/>
          </a:prstGeom>
        </p:spPr>
      </p:pic>
      <p:sp>
        <p:nvSpPr>
          <p:cNvPr id="8" name="Retângulo 7">
            <a:extLst>
              <a:ext uri="{FF2B5EF4-FFF2-40B4-BE49-F238E27FC236}">
                <a16:creationId xmlns:a16="http://schemas.microsoft.com/office/drawing/2014/main" id="{E808E809-FF0E-BE52-2FC8-EDB5E36C27ED}"/>
              </a:ext>
            </a:extLst>
          </p:cNvPr>
          <p:cNvSpPr/>
          <p:nvPr userDrawn="1"/>
        </p:nvSpPr>
        <p:spPr>
          <a:xfrm>
            <a:off x="1" y="0"/>
            <a:ext cx="1114295" cy="5140036"/>
          </a:xfrm>
          <a:prstGeom prst="rect">
            <a:avLst/>
          </a:prstGeom>
          <a:solidFill>
            <a:srgbClr val="EC740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1"/>
          </a:p>
        </p:txBody>
      </p:sp>
      <p:pic>
        <p:nvPicPr>
          <p:cNvPr id="10" name="Imagem 9" descr="Uma imagem contendo Interface gráfica do usuário&#10;&#10;Descrição gerada automaticamente">
            <a:extLst>
              <a:ext uri="{FF2B5EF4-FFF2-40B4-BE49-F238E27FC236}">
                <a16:creationId xmlns:a16="http://schemas.microsoft.com/office/drawing/2014/main" id="{BC46F3F2-C13E-C40C-B0C3-F6C83DD420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4" t="37374" r="81374" b="45656"/>
          <a:stretch/>
        </p:blipFill>
        <p:spPr>
          <a:xfrm>
            <a:off x="90050" y="6082143"/>
            <a:ext cx="1024245" cy="637308"/>
          </a:xfrm>
          <a:prstGeom prst="rect">
            <a:avLst/>
          </a:prstGeom>
        </p:spPr>
      </p:pic>
      <p:pic>
        <p:nvPicPr>
          <p:cNvPr id="11" name="Imagem 10" descr="Uma imagem contendo Interface gráfica do usuário&#10;&#10;Descrição gerada automaticamente">
            <a:extLst>
              <a:ext uri="{FF2B5EF4-FFF2-40B4-BE49-F238E27FC236}">
                <a16:creationId xmlns:a16="http://schemas.microsoft.com/office/drawing/2014/main" id="{3D2E7236-173F-A90D-1BEF-9DAC3A02A8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0" t="2934" r="92653" b="88255"/>
          <a:stretch/>
        </p:blipFill>
        <p:spPr>
          <a:xfrm>
            <a:off x="90052" y="5176872"/>
            <a:ext cx="775854" cy="766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133576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padrão (opção 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>
            <a:extLst>
              <a:ext uri="{FF2B5EF4-FFF2-40B4-BE49-F238E27FC236}">
                <a16:creationId xmlns:a16="http://schemas.microsoft.com/office/drawing/2014/main" id="{EB4768FA-ACB0-44DB-9AE5-AB67DA4E5552}"/>
              </a:ext>
            </a:extLst>
          </p:cNvPr>
          <p:cNvSpPr/>
          <p:nvPr userDrawn="1"/>
        </p:nvSpPr>
        <p:spPr>
          <a:xfrm>
            <a:off x="2" y="0"/>
            <a:ext cx="12192000" cy="864000"/>
          </a:xfrm>
          <a:prstGeom prst="rect">
            <a:avLst/>
          </a:prstGeom>
          <a:solidFill>
            <a:srgbClr val="FF6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1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ítulo 1">
            <a:extLst>
              <a:ext uri="{FF2B5EF4-FFF2-40B4-BE49-F238E27FC236}">
                <a16:creationId xmlns:a16="http://schemas.microsoft.com/office/drawing/2014/main" id="{FB196D29-0715-427D-AAF6-F806FB5284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4131" y="173505"/>
            <a:ext cx="8990660" cy="59002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2800">
                <a:solidFill>
                  <a:schemeClr val="bg1"/>
                </a:solidFill>
                <a:latin typeface="Itau Display XBold" panose="020B0803020204020204" pitchFamily="34" charset="0"/>
                <a:cs typeface="Itau Display XBold" panose="020B0803020204020204" pitchFamily="34" charset="0"/>
              </a:defRPr>
            </a:lvl1pPr>
          </a:lstStyle>
          <a:p>
            <a:endParaRPr lang="pt-BR"/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DC622644-5DDB-0390-D626-5704559C43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640"/>
            <a:ext cx="1776558" cy="861361"/>
          </a:xfrm>
          <a:prstGeom prst="rect">
            <a:avLst/>
          </a:prstGeom>
        </p:spPr>
      </p:pic>
      <p:pic>
        <p:nvPicPr>
          <p:cNvPr id="8" name="Gráfico 7" descr="Círculos com setas com preenchimento sólido">
            <a:extLst>
              <a:ext uri="{FF2B5EF4-FFF2-40B4-BE49-F238E27FC236}">
                <a16:creationId xmlns:a16="http://schemas.microsoft.com/office/drawing/2014/main" id="{1754CC30-6701-EEC7-C0C8-88F117A32A1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91637" y="-13855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0215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68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52568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drã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19">
            <a:extLst>
              <a:ext uri="{FF2B5EF4-FFF2-40B4-BE49-F238E27FC236}">
                <a16:creationId xmlns:a16="http://schemas.microsoft.com/office/drawing/2014/main" id="{1C335CED-F054-CF00-C96E-C1BA7B7CC803}"/>
              </a:ext>
            </a:extLst>
          </p:cNvPr>
          <p:cNvSpPr>
            <a:spLocks noGrp="1"/>
          </p:cNvSpPr>
          <p:nvPr userDrawn="1">
            <p:ph type="body" sz="quarter" idx="59" hasCustomPrompt="1"/>
          </p:nvPr>
        </p:nvSpPr>
        <p:spPr>
          <a:xfrm>
            <a:off x="469899" y="281953"/>
            <a:ext cx="11243470" cy="45858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800">
                <a:solidFill>
                  <a:srgbClr val="000000"/>
                </a:solidFill>
                <a:latin typeface="Itau Display Pro Bold" panose="020B0703020204020204" pitchFamily="34" charset="0"/>
                <a:cs typeface="Itau Display Pro Bold" panose="020B0703020204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Clique para inserir o título</a:t>
            </a:r>
          </a:p>
        </p:txBody>
      </p:sp>
      <p:sp>
        <p:nvSpPr>
          <p:cNvPr id="5" name="Espaço Reservado para Texto 19">
            <a:extLst>
              <a:ext uri="{FF2B5EF4-FFF2-40B4-BE49-F238E27FC236}">
                <a16:creationId xmlns:a16="http://schemas.microsoft.com/office/drawing/2014/main" id="{7E0455B5-6709-8F10-9D8E-7FB46D385688}"/>
              </a:ext>
            </a:extLst>
          </p:cNvPr>
          <p:cNvSpPr>
            <a:spLocks noGrp="1"/>
          </p:cNvSpPr>
          <p:nvPr userDrawn="1">
            <p:ph type="body" sz="quarter" idx="60" hasCustomPrompt="1"/>
          </p:nvPr>
        </p:nvSpPr>
        <p:spPr>
          <a:xfrm>
            <a:off x="469900" y="748264"/>
            <a:ext cx="11243469" cy="32778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lang="pt-BR" sz="1800">
                <a:solidFill>
                  <a:schemeClr val="tx1"/>
                </a:solidFill>
                <a:latin typeface="+mn-lt"/>
                <a:cs typeface="Itau Display Pro Light" panose="020B0403020204020204" pitchFamily="34" charset="0"/>
              </a:defRPr>
            </a:lvl1pPr>
          </a:lstStyle>
          <a:p>
            <a:pPr marL="228600" lvl="0" indent="-228600">
              <a:lnSpc>
                <a:spcPct val="85000"/>
              </a:lnSpc>
              <a:spcBef>
                <a:spcPts val="0"/>
              </a:spcBef>
            </a:pPr>
            <a:r>
              <a:rPr lang="pt-BR"/>
              <a:t>Clique para inserir o subtítulo</a:t>
            </a:r>
          </a:p>
        </p:txBody>
      </p:sp>
    </p:spTree>
    <p:extLst>
      <p:ext uri="{BB962C8B-B14F-4D97-AF65-F5344CB8AC3E}">
        <p14:creationId xmlns:p14="http://schemas.microsoft.com/office/powerpoint/2010/main" val="2128700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09780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63C0F28-247B-306F-B565-8CE2C73521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5E07AF42-7195-015B-D441-D0E69FBEF9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A9B224-8366-4B39-972B-4F45DF55BDB4}" type="datetimeFigureOut">
              <a:rPr lang="pt-BR" smtClean="0"/>
              <a:t>06/08/2024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3337457-0C81-8710-4EBD-E97FE92427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E98D8A92-E97B-C6C6-9FA9-D74134CDC3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AB19DD-0A0E-49A7-A952-DA7ACF3991C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500327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FDCC3EDF-C202-7FB8-3269-ADC652629C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A9B224-8366-4B39-972B-4F45DF55BDB4}" type="datetimeFigureOut">
              <a:rPr lang="pt-BR" smtClean="0"/>
              <a:t>06/08/2024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27A60061-3F59-D855-112A-F10125D593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E7123F30-3BD1-D8E3-C38C-32E8074D27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AB19DD-0A0E-49A7-A952-DA7ACF3991C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169674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0927704-647A-A60C-9EA8-E5A5EDCF4F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D8E6C2CA-2CC2-405B-5BAE-DC0D99772F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B8FD2E94-A577-3C54-8319-81FD76DB7E7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7E28F822-A092-FC4B-7FE0-74B2A03DD2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A9B224-8366-4B39-972B-4F45DF55BDB4}" type="datetimeFigureOut">
              <a:rPr lang="pt-BR" smtClean="0"/>
              <a:t>06/08/2024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F4FF21AF-B593-CFF2-9B69-F22ACBEB42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FEA30F37-E604-ACC3-EEA2-26DDD8B568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AB19DD-0A0E-49A7-A952-DA7ACF3991C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258349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9A19DD3-0BCD-6A53-F2BD-CECA85B7BE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99B1D089-3848-45DB-8805-2C1A777754E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0AAF79A6-36C2-441C-F90C-EEDB4BD0EC5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B89906C4-11B2-33A6-F74D-96ACBEB605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A9B224-8366-4B39-972B-4F45DF55BDB4}" type="datetimeFigureOut">
              <a:rPr lang="pt-BR" smtClean="0"/>
              <a:t>06/08/2024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63C408CE-87C1-040D-E3AB-4B53B51A50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3DDA31E7-49C8-3484-3F88-FC7DED9D1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AB19DD-0A0E-49A7-A952-DA7ACF3991C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901789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38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5" Type="http://schemas.openxmlformats.org/officeDocument/2006/relationships/slideLayout" Target="../slideLayouts/slideLayout42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slideLayout" Target="../slideLayouts/slideLayout37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24" Type="http://schemas.openxmlformats.org/officeDocument/2006/relationships/slideLayout" Target="../slideLayouts/slideLayout41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23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27.xml"/><Relationship Id="rId19" Type="http://schemas.openxmlformats.org/officeDocument/2006/relationships/slideLayout" Target="../slideLayouts/slideLayout36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slideLayout" Target="../slideLayouts/slideLayout3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69BAE633-170A-008C-07FC-53E5ABF6F3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6A53AEB9-255E-D0C7-3BEC-8B78CCB8C9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79E8F07-6432-BAD4-A298-AA2C369979A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EA9B224-8366-4B39-972B-4F45DF55BDB4}" type="datetimeFigureOut">
              <a:rPr lang="pt-BR" smtClean="0"/>
              <a:t>06/08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71819FF4-988C-D663-E0F9-A2F1EE5647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CF187519-7214-002D-0BC3-B8BC44777D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1AB19DD-0A0E-49A7-A952-DA7ACF3991C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18146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4" r:id="rId14"/>
    <p:sldLayoutId id="2147483665" r:id="rId15"/>
    <p:sldLayoutId id="2147483666" r:id="rId16"/>
    <p:sldLayoutId id="2147483712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9270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81" r:id="rId14"/>
    <p:sldLayoutId id="2147483682" r:id="rId15"/>
    <p:sldLayoutId id="2147483683" r:id="rId16"/>
    <p:sldLayoutId id="2147483684" r:id="rId17"/>
    <p:sldLayoutId id="2147483685" r:id="rId18"/>
    <p:sldLayoutId id="2147483686" r:id="rId19"/>
    <p:sldLayoutId id="2147483687" r:id="rId20"/>
    <p:sldLayoutId id="2147483688" r:id="rId21"/>
    <p:sldLayoutId id="2147483689" r:id="rId22"/>
    <p:sldLayoutId id="2147483690" r:id="rId23"/>
    <p:sldLayoutId id="2147483691" r:id="rId24"/>
    <p:sldLayoutId id="2147483692" r:id="rId2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SIPCMContentMarking" descr="{&quot;HashCode&quot;:673120239,&quot;Placement&quot;:&quot;Footer&quot;,&quot;Top&quot;:520.68866,&quot;Left&quot;:0.0,&quot;SlideWidth&quot;:960,&quot;SlideHeight&quot;:540}">
            <a:extLst>
              <a:ext uri="{FF2B5EF4-FFF2-40B4-BE49-F238E27FC236}">
                <a16:creationId xmlns:a16="http://schemas.microsoft.com/office/drawing/2014/main" id="{D17DF65B-AB1F-4159-9CA1-787040908647}"/>
              </a:ext>
            </a:extLst>
          </p:cNvPr>
          <p:cNvSpPr txBox="1"/>
          <p:nvPr userDrawn="1"/>
        </p:nvSpPr>
        <p:spPr>
          <a:xfrm>
            <a:off x="0" y="6612746"/>
            <a:ext cx="1274605" cy="24525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pt-BR" sz="900">
                <a:solidFill>
                  <a:srgbClr val="000000"/>
                </a:solidFill>
                <a:latin typeface="Calibri" panose="020F0502020204030204" pitchFamily="34" charset="0"/>
              </a:rPr>
              <a:t>Corporativo | Interno</a:t>
            </a: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C04AAAA6-8C0A-4990-8626-0E502A958347}"/>
              </a:ext>
            </a:extLst>
          </p:cNvPr>
          <p:cNvSpPr/>
          <p:nvPr userDrawn="1"/>
        </p:nvSpPr>
        <p:spPr>
          <a:xfrm>
            <a:off x="0" y="322946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MSIPCMContentMarking" descr="{&quot;HashCode&quot;:1316756096,&quot;Placement&quot;:&quot;Footer&quot;}">
            <a:extLst>
              <a:ext uri="{FF2B5EF4-FFF2-40B4-BE49-F238E27FC236}">
                <a16:creationId xmlns:a16="http://schemas.microsoft.com/office/drawing/2014/main" id="{D6F7AC98-6E59-48B1-B059-B0A195545D63}"/>
              </a:ext>
            </a:extLst>
          </p:cNvPr>
          <p:cNvSpPr txBox="1"/>
          <p:nvPr/>
        </p:nvSpPr>
        <p:spPr>
          <a:xfrm>
            <a:off x="0" y="6649884"/>
            <a:ext cx="1406068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Itau Text" panose="020B0503020204020203" pitchFamily="34" charset="0"/>
                <a:ea typeface="+mn-ea"/>
                <a:cs typeface="Itau Text" panose="020B0503020204020203" pitchFamily="34" charset="0"/>
              </a:rPr>
              <a:t>Corporativo | Interno</a:t>
            </a: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97BCF8B7-A32F-42D5-818C-C0AFD640DACB}"/>
              </a:ext>
            </a:extLst>
          </p:cNvPr>
          <p:cNvSpPr/>
          <p:nvPr userDrawn="1"/>
        </p:nvSpPr>
        <p:spPr>
          <a:xfrm>
            <a:off x="0" y="322946"/>
            <a:ext cx="192506" cy="604154"/>
          </a:xfrm>
          <a:prstGeom prst="rect">
            <a:avLst/>
          </a:prstGeom>
          <a:gradFill flip="none" rotWithShape="1">
            <a:gsLst>
              <a:gs pos="100000">
                <a:srgbClr val="FF7500"/>
              </a:gs>
              <a:gs pos="0">
                <a:srgbClr val="FD9D00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3193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1" r:id="rId16"/>
    <p:sldLayoutId id="2147483713" r:id="rId1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gif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26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29.png"/><Relationship Id="rId4" Type="http://schemas.openxmlformats.org/officeDocument/2006/relationships/image" Target="../media/image2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gif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7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chart" Target="../charts/chart2.xml"/><Relationship Id="rId7" Type="http://schemas.openxmlformats.org/officeDocument/2006/relationships/chart" Target="../charts/chart6.xml"/><Relationship Id="rId12" Type="http://schemas.openxmlformats.org/officeDocument/2006/relationships/chart" Target="../charts/chart10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9.xml"/><Relationship Id="rId6" Type="http://schemas.openxmlformats.org/officeDocument/2006/relationships/chart" Target="../charts/chart5.xml"/><Relationship Id="rId11" Type="http://schemas.openxmlformats.org/officeDocument/2006/relationships/image" Target="../media/image32.png"/><Relationship Id="rId5" Type="http://schemas.openxmlformats.org/officeDocument/2006/relationships/chart" Target="../charts/chart4.xml"/><Relationship Id="rId10" Type="http://schemas.openxmlformats.org/officeDocument/2006/relationships/chart" Target="../charts/chart9.xml"/><Relationship Id="rId4" Type="http://schemas.openxmlformats.org/officeDocument/2006/relationships/chart" Target="../charts/chart3.xml"/><Relationship Id="rId9" Type="http://schemas.openxmlformats.org/officeDocument/2006/relationships/chart" Target="../charts/chart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7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42.png"/><Relationship Id="rId18" Type="http://schemas.openxmlformats.org/officeDocument/2006/relationships/hyperlink" Target="https://iconectados.sharepoint.com/:b:/r/sites/GPM1/Shared%20Documents/Squad%20Clientes/Personas/personas%20-%20pj.pdf?csf=1&amp;web=1&amp;e=fwQXVC" TargetMode="External"/><Relationship Id="rId3" Type="http://schemas.microsoft.com/office/2018/10/relationships/comments" Target="../comments/modernComment_7FFFD5FF_EE8FD724.xml"/><Relationship Id="rId7" Type="http://schemas.openxmlformats.org/officeDocument/2006/relationships/image" Target="../media/image36.png"/><Relationship Id="rId12" Type="http://schemas.openxmlformats.org/officeDocument/2006/relationships/image" Target="../media/image41.png"/><Relationship Id="rId17" Type="http://schemas.openxmlformats.org/officeDocument/2006/relationships/image" Target="../media/image46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45.png"/><Relationship Id="rId20" Type="http://schemas.openxmlformats.org/officeDocument/2006/relationships/image" Target="../media/image48.svg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35.svg"/><Relationship Id="rId11" Type="http://schemas.openxmlformats.org/officeDocument/2006/relationships/image" Target="../media/image40.png"/><Relationship Id="rId5" Type="http://schemas.openxmlformats.org/officeDocument/2006/relationships/image" Target="../media/image34.png"/><Relationship Id="rId15" Type="http://schemas.openxmlformats.org/officeDocument/2006/relationships/image" Target="../media/image44.png"/><Relationship Id="rId10" Type="http://schemas.openxmlformats.org/officeDocument/2006/relationships/image" Target="../media/image39.png"/><Relationship Id="rId19" Type="http://schemas.openxmlformats.org/officeDocument/2006/relationships/image" Target="../media/image47.png"/><Relationship Id="rId4" Type="http://schemas.openxmlformats.org/officeDocument/2006/relationships/hyperlink" Target="https://iconectados.sharepoint.com/:b:/r/sites/GPM1/Shared%20Documents/Squad%20Clientes/Personas/personas%20-%20pf.pdf?csf=1&amp;web=1&amp;e=ZA6j2a" TargetMode="External"/><Relationship Id="rId9" Type="http://schemas.openxmlformats.org/officeDocument/2006/relationships/image" Target="../media/image38.png"/><Relationship Id="rId14" Type="http://schemas.openxmlformats.org/officeDocument/2006/relationships/image" Target="../media/image43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6.xml"/><Relationship Id="rId4" Type="http://schemas.openxmlformats.org/officeDocument/2006/relationships/chart" Target="../charts/chart1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53.sv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53.sv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microsoft.com/office/2018/10/relationships/comments" Target="../comments/modernComment_7FFFD5DD_D5B8D47B.xml"/><Relationship Id="rId7" Type="http://schemas.openxmlformats.org/officeDocument/2006/relationships/image" Target="../media/image58.png"/><Relationship Id="rId12" Type="http://schemas.openxmlformats.org/officeDocument/2006/relationships/image" Target="../media/image6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57.png"/><Relationship Id="rId11" Type="http://schemas.openxmlformats.org/officeDocument/2006/relationships/image" Target="../media/image62.png"/><Relationship Id="rId5" Type="http://schemas.openxmlformats.org/officeDocument/2006/relationships/image" Target="../media/image56.png"/><Relationship Id="rId10" Type="http://schemas.openxmlformats.org/officeDocument/2006/relationships/image" Target="../media/image61.png"/><Relationship Id="rId4" Type="http://schemas.openxmlformats.org/officeDocument/2006/relationships/image" Target="../media/image55.png"/><Relationship Id="rId9" Type="http://schemas.openxmlformats.org/officeDocument/2006/relationships/image" Target="../media/image60.pn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6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8.xml"/><Relationship Id="rId5" Type="http://schemas.openxmlformats.org/officeDocument/2006/relationships/image" Target="../media/image66.png"/><Relationship Id="rId4" Type="http://schemas.openxmlformats.org/officeDocument/2006/relationships/image" Target="../media/image65.sv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8.xml"/><Relationship Id="rId5" Type="http://schemas.openxmlformats.org/officeDocument/2006/relationships/image" Target="../media/image66.png"/><Relationship Id="rId4" Type="http://schemas.openxmlformats.org/officeDocument/2006/relationships/image" Target="../media/image65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13" Type="http://schemas.openxmlformats.org/officeDocument/2006/relationships/image" Target="../media/image73.png"/><Relationship Id="rId3" Type="http://schemas.openxmlformats.org/officeDocument/2006/relationships/video" Target="../media/media1.mp4"/><Relationship Id="rId7" Type="http://schemas.openxmlformats.org/officeDocument/2006/relationships/image" Target="../media/image67.emf"/><Relationship Id="rId12" Type="http://schemas.openxmlformats.org/officeDocument/2006/relationships/image" Target="../media/image72.png"/><Relationship Id="rId2" Type="http://schemas.microsoft.com/office/2007/relationships/media" Target="../media/media1.mp4"/><Relationship Id="rId1" Type="http://schemas.openxmlformats.org/officeDocument/2006/relationships/tags" Target="../tags/tag1.x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71.png"/><Relationship Id="rId5" Type="http://schemas.openxmlformats.org/officeDocument/2006/relationships/notesSlide" Target="../notesSlides/notesSlide16.xml"/><Relationship Id="rId15" Type="http://schemas.openxmlformats.org/officeDocument/2006/relationships/image" Target="../media/image75.png"/><Relationship Id="rId10" Type="http://schemas.openxmlformats.org/officeDocument/2006/relationships/image" Target="../media/image70.png"/><Relationship Id="rId4" Type="http://schemas.openxmlformats.org/officeDocument/2006/relationships/slideLayout" Target="../slideLayouts/slideLayout58.xml"/><Relationship Id="rId9" Type="http://schemas.openxmlformats.org/officeDocument/2006/relationships/image" Target="../media/image69.png"/><Relationship Id="rId14" Type="http://schemas.openxmlformats.org/officeDocument/2006/relationships/image" Target="../media/image74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77.svg"/><Relationship Id="rId2" Type="http://schemas.openxmlformats.org/officeDocument/2006/relationships/slideLayout" Target="../slideLayouts/slideLayout58.xml"/><Relationship Id="rId1" Type="http://schemas.openxmlformats.org/officeDocument/2006/relationships/tags" Target="../tags/tag2.xml"/><Relationship Id="rId6" Type="http://schemas.openxmlformats.org/officeDocument/2006/relationships/image" Target="../media/image76.png"/><Relationship Id="rId11" Type="http://schemas.openxmlformats.org/officeDocument/2006/relationships/image" Target="../media/image81.jpeg"/><Relationship Id="rId5" Type="http://schemas.openxmlformats.org/officeDocument/2006/relationships/image" Target="../media/image67.emf"/><Relationship Id="rId10" Type="http://schemas.openxmlformats.org/officeDocument/2006/relationships/image" Target="../media/image80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79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em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9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83.png"/><Relationship Id="rId4" Type="http://schemas.openxmlformats.org/officeDocument/2006/relationships/image" Target="../media/image26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jpeg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86.jpe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image" Target="../media/image88.png"/><Relationship Id="rId7" Type="http://schemas.openxmlformats.org/officeDocument/2006/relationships/diagramQuickStyle" Target="../diagrams/quickStyle1.xml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42.xml"/><Relationship Id="rId6" Type="http://schemas.openxmlformats.org/officeDocument/2006/relationships/diagramLayout" Target="../diagrams/layout1.xml"/><Relationship Id="rId11" Type="http://schemas.openxmlformats.org/officeDocument/2006/relationships/image" Target="../media/image91.png"/><Relationship Id="rId5" Type="http://schemas.openxmlformats.org/officeDocument/2006/relationships/diagramData" Target="../diagrams/data1.xml"/><Relationship Id="rId10" Type="http://schemas.openxmlformats.org/officeDocument/2006/relationships/image" Target="../media/image90.png"/><Relationship Id="rId4" Type="http://schemas.openxmlformats.org/officeDocument/2006/relationships/image" Target="../media/image89.png"/><Relationship Id="rId9" Type="http://schemas.microsoft.com/office/2007/relationships/diagramDrawing" Target="../diagrams/drawing1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13" Type="http://schemas.openxmlformats.org/officeDocument/2006/relationships/image" Target="../media/image103.png"/><Relationship Id="rId18" Type="http://schemas.openxmlformats.org/officeDocument/2006/relationships/image" Target="../media/image108.png"/><Relationship Id="rId3" Type="http://schemas.openxmlformats.org/officeDocument/2006/relationships/image" Target="../media/image93.png"/><Relationship Id="rId7" Type="http://schemas.openxmlformats.org/officeDocument/2006/relationships/image" Target="../media/image97.png"/><Relationship Id="rId12" Type="http://schemas.openxmlformats.org/officeDocument/2006/relationships/image" Target="../media/image102.png"/><Relationship Id="rId17" Type="http://schemas.openxmlformats.org/officeDocument/2006/relationships/image" Target="../media/image107.jpeg"/><Relationship Id="rId2" Type="http://schemas.openxmlformats.org/officeDocument/2006/relationships/image" Target="../media/image92.png"/><Relationship Id="rId16" Type="http://schemas.openxmlformats.org/officeDocument/2006/relationships/image" Target="../media/image106.png"/><Relationship Id="rId20" Type="http://schemas.openxmlformats.org/officeDocument/2006/relationships/image" Target="../media/image110.png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96.png"/><Relationship Id="rId11" Type="http://schemas.openxmlformats.org/officeDocument/2006/relationships/image" Target="../media/image101.png"/><Relationship Id="rId5" Type="http://schemas.openxmlformats.org/officeDocument/2006/relationships/image" Target="../media/image95.png"/><Relationship Id="rId15" Type="http://schemas.openxmlformats.org/officeDocument/2006/relationships/image" Target="../media/image105.png"/><Relationship Id="rId10" Type="http://schemas.openxmlformats.org/officeDocument/2006/relationships/image" Target="../media/image100.png"/><Relationship Id="rId19" Type="http://schemas.openxmlformats.org/officeDocument/2006/relationships/image" Target="../media/image109.png"/><Relationship Id="rId4" Type="http://schemas.openxmlformats.org/officeDocument/2006/relationships/image" Target="../media/image94.png"/><Relationship Id="rId9" Type="http://schemas.openxmlformats.org/officeDocument/2006/relationships/image" Target="../media/image99.png"/><Relationship Id="rId14" Type="http://schemas.openxmlformats.org/officeDocument/2006/relationships/image" Target="../media/image104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4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2.jpeg"/><Relationship Id="rId1" Type="http://schemas.openxmlformats.org/officeDocument/2006/relationships/slideLayout" Target="../slideLayouts/slideLayout14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14.jpe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16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8"/>
          <p:cNvSpPr/>
          <p:nvPr/>
        </p:nvSpPr>
        <p:spPr>
          <a:xfrm>
            <a:off x="7170445" y="2403951"/>
            <a:ext cx="4805532" cy="30469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00"/>
              <a:buFont typeface="Arial"/>
              <a:buNone/>
            </a:pPr>
            <a:r>
              <a:rPr lang="pt-BR" sz="4000" b="1" i="0" u="none" strike="noStrike" cap="none" dirty="0">
                <a:solidFill>
                  <a:srgbClr val="8F53FF"/>
                </a:solidFill>
                <a:latin typeface="Poppins"/>
                <a:ea typeface="Poppins"/>
                <a:cs typeface="Poppins"/>
                <a:sym typeface="Poppins"/>
              </a:rPr>
              <a:t>Experiência do Cliente no Centro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00"/>
              <a:buFont typeface="Arial"/>
              <a:buNone/>
            </a:pPr>
            <a:r>
              <a:rPr lang="pt-BR" sz="2400" b="1" dirty="0">
                <a:solidFill>
                  <a:srgbClr val="8F53FF"/>
                </a:solidFill>
                <a:highlight>
                  <a:srgbClr val="00FF00"/>
                </a:highlight>
                <a:latin typeface="Poppins Light" panose="00000400000000000000" pitchFamily="2" charset="0"/>
                <a:ea typeface="Poppins"/>
                <a:cs typeface="Poppins Light" panose="00000400000000000000" pitchFamily="2" charset="0"/>
                <a:sym typeface="Poppins"/>
              </a:rPr>
              <a:t>Processo de melhoria contínua com foco em Satisfação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00"/>
              <a:buFont typeface="Arial"/>
              <a:buNone/>
            </a:pPr>
            <a:endParaRPr lang="pt-BR" sz="4000" b="1" dirty="0">
              <a:solidFill>
                <a:srgbClr val="8F53FF"/>
              </a:solidFill>
              <a:highlight>
                <a:srgbClr val="00FF00"/>
              </a:highlight>
              <a:latin typeface="Poppins"/>
              <a:ea typeface="Poppins"/>
              <a:cs typeface="Poppins"/>
              <a:sym typeface="Poppins"/>
            </a:endParaRPr>
          </a:p>
        </p:txBody>
      </p:sp>
      <p:pic>
        <p:nvPicPr>
          <p:cNvPr id="187" name="Google Shape;187;p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166890" y="5143710"/>
            <a:ext cx="1500187" cy="1299131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>
            <a:extLst>
              <a:ext uri="{FF2B5EF4-FFF2-40B4-BE49-F238E27FC236}">
                <a16:creationId xmlns:a16="http://schemas.microsoft.com/office/drawing/2014/main" id="{372A845F-28C7-06AA-6126-37395B6DB9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2700" y="0"/>
            <a:ext cx="12204700" cy="6886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16317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oogle Shape;178;p7" descr="Nazare GIFs | Tenor">
            <a:extLst>
              <a:ext uri="{FF2B5EF4-FFF2-40B4-BE49-F238E27FC236}">
                <a16:creationId xmlns:a16="http://schemas.microsoft.com/office/drawing/2014/main" id="{0A40CFB8-1C5C-7806-1202-B9C65ADC110B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311900" y="1809750"/>
            <a:ext cx="5715000" cy="372745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Google Shape;179;p7">
            <a:extLst>
              <a:ext uri="{FF2B5EF4-FFF2-40B4-BE49-F238E27FC236}">
                <a16:creationId xmlns:a16="http://schemas.microsoft.com/office/drawing/2014/main" id="{A0CF23F5-157B-B2E9-63B7-A7B9A49D3FA6}"/>
              </a:ext>
            </a:extLst>
          </p:cNvPr>
          <p:cNvSpPr txBox="1"/>
          <p:nvPr/>
        </p:nvSpPr>
        <p:spPr>
          <a:xfrm>
            <a:off x="768928" y="2466125"/>
            <a:ext cx="4933372" cy="19257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AC401"/>
              </a:buClr>
              <a:buSzPts val="4400"/>
              <a:buFont typeface="Poppins"/>
              <a:buNone/>
            </a:pPr>
            <a:r>
              <a:rPr lang="pt-BR" sz="4400" b="1" dirty="0">
                <a:solidFill>
                  <a:srgbClr val="FF6200"/>
                </a:solidFill>
                <a:latin typeface="Poppins"/>
                <a:ea typeface="Arial"/>
                <a:cs typeface="Poppins"/>
                <a:sym typeface="Poppins"/>
              </a:rPr>
              <a:t>Ok! ...mas como vocês fazem isso na prática?</a:t>
            </a:r>
            <a:endParaRPr sz="1400" b="0" i="0" u="none" strike="noStrike" cap="none" dirty="0">
              <a:solidFill>
                <a:srgbClr val="FF62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181;p7">
            <a:extLst>
              <a:ext uri="{FF2B5EF4-FFF2-40B4-BE49-F238E27FC236}">
                <a16:creationId xmlns:a16="http://schemas.microsoft.com/office/drawing/2014/main" id="{9F6B5F56-6FF5-222E-2A21-8D2B5B20092F}"/>
              </a:ext>
            </a:extLst>
          </p:cNvPr>
          <p:cNvSpPr txBox="1"/>
          <p:nvPr/>
        </p:nvSpPr>
        <p:spPr>
          <a:xfrm>
            <a:off x="482600" y="310634"/>
            <a:ext cx="6096000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rgbClr val="8F53FF"/>
                </a:solidFill>
                <a:latin typeface="Poppins"/>
                <a:ea typeface="Poppins"/>
                <a:cs typeface="Poppins"/>
                <a:sym typeface="Poppins"/>
              </a:rPr>
              <a:t>Momento reflexão...</a:t>
            </a:r>
            <a:endParaRPr sz="24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404662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EBA47CE8-0648-D464-AB12-60C4E7D1F9E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729" t="37592" r="14375" b="12222"/>
          <a:stretch/>
        </p:blipFill>
        <p:spPr>
          <a:xfrm>
            <a:off x="228951" y="1212850"/>
            <a:ext cx="11759497" cy="4432300"/>
          </a:xfrm>
          <a:prstGeom prst="rect">
            <a:avLst/>
          </a:prstGeom>
        </p:spPr>
      </p:pic>
      <p:sp>
        <p:nvSpPr>
          <p:cNvPr id="3" name="Google Shape;181;p7">
            <a:extLst>
              <a:ext uri="{FF2B5EF4-FFF2-40B4-BE49-F238E27FC236}">
                <a16:creationId xmlns:a16="http://schemas.microsoft.com/office/drawing/2014/main" id="{16224F23-84D9-4C5C-D6A2-49411172C949}"/>
              </a:ext>
            </a:extLst>
          </p:cNvPr>
          <p:cNvSpPr txBox="1"/>
          <p:nvPr/>
        </p:nvSpPr>
        <p:spPr>
          <a:xfrm>
            <a:off x="482600" y="310634"/>
            <a:ext cx="6959600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rgbClr val="8F53FF"/>
                </a:solidFill>
                <a:latin typeface="Poppins"/>
                <a:ea typeface="Poppins"/>
                <a:cs typeface="Poppins"/>
                <a:sym typeface="Poppins"/>
              </a:rPr>
              <a:t>Conectando esses 3 pilares da inovação...</a:t>
            </a:r>
            <a:endParaRPr sz="24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850698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6528AFE9-A49F-0160-9D59-AACC74E7B79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750" t="24814" r="13438" b="12037"/>
          <a:stretch/>
        </p:blipFill>
        <p:spPr>
          <a:xfrm>
            <a:off x="915405" y="1219200"/>
            <a:ext cx="10361189" cy="5054600"/>
          </a:xfrm>
          <a:prstGeom prst="rect">
            <a:avLst/>
          </a:prstGeom>
        </p:spPr>
      </p:pic>
      <p:sp>
        <p:nvSpPr>
          <p:cNvPr id="3" name="Google Shape;181;p7">
            <a:extLst>
              <a:ext uri="{FF2B5EF4-FFF2-40B4-BE49-F238E27FC236}">
                <a16:creationId xmlns:a16="http://schemas.microsoft.com/office/drawing/2014/main" id="{50091B96-9CF8-B568-0E28-E51003B8D6B1}"/>
              </a:ext>
            </a:extLst>
          </p:cNvPr>
          <p:cNvSpPr txBox="1"/>
          <p:nvPr/>
        </p:nvSpPr>
        <p:spPr>
          <a:xfrm>
            <a:off x="482600" y="310634"/>
            <a:ext cx="6959600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pt-BR" sz="2400" b="1" dirty="0">
                <a:solidFill>
                  <a:srgbClr val="8F53FF"/>
                </a:solidFill>
                <a:latin typeface="Poppins"/>
                <a:ea typeface="Poppins"/>
                <a:cs typeface="Poppins"/>
                <a:sym typeface="Poppins"/>
              </a:rPr>
              <a:t>Entendendo bem o problema</a:t>
            </a:r>
            <a:r>
              <a:rPr lang="pt-BR" sz="2400" b="1" i="0" u="none" strike="noStrike" cap="none" dirty="0">
                <a:solidFill>
                  <a:srgbClr val="8F53FF"/>
                </a:solidFill>
                <a:latin typeface="Poppins"/>
                <a:ea typeface="Poppins"/>
                <a:cs typeface="Poppins"/>
                <a:sym typeface="Poppins"/>
              </a:rPr>
              <a:t>...</a:t>
            </a:r>
            <a:endParaRPr sz="24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788808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073744D-DFC9-C44C-9455-CECD37CAD34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-15875" y="0"/>
            <a:ext cx="12207875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356F10A-0603-4D45-AB80-FEFB6D3AF5AD}"/>
              </a:ext>
            </a:extLst>
          </p:cNvPr>
          <p:cNvSpPr/>
          <p:nvPr/>
        </p:nvSpPr>
        <p:spPr>
          <a:xfrm>
            <a:off x="-31752" y="-111126"/>
            <a:ext cx="12231689" cy="6969126"/>
          </a:xfrm>
          <a:prstGeom prst="rect">
            <a:avLst/>
          </a:prstGeom>
          <a:gradFill>
            <a:gsLst>
              <a:gs pos="100000">
                <a:schemeClr val="accent2">
                  <a:lumMod val="60000"/>
                  <a:lumOff val="40000"/>
                  <a:alpha val="78000"/>
                </a:schemeClr>
              </a:gs>
              <a:gs pos="38000">
                <a:srgbClr val="957F8A">
                  <a:alpha val="90761"/>
                </a:srgbClr>
              </a:gs>
              <a:gs pos="12000">
                <a:schemeClr val="tx2">
                  <a:alpha val="77002"/>
                </a:scheme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srgbClr val="FEFFF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32E412EC-ABF0-495D-B8B1-7F42EC155BF5}"/>
              </a:ext>
            </a:extLst>
          </p:cNvPr>
          <p:cNvSpPr/>
          <p:nvPr/>
        </p:nvSpPr>
        <p:spPr>
          <a:xfrm>
            <a:off x="3502920" y="6008564"/>
            <a:ext cx="342900" cy="342900"/>
          </a:xfrm>
          <a:prstGeom prst="ellipse">
            <a:avLst/>
          </a:prstGeom>
          <a:solidFill>
            <a:schemeClr val="bg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FEFFF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D9285B7E-D443-46C5-9F96-9096071D5C5B}"/>
              </a:ext>
            </a:extLst>
          </p:cNvPr>
          <p:cNvSpPr>
            <a:spLocks/>
          </p:cNvSpPr>
          <p:nvPr/>
        </p:nvSpPr>
        <p:spPr bwMode="auto">
          <a:xfrm>
            <a:off x="-23813" y="-111126"/>
            <a:ext cx="12207875" cy="6650038"/>
          </a:xfrm>
          <a:custGeom>
            <a:avLst/>
            <a:gdLst>
              <a:gd name="T0" fmla="*/ 0 w 2912"/>
              <a:gd name="T1" fmla="*/ 604 h 1848"/>
              <a:gd name="T2" fmla="*/ 0 w 2912"/>
              <a:gd name="T3" fmla="*/ 0 h 1848"/>
              <a:gd name="T4" fmla="*/ 2912 w 2912"/>
              <a:gd name="T5" fmla="*/ 0 h 1848"/>
              <a:gd name="T6" fmla="*/ 2912 w 2912"/>
              <a:gd name="T7" fmla="*/ 1732 h 1848"/>
              <a:gd name="T8" fmla="*/ 2012 w 2912"/>
              <a:gd name="T9" fmla="*/ 1456 h 1848"/>
              <a:gd name="T10" fmla="*/ 904 w 2912"/>
              <a:gd name="T11" fmla="*/ 1812 h 1848"/>
              <a:gd name="T12" fmla="*/ 508 w 2912"/>
              <a:gd name="T13" fmla="*/ 1052 h 1848"/>
              <a:gd name="T14" fmla="*/ 0 w 2912"/>
              <a:gd name="T15" fmla="*/ 604 h 1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912" h="1848">
                <a:moveTo>
                  <a:pt x="0" y="604"/>
                </a:moveTo>
                <a:cubicBezTo>
                  <a:pt x="0" y="0"/>
                  <a:pt x="0" y="0"/>
                  <a:pt x="0" y="0"/>
                </a:cubicBezTo>
                <a:cubicBezTo>
                  <a:pt x="2912" y="0"/>
                  <a:pt x="2912" y="0"/>
                  <a:pt x="2912" y="0"/>
                </a:cubicBezTo>
                <a:cubicBezTo>
                  <a:pt x="2912" y="1732"/>
                  <a:pt x="2912" y="1732"/>
                  <a:pt x="2912" y="1732"/>
                </a:cubicBezTo>
                <a:cubicBezTo>
                  <a:pt x="2912" y="1732"/>
                  <a:pt x="2568" y="1240"/>
                  <a:pt x="2012" y="1456"/>
                </a:cubicBezTo>
                <a:cubicBezTo>
                  <a:pt x="1456" y="1672"/>
                  <a:pt x="1376" y="1848"/>
                  <a:pt x="904" y="1812"/>
                </a:cubicBezTo>
                <a:cubicBezTo>
                  <a:pt x="432" y="1776"/>
                  <a:pt x="512" y="1128"/>
                  <a:pt x="508" y="1052"/>
                </a:cubicBezTo>
                <a:cubicBezTo>
                  <a:pt x="504" y="976"/>
                  <a:pt x="520" y="528"/>
                  <a:pt x="0" y="604"/>
                </a:cubicBezTo>
                <a:close/>
              </a:path>
            </a:pathLst>
          </a:custGeom>
          <a:solidFill>
            <a:schemeClr val="bg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FEFFF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1256D3EB-B067-407B-960B-3A4CE68DA001}"/>
              </a:ext>
            </a:extLst>
          </p:cNvPr>
          <p:cNvSpPr/>
          <p:nvPr/>
        </p:nvSpPr>
        <p:spPr>
          <a:xfrm>
            <a:off x="9791700" y="723900"/>
            <a:ext cx="647700" cy="647700"/>
          </a:xfrm>
          <a:prstGeom prst="ellipse">
            <a:avLst/>
          </a:prstGeom>
          <a:solidFill>
            <a:schemeClr val="bg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FEFFF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EBB4F145-C7EB-4A15-BFDD-346314DF7519}"/>
              </a:ext>
            </a:extLst>
          </p:cNvPr>
          <p:cNvSpPr/>
          <p:nvPr/>
        </p:nvSpPr>
        <p:spPr>
          <a:xfrm>
            <a:off x="6962775" y="5429250"/>
            <a:ext cx="257175" cy="257175"/>
          </a:xfrm>
          <a:prstGeom prst="ellipse">
            <a:avLst/>
          </a:prstGeom>
          <a:solidFill>
            <a:schemeClr val="bg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FEFFF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0036258-D7A2-4859-B1FD-30F656A49393}"/>
              </a:ext>
            </a:extLst>
          </p:cNvPr>
          <p:cNvSpPr/>
          <p:nvPr/>
        </p:nvSpPr>
        <p:spPr>
          <a:xfrm>
            <a:off x="11215687" y="2888622"/>
            <a:ext cx="257175" cy="257175"/>
          </a:xfrm>
          <a:prstGeom prst="ellipse">
            <a:avLst/>
          </a:prstGeom>
          <a:solidFill>
            <a:schemeClr val="bg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FEFFF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C1EEDD9-084B-4990-A2A6-2569F426D901}"/>
              </a:ext>
            </a:extLst>
          </p:cNvPr>
          <p:cNvSpPr/>
          <p:nvPr/>
        </p:nvSpPr>
        <p:spPr>
          <a:xfrm>
            <a:off x="-257175" y="3924300"/>
            <a:ext cx="1219200" cy="1219200"/>
          </a:xfrm>
          <a:prstGeom prst="ellipse">
            <a:avLst/>
          </a:prstGeom>
          <a:solidFill>
            <a:schemeClr val="bg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FEFFF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1D4ECF1-73C0-4B6A-88D8-AD738FE3AB51}"/>
              </a:ext>
            </a:extLst>
          </p:cNvPr>
          <p:cNvSpPr/>
          <p:nvPr/>
        </p:nvSpPr>
        <p:spPr>
          <a:xfrm>
            <a:off x="2019300" y="4065484"/>
            <a:ext cx="257175" cy="257175"/>
          </a:xfrm>
          <a:prstGeom prst="ellipse">
            <a:avLst/>
          </a:prstGeom>
          <a:solidFill>
            <a:schemeClr val="bg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FEFFF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pic>
        <p:nvPicPr>
          <p:cNvPr id="20" name="Imagem 19">
            <a:extLst>
              <a:ext uri="{FF2B5EF4-FFF2-40B4-BE49-F238E27FC236}">
                <a16:creationId xmlns:a16="http://schemas.microsoft.com/office/drawing/2014/main" id="{CA8F8F6B-A1CD-8947-BF22-368AFB3C5F5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15687" y="6077126"/>
            <a:ext cx="671422" cy="581437"/>
          </a:xfrm>
          <a:prstGeom prst="rect">
            <a:avLst/>
          </a:prstGeom>
        </p:spPr>
      </p:pic>
      <p:grpSp>
        <p:nvGrpSpPr>
          <p:cNvPr id="18" name="Agrupar 17">
            <a:extLst>
              <a:ext uri="{FF2B5EF4-FFF2-40B4-BE49-F238E27FC236}">
                <a16:creationId xmlns:a16="http://schemas.microsoft.com/office/drawing/2014/main" id="{42C5AF95-85C1-9A4A-BE9F-857E2D74DEC2}"/>
              </a:ext>
            </a:extLst>
          </p:cNvPr>
          <p:cNvGrpSpPr/>
          <p:nvPr/>
        </p:nvGrpSpPr>
        <p:grpSpPr>
          <a:xfrm>
            <a:off x="2086729" y="1915848"/>
            <a:ext cx="8002665" cy="2459897"/>
            <a:chOff x="1034513" y="3299877"/>
            <a:chExt cx="5414137" cy="866545"/>
          </a:xfrm>
        </p:grpSpPr>
        <p:sp>
          <p:nvSpPr>
            <p:cNvPr id="19" name="Rectangle: Rounded Corners 5">
              <a:extLst>
                <a:ext uri="{FF2B5EF4-FFF2-40B4-BE49-F238E27FC236}">
                  <a16:creationId xmlns:a16="http://schemas.microsoft.com/office/drawing/2014/main" id="{FD736746-298B-D242-B935-7957252A79CE}"/>
                </a:ext>
              </a:extLst>
            </p:cNvPr>
            <p:cNvSpPr/>
            <p:nvPr/>
          </p:nvSpPr>
          <p:spPr>
            <a:xfrm>
              <a:off x="1034513" y="3299877"/>
              <a:ext cx="5414137" cy="866545"/>
            </a:xfrm>
            <a:prstGeom prst="roundRect">
              <a:avLst>
                <a:gd name="adj" fmla="val 7292"/>
              </a:avLst>
            </a:prstGeom>
            <a:solidFill>
              <a:schemeClr val="bg2"/>
            </a:solidFill>
            <a:ln>
              <a:noFill/>
            </a:ln>
            <a:effectLst>
              <a:outerShdw blurRad="495300" dist="257441" dir="3000000" sx="97000" sy="97000" algn="ctr" rotWithShape="0">
                <a:prstClr val="black">
                  <a:alpha val="1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2400" b="0" i="0" u="none" strike="noStrike" kern="1200" cap="none" spc="0" normalizeH="0" baseline="0" noProof="0">
                <a:ln>
                  <a:noFill/>
                </a:ln>
                <a:solidFill>
                  <a:srgbClr val="FEFFFE"/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  <p:sp>
          <p:nvSpPr>
            <p:cNvPr id="22" name="CaixaDeTexto 21">
              <a:extLst>
                <a:ext uri="{FF2B5EF4-FFF2-40B4-BE49-F238E27FC236}">
                  <a16:creationId xmlns:a16="http://schemas.microsoft.com/office/drawing/2014/main" id="{D0D43E29-2454-4A42-B0D7-8CA32826DDD4}"/>
                </a:ext>
              </a:extLst>
            </p:cNvPr>
            <p:cNvSpPr txBox="1"/>
            <p:nvPr/>
          </p:nvSpPr>
          <p:spPr>
            <a:xfrm>
              <a:off x="1145791" y="3400965"/>
              <a:ext cx="5202321" cy="6722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360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-BoldItalic"/>
                  <a:ea typeface="+mn-ea"/>
                  <a:cs typeface="+mn-cs"/>
                </a:rPr>
                <a:t>“</a:t>
              </a:r>
              <a:r>
                <a:rPr kumimoji="0" lang="pt-BR" sz="2800" b="1" i="1" u="none" strike="noStrike" kern="1200" cap="none" spc="0" normalizeH="0" baseline="0" noProof="0" dirty="0">
                  <a:ln>
                    <a:noFill/>
                  </a:ln>
                  <a:solidFill>
                    <a:srgbClr val="7B28E7"/>
                  </a:solidFill>
                  <a:effectLst/>
                  <a:uLnTx/>
                  <a:uFillTx/>
                  <a:latin typeface="Montserrat-BoldItalic"/>
                  <a:ea typeface="+mn-ea"/>
                  <a:cs typeface="+mn-cs"/>
                </a:rPr>
                <a:t>Ame o problema, não a sua solução</a:t>
              </a:r>
              <a:r>
                <a:rPr kumimoji="0" lang="pt-BR" sz="280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-BoldItalic"/>
                  <a:ea typeface="+mn-ea"/>
                  <a:cs typeface="+mn-cs"/>
                </a:rPr>
                <a:t>.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8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-BoldItalic"/>
                  <a:ea typeface="+mn-ea"/>
                  <a:cs typeface="+mn-cs"/>
                </a:rPr>
                <a:t>A vida é muito curta para construir algo que ninguém quer.</a:t>
              </a:r>
              <a:r>
                <a:rPr kumimoji="0" lang="pt-BR" sz="360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-BoldItalic"/>
                  <a:ea typeface="+mn-ea"/>
                  <a:cs typeface="+mn-cs"/>
                </a:rPr>
                <a:t>”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800" b="0" i="1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-LightItalic"/>
                  <a:ea typeface="+mn-ea"/>
                  <a:cs typeface="+mn-cs"/>
                </a:rPr>
                <a:t>Ash</a:t>
              </a:r>
              <a:r>
                <a:rPr kumimoji="0" lang="pt-BR" sz="18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-LightItalic"/>
                  <a:ea typeface="+mn-ea"/>
                  <a:cs typeface="+mn-cs"/>
                </a:rPr>
                <a:t> </a:t>
              </a:r>
              <a:r>
                <a:rPr kumimoji="0" lang="pt-BR" sz="1800" b="0" i="1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-LightItalic"/>
                  <a:ea typeface="+mn-ea"/>
                  <a:cs typeface="+mn-cs"/>
                </a:rPr>
                <a:t>Maurya</a:t>
              </a:r>
              <a:endPara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7C29E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427793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lip-5.png" descr="clip-5.png">
            <a:extLst>
              <a:ext uri="{FF2B5EF4-FFF2-40B4-BE49-F238E27FC236}">
                <a16:creationId xmlns:a16="http://schemas.microsoft.com/office/drawing/2014/main" id="{83CFD3C2-4D39-B650-5DA1-A6EEB90097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6873" y="-1106070"/>
            <a:ext cx="11591705" cy="7727804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Linha">
            <a:extLst>
              <a:ext uri="{FF2B5EF4-FFF2-40B4-BE49-F238E27FC236}">
                <a16:creationId xmlns:a16="http://schemas.microsoft.com/office/drawing/2014/main" id="{D8145227-EAA1-55AD-B20D-3A667E89205B}"/>
              </a:ext>
            </a:extLst>
          </p:cNvPr>
          <p:cNvSpPr/>
          <p:nvPr/>
        </p:nvSpPr>
        <p:spPr>
          <a:xfrm>
            <a:off x="2865489" y="1404398"/>
            <a:ext cx="1847285" cy="11487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15415" y="0"/>
                </a:lnTo>
                <a:lnTo>
                  <a:pt x="0" y="0"/>
                </a:lnTo>
              </a:path>
            </a:pathLst>
          </a:custGeom>
          <a:ln w="38100">
            <a:solidFill>
              <a:schemeClr val="bg1">
                <a:lumMod val="85000"/>
              </a:schemeClr>
            </a:solidFill>
            <a:prstDash val="sysDot"/>
            <a:miter lim="400000"/>
            <a:headEnd type="oval"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Calibri"/>
            </a:endParaRPr>
          </a:p>
        </p:txBody>
      </p:sp>
      <p:sp>
        <p:nvSpPr>
          <p:cNvPr id="5" name="Linha">
            <a:extLst>
              <a:ext uri="{FF2B5EF4-FFF2-40B4-BE49-F238E27FC236}">
                <a16:creationId xmlns:a16="http://schemas.microsoft.com/office/drawing/2014/main" id="{711F29E3-CB7D-525C-4F5E-86DFFEBEDCFD}"/>
              </a:ext>
            </a:extLst>
          </p:cNvPr>
          <p:cNvSpPr/>
          <p:nvPr/>
        </p:nvSpPr>
        <p:spPr>
          <a:xfrm>
            <a:off x="4521934" y="1903661"/>
            <a:ext cx="3633287" cy="156525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10857" y="0"/>
                </a:lnTo>
                <a:lnTo>
                  <a:pt x="21600" y="0"/>
                </a:lnTo>
              </a:path>
            </a:pathLst>
          </a:custGeom>
          <a:ln w="38100">
            <a:solidFill>
              <a:schemeClr val="bg1">
                <a:lumMod val="85000"/>
              </a:schemeClr>
            </a:solidFill>
            <a:prstDash val="sysDot"/>
            <a:miter lim="400000"/>
            <a:headEnd type="oval"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Calibri"/>
            </a:endParaRPr>
          </a:p>
        </p:txBody>
      </p:sp>
      <p:sp>
        <p:nvSpPr>
          <p:cNvPr id="6" name="Linha">
            <a:extLst>
              <a:ext uri="{FF2B5EF4-FFF2-40B4-BE49-F238E27FC236}">
                <a16:creationId xmlns:a16="http://schemas.microsoft.com/office/drawing/2014/main" id="{8802DC7A-DBC6-388D-158A-A07BAE0D5DD5}"/>
              </a:ext>
            </a:extLst>
          </p:cNvPr>
          <p:cNvSpPr/>
          <p:nvPr/>
        </p:nvSpPr>
        <p:spPr>
          <a:xfrm>
            <a:off x="4043652" y="4867368"/>
            <a:ext cx="1465252" cy="107524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8078" y="21600"/>
                </a:lnTo>
                <a:lnTo>
                  <a:pt x="21600" y="21600"/>
                </a:lnTo>
              </a:path>
            </a:pathLst>
          </a:custGeom>
          <a:ln w="38100">
            <a:solidFill>
              <a:schemeClr val="bg1">
                <a:lumMod val="85000"/>
              </a:schemeClr>
            </a:solidFill>
            <a:prstDash val="sysDot"/>
            <a:miter lim="400000"/>
            <a:headEnd type="oval"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Calibri"/>
            </a:endParaRPr>
          </a:p>
        </p:txBody>
      </p:sp>
      <p:sp>
        <p:nvSpPr>
          <p:cNvPr id="7" name="a partir dos estudos realizados na fase de discovery, iniciamos a design sprint, na qual ideamos naquilo que acreditamos ser desejável para o cliente e viável ao negócio.…">
            <a:extLst>
              <a:ext uri="{FF2B5EF4-FFF2-40B4-BE49-F238E27FC236}">
                <a16:creationId xmlns:a16="http://schemas.microsoft.com/office/drawing/2014/main" id="{19CDE50B-C9EC-94E4-6323-1812DEBC882E}"/>
              </a:ext>
            </a:extLst>
          </p:cNvPr>
          <p:cNvSpPr txBox="1"/>
          <p:nvPr/>
        </p:nvSpPr>
        <p:spPr>
          <a:xfrm>
            <a:off x="1134881" y="1111524"/>
            <a:ext cx="1372721" cy="1282402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>
            <a:spAutoFit/>
          </a:bodyPr>
          <a:lstStyle>
            <a:lvl1pPr algn="r" defTabSz="825500">
              <a:defRPr sz="3200">
                <a:solidFill>
                  <a:srgbClr val="FFFFFF"/>
                </a:solidFill>
                <a:latin typeface="Itau Display Bold"/>
                <a:ea typeface="Itau Display Bold"/>
                <a:cs typeface="Itau Display Bold"/>
                <a:sym typeface="Itau Display Bold"/>
              </a:defRPr>
            </a:lvl1pPr>
          </a:lstStyle>
          <a:p>
            <a:pPr marL="0" marR="0" lvl="0" indent="0" algn="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Bold"/>
              </a:rPr>
              <a:t>olhar</a:t>
            </a:r>
            <a:r>
              <a:rPr kumimoji="0" sz="20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Bold"/>
              </a:rPr>
              <a:t> </a:t>
            </a:r>
            <a:r>
              <a:rPr kumimoji="0" sz="20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Bold"/>
              </a:rPr>
              <a:t>através</a:t>
            </a:r>
            <a:r>
              <a:rPr kumimoji="0" sz="20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Bold"/>
              </a:rPr>
              <a:t> de 3 </a:t>
            </a:r>
            <a:r>
              <a:rPr kumimoji="0" sz="20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Bold"/>
              </a:rPr>
              <a:t>lentes</a:t>
            </a:r>
            <a:endParaRPr kumimoji="0" sz="2000" b="0" i="0" u="none" strike="noStrike" kern="0" cap="none" spc="0" normalizeH="0" baseline="0" noProof="0" dirty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Itau Display Bold"/>
            </a:endParaRPr>
          </a:p>
        </p:txBody>
      </p:sp>
      <p:sp>
        <p:nvSpPr>
          <p:cNvPr id="8" name="a partir dos estudos realizados na fase de discovery, iniciamos a design sprint, na qual ideamos naquilo que acreditamos ser desejável para o cliente e viável ao negócio.…">
            <a:extLst>
              <a:ext uri="{FF2B5EF4-FFF2-40B4-BE49-F238E27FC236}">
                <a16:creationId xmlns:a16="http://schemas.microsoft.com/office/drawing/2014/main" id="{B97F09EB-4A5C-AD90-62B6-206624B0A359}"/>
              </a:ext>
            </a:extLst>
          </p:cNvPr>
          <p:cNvSpPr txBox="1"/>
          <p:nvPr/>
        </p:nvSpPr>
        <p:spPr>
          <a:xfrm>
            <a:off x="8422244" y="1618132"/>
            <a:ext cx="2347355" cy="666849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>
            <a:spAutoFit/>
          </a:bodyPr>
          <a:lstStyle/>
          <a:p>
            <a:pPr marL="0" marR="0" lvl="0" indent="0" algn="l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Itau Display Bold"/>
                <a:ea typeface="Itau Display Bold"/>
                <a:cs typeface="Itau Display Bold"/>
                <a:sym typeface="Itau Display Bold"/>
              </a:defRPr>
            </a:pPr>
            <a:r>
              <a:rPr kumimoji="0" sz="20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Bold"/>
              </a:rPr>
              <a:t>ter</a:t>
            </a:r>
            <a:r>
              <a:rPr kumimoji="0" sz="20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Bold"/>
              </a:rPr>
              <a:t> </a:t>
            </a:r>
            <a:r>
              <a:rPr kumimoji="0" sz="20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Bold"/>
              </a:rPr>
              <a:t>em</a:t>
            </a:r>
            <a:r>
              <a:rPr kumimoji="0" sz="20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Bold"/>
              </a:rPr>
              <a:t> </a:t>
            </a:r>
            <a:r>
              <a:rPr kumimoji="0" sz="20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Bold"/>
              </a:rPr>
              <a:t>mente</a:t>
            </a:r>
            <a:endParaRPr kumimoji="0" sz="2000" b="0" i="0" u="none" strike="noStrike" kern="0" cap="none" spc="0" normalizeH="0" baseline="0" noProof="0" dirty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Itau Display Bold"/>
            </a:endParaRPr>
          </a:p>
          <a:p>
            <a:pPr marL="0" marR="0" lvl="0" indent="0" algn="l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Itau Display Bold"/>
                <a:ea typeface="Itau Display Bold"/>
                <a:cs typeface="Itau Display Bold"/>
                <a:sym typeface="Itau Display Bold"/>
              </a:defRPr>
            </a:pPr>
            <a:r>
              <a:rPr kumimoji="0" sz="20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Bold"/>
              </a:rPr>
              <a:t>4 </a:t>
            </a:r>
            <a:r>
              <a:rPr kumimoji="0" sz="20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Bold"/>
              </a:rPr>
              <a:t>premissas</a:t>
            </a:r>
            <a:endParaRPr kumimoji="0" sz="2000" b="0" i="0" u="none" strike="noStrike" kern="0" cap="none" spc="0" normalizeH="0" baseline="0" noProof="0" dirty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Itau Display Bold"/>
            </a:endParaRPr>
          </a:p>
        </p:txBody>
      </p:sp>
      <p:sp>
        <p:nvSpPr>
          <p:cNvPr id="9" name="a partir dos estudos realizados na fase de discovery, iniciamos a design sprint, na qual ideamos naquilo que acreditamos ser desejável para o cliente e viável ao negócio.…">
            <a:extLst>
              <a:ext uri="{FF2B5EF4-FFF2-40B4-BE49-F238E27FC236}">
                <a16:creationId xmlns:a16="http://schemas.microsoft.com/office/drawing/2014/main" id="{3BAC8064-EA26-F79D-784D-575FDDD0AFB6}"/>
              </a:ext>
            </a:extLst>
          </p:cNvPr>
          <p:cNvSpPr txBox="1"/>
          <p:nvPr/>
        </p:nvSpPr>
        <p:spPr>
          <a:xfrm>
            <a:off x="5821165" y="5677657"/>
            <a:ext cx="2205747" cy="913070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>
            <a:spAutoFit/>
          </a:bodyPr>
          <a:lstStyle>
            <a:lvl1pPr defTabSz="825500">
              <a:defRPr sz="3200">
                <a:solidFill>
                  <a:srgbClr val="FFFFFF"/>
                </a:solidFill>
                <a:latin typeface="Itau Display Bold"/>
                <a:ea typeface="Itau Display Bold"/>
                <a:cs typeface="Itau Display Bold"/>
                <a:sym typeface="Itau Display Bold"/>
              </a:defRPr>
            </a:lvl1pPr>
          </a:lstStyle>
          <a:p>
            <a:pPr marL="0" marR="0" lvl="0" indent="0" algn="l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Bold"/>
              </a:rPr>
              <a:t>passar</a:t>
            </a:r>
            <a:r>
              <a: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Bold"/>
              </a:rPr>
              <a:t> </a:t>
            </a:r>
            <a:r>
              <a:rPr kumimoji="0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Bold"/>
              </a:rPr>
              <a:t>pelo</a:t>
            </a:r>
            <a:r>
              <a: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Bold"/>
              </a:rPr>
              <a:t> </a:t>
            </a:r>
            <a:r>
              <a:rPr kumimoji="0" sz="20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Bold"/>
              </a:rPr>
              <a:t>framework</a:t>
            </a:r>
            <a:r>
              <a: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Bold"/>
              </a:rPr>
              <a:t> double diamond</a:t>
            </a:r>
          </a:p>
        </p:txBody>
      </p:sp>
      <p:sp>
        <p:nvSpPr>
          <p:cNvPr id="10" name="1">
            <a:extLst>
              <a:ext uri="{FF2B5EF4-FFF2-40B4-BE49-F238E27FC236}">
                <a16:creationId xmlns:a16="http://schemas.microsoft.com/office/drawing/2014/main" id="{3980AD07-05F2-245E-9547-8F0E43FF0DB0}"/>
              </a:ext>
            </a:extLst>
          </p:cNvPr>
          <p:cNvSpPr/>
          <p:nvPr/>
        </p:nvSpPr>
        <p:spPr>
          <a:xfrm>
            <a:off x="2669068" y="1222252"/>
            <a:ext cx="350044" cy="350045"/>
          </a:xfrm>
          <a:prstGeom prst="ellipse">
            <a:avLst/>
          </a:prstGeom>
          <a:solidFill>
            <a:srgbClr val="FF6200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/>
          <a:lstStyle>
            <a:lvl1pPr algn="ctr">
              <a:defRPr sz="2900">
                <a:solidFill>
                  <a:srgbClr val="EC7000"/>
                </a:solidFill>
                <a:latin typeface="Itau Display Bold"/>
                <a:ea typeface="Itau Display Bold"/>
                <a:cs typeface="Itau Display Bold"/>
                <a:sym typeface="Itau Display Bold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Bold"/>
              </a:rPr>
              <a:t>1</a:t>
            </a:r>
          </a:p>
        </p:txBody>
      </p:sp>
      <p:sp>
        <p:nvSpPr>
          <p:cNvPr id="11" name="2">
            <a:extLst>
              <a:ext uri="{FF2B5EF4-FFF2-40B4-BE49-F238E27FC236}">
                <a16:creationId xmlns:a16="http://schemas.microsoft.com/office/drawing/2014/main" id="{49A9206B-9A31-6A6B-EB13-802F8A3A5318}"/>
              </a:ext>
            </a:extLst>
          </p:cNvPr>
          <p:cNvSpPr/>
          <p:nvPr/>
        </p:nvSpPr>
        <p:spPr>
          <a:xfrm>
            <a:off x="7973551" y="1728860"/>
            <a:ext cx="350045" cy="350045"/>
          </a:xfrm>
          <a:prstGeom prst="ellipse">
            <a:avLst/>
          </a:prstGeom>
          <a:solidFill>
            <a:srgbClr val="FF6200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/>
          <a:lstStyle>
            <a:lvl1pPr algn="ctr">
              <a:defRPr sz="2900">
                <a:solidFill>
                  <a:srgbClr val="EC7000"/>
                </a:solidFill>
                <a:latin typeface="Itau Display Bold"/>
                <a:ea typeface="Itau Display Bold"/>
                <a:cs typeface="Itau Display Bold"/>
                <a:sym typeface="Itau Display Bold"/>
              </a:defRPr>
            </a:lvl1pPr>
          </a:lstStyle>
          <a:p>
            <a:pPr hangingPunct="0"/>
            <a:r>
              <a:rPr sz="1600" b="1" kern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</a:t>
            </a:r>
          </a:p>
        </p:txBody>
      </p:sp>
      <p:sp>
        <p:nvSpPr>
          <p:cNvPr id="12" name="3">
            <a:extLst>
              <a:ext uri="{FF2B5EF4-FFF2-40B4-BE49-F238E27FC236}">
                <a16:creationId xmlns:a16="http://schemas.microsoft.com/office/drawing/2014/main" id="{FC931CA2-F977-D686-419D-4264F6D6BC37}"/>
              </a:ext>
            </a:extLst>
          </p:cNvPr>
          <p:cNvSpPr/>
          <p:nvPr/>
        </p:nvSpPr>
        <p:spPr>
          <a:xfrm>
            <a:off x="5349703" y="5788385"/>
            <a:ext cx="350045" cy="350044"/>
          </a:xfrm>
          <a:prstGeom prst="ellipse">
            <a:avLst/>
          </a:prstGeom>
          <a:solidFill>
            <a:srgbClr val="FF6200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/>
          <a:lstStyle>
            <a:lvl1pPr algn="ctr">
              <a:defRPr sz="2900">
                <a:solidFill>
                  <a:srgbClr val="EC7000"/>
                </a:solidFill>
                <a:latin typeface="Itau Display Bold"/>
                <a:ea typeface="Itau Display Bold"/>
                <a:cs typeface="Itau Display Bold"/>
                <a:sym typeface="Itau Display Bold"/>
              </a:defRPr>
            </a:lvl1pPr>
          </a:lstStyle>
          <a:p>
            <a:pPr hangingPunct="0"/>
            <a:r>
              <a:rPr sz="1600" b="1" ker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3</a:t>
            </a:r>
          </a:p>
        </p:txBody>
      </p:sp>
      <p:sp>
        <p:nvSpPr>
          <p:cNvPr id="2" name="Google Shape;181;p7">
            <a:extLst>
              <a:ext uri="{FF2B5EF4-FFF2-40B4-BE49-F238E27FC236}">
                <a16:creationId xmlns:a16="http://schemas.microsoft.com/office/drawing/2014/main" id="{A5EFEABC-238E-8D0B-3A11-E797A8288F34}"/>
              </a:ext>
            </a:extLst>
          </p:cNvPr>
          <p:cNvSpPr txBox="1"/>
          <p:nvPr/>
        </p:nvSpPr>
        <p:spPr>
          <a:xfrm>
            <a:off x="482599" y="310634"/>
            <a:ext cx="9533685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rgbClr val="8F53FF"/>
                </a:solidFill>
                <a:latin typeface="Poppins"/>
                <a:ea typeface="Poppins"/>
                <a:cs typeface="Poppins"/>
                <a:sym typeface="Poppins"/>
              </a:rPr>
              <a:t>Adotando 3 princípios que se conectam com a estratégia...</a:t>
            </a:r>
            <a:endParaRPr sz="24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2775325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9" name="CaixaDeTexto 122"/>
          <p:cNvSpPr txBox="1"/>
          <p:nvPr/>
        </p:nvSpPr>
        <p:spPr>
          <a:xfrm>
            <a:off x="4690251" y="1265828"/>
            <a:ext cx="2453804" cy="830997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>
              <a:defRPr sz="2400">
                <a:solidFill>
                  <a:srgbClr val="FFFFFF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A </a:t>
            </a:r>
            <a:r>
              <a:rPr kumimoji="0" sz="12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solução</a:t>
            </a: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 resolve um </a:t>
            </a:r>
            <a:r>
              <a:rPr kumimoji="0" sz="12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problema</a:t>
            </a: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 </a:t>
            </a:r>
            <a:r>
              <a:rPr kumimoji="0" sz="12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ou</a:t>
            </a: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 </a:t>
            </a:r>
            <a:r>
              <a:rPr kumimoji="0" sz="12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necessidade</a:t>
            </a: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 real das </a:t>
            </a:r>
            <a:r>
              <a:rPr kumimoji="0" sz="12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pessoas</a:t>
            </a: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?</a:t>
            </a:r>
            <a:r>
              <a:rPr kumimoji="0" lang="pt-BR" sz="12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 Supera alguma expectativa?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Itau Text Light"/>
            </a:endParaRPr>
          </a:p>
        </p:txBody>
      </p:sp>
      <p:sp>
        <p:nvSpPr>
          <p:cNvPr id="330" name="CaixaDeTexto 8"/>
          <p:cNvSpPr txBox="1"/>
          <p:nvPr/>
        </p:nvSpPr>
        <p:spPr>
          <a:xfrm>
            <a:off x="7598568" y="4711642"/>
            <a:ext cx="2749471" cy="64633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45720" bIns="45720">
            <a:spAutoFit/>
          </a:bodyPr>
          <a:lstStyle>
            <a:lvl1pPr>
              <a:defRPr sz="7200">
                <a:solidFill>
                  <a:srgbClr val="FFFFFF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600" b="0" i="0" u="none" strike="noStrike" kern="0" cap="none" spc="0" normalizeH="0" baseline="0" noProof="0">
                <a:ln>
                  <a:noFill/>
                </a:ln>
                <a:solidFill>
                  <a:srgbClr val="8F53FF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viabilidade</a:t>
            </a:r>
          </a:p>
        </p:txBody>
      </p:sp>
      <p:sp>
        <p:nvSpPr>
          <p:cNvPr id="331" name="CaixaDeTexto 9"/>
          <p:cNvSpPr txBox="1"/>
          <p:nvPr/>
        </p:nvSpPr>
        <p:spPr>
          <a:xfrm>
            <a:off x="1815915" y="4711642"/>
            <a:ext cx="2882520" cy="64633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45720" bIns="45720">
            <a:spAutoFit/>
          </a:bodyPr>
          <a:lstStyle>
            <a:lvl1pPr>
              <a:defRPr sz="7200">
                <a:solidFill>
                  <a:srgbClr val="FFFFFF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600" b="0" i="0" u="none" strike="noStrike" kern="0" cap="none" spc="0" normalizeH="0" baseline="0" noProof="0" dirty="0" err="1">
                <a:ln>
                  <a:noFill/>
                </a:ln>
                <a:solidFill>
                  <a:srgbClr val="8F53FF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praticidade</a:t>
            </a:r>
            <a:endParaRPr kumimoji="0" sz="3600" b="0" i="0" u="none" strike="noStrike" kern="0" cap="none" spc="0" normalizeH="0" baseline="0" noProof="0" dirty="0">
              <a:ln>
                <a:noFill/>
              </a:ln>
              <a:solidFill>
                <a:srgbClr val="8F53FF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Itau Text Light"/>
            </a:endParaRPr>
          </a:p>
        </p:txBody>
      </p:sp>
      <p:sp>
        <p:nvSpPr>
          <p:cNvPr id="332" name="CaixaDeTexto 10"/>
          <p:cNvSpPr txBox="1"/>
          <p:nvPr/>
        </p:nvSpPr>
        <p:spPr>
          <a:xfrm>
            <a:off x="4371698" y="643402"/>
            <a:ext cx="3616696" cy="64633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45720" bIns="45720">
            <a:spAutoFit/>
          </a:bodyPr>
          <a:lstStyle>
            <a:lvl1pPr>
              <a:defRPr sz="7200">
                <a:solidFill>
                  <a:srgbClr val="FFFFFF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600" b="0" i="0" u="none" strike="noStrike" kern="0" cap="none" spc="0" normalizeH="0" baseline="0" noProof="0" dirty="0" err="1">
                <a:ln>
                  <a:noFill/>
                </a:ln>
                <a:solidFill>
                  <a:srgbClr val="8F53FF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desejabilidade</a:t>
            </a:r>
            <a:endParaRPr kumimoji="0" sz="3600" b="0" i="0" u="none" strike="noStrike" kern="0" cap="none" spc="0" normalizeH="0" baseline="0" noProof="0" dirty="0">
              <a:ln>
                <a:noFill/>
              </a:ln>
              <a:solidFill>
                <a:srgbClr val="8F53FF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Itau Text Light"/>
            </a:endParaRPr>
          </a:p>
        </p:txBody>
      </p:sp>
      <p:grpSp>
        <p:nvGrpSpPr>
          <p:cNvPr id="336" name="Agrupar 2"/>
          <p:cNvGrpSpPr/>
          <p:nvPr/>
        </p:nvGrpSpPr>
        <p:grpSpPr>
          <a:xfrm>
            <a:off x="4478319" y="2693964"/>
            <a:ext cx="2877670" cy="2642347"/>
            <a:chOff x="0" y="0"/>
            <a:chExt cx="5755337" cy="5284692"/>
          </a:xfrm>
        </p:grpSpPr>
        <p:sp>
          <p:nvSpPr>
            <p:cNvPr id="333" name="Oval 1"/>
            <p:cNvSpPr/>
            <p:nvPr/>
          </p:nvSpPr>
          <p:spPr>
            <a:xfrm>
              <a:off x="1116105" y="0"/>
              <a:ext cx="3523129" cy="3523129"/>
            </a:xfrm>
            <a:prstGeom prst="ellipse">
              <a:avLst/>
            </a:prstGeom>
            <a:noFill/>
            <a:ln w="50800" cap="flat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wrap="square" lIns="45720" tIns="45720" rIns="45720" bIns="45720" numCol="1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>
                  <a:solidFill>
                    <a:srgbClr val="FFFFFF"/>
                  </a:solidFill>
                </a:defRPr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Calibri"/>
              </a:endParaRPr>
            </a:p>
          </p:txBody>
        </p:sp>
        <p:sp>
          <p:nvSpPr>
            <p:cNvPr id="334" name="Oval 12"/>
            <p:cNvSpPr/>
            <p:nvPr/>
          </p:nvSpPr>
          <p:spPr>
            <a:xfrm>
              <a:off x="-1" y="1761564"/>
              <a:ext cx="3523129" cy="3523129"/>
            </a:xfrm>
            <a:prstGeom prst="ellipse">
              <a:avLst/>
            </a:prstGeom>
            <a:noFill/>
            <a:ln w="50800" cap="flat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wrap="square" lIns="45720" tIns="45720" rIns="45720" bIns="45720" numCol="1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>
                  <a:solidFill>
                    <a:srgbClr val="FFFFFF"/>
                  </a:solidFill>
                </a:defRPr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Calibri"/>
              </a:endParaRPr>
            </a:p>
          </p:txBody>
        </p:sp>
        <p:sp>
          <p:nvSpPr>
            <p:cNvPr id="335" name="Oval 13"/>
            <p:cNvSpPr/>
            <p:nvPr/>
          </p:nvSpPr>
          <p:spPr>
            <a:xfrm>
              <a:off x="2232209" y="1761564"/>
              <a:ext cx="3523129" cy="3523129"/>
            </a:xfrm>
            <a:prstGeom prst="ellipse">
              <a:avLst/>
            </a:prstGeom>
            <a:noFill/>
            <a:ln w="50800" cap="flat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txBody>
            <a:bodyPr wrap="square" lIns="45720" tIns="45720" rIns="45720" bIns="45720" numCol="1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>
                  <a:solidFill>
                    <a:srgbClr val="FFFFFF"/>
                  </a:solidFill>
                </a:defRPr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Calibri"/>
              </a:endParaRPr>
            </a:p>
          </p:txBody>
        </p:sp>
      </p:grpSp>
      <p:sp>
        <p:nvSpPr>
          <p:cNvPr id="337" name="Forma Livre 23"/>
          <p:cNvSpPr/>
          <p:nvPr/>
        </p:nvSpPr>
        <p:spPr>
          <a:xfrm>
            <a:off x="5604933" y="3779771"/>
            <a:ext cx="637824" cy="6829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19636"/>
                </a:moveTo>
                <a:lnTo>
                  <a:pt x="573" y="14638"/>
                </a:lnTo>
                <a:lnTo>
                  <a:pt x="2103" y="10711"/>
                </a:lnTo>
                <a:lnTo>
                  <a:pt x="4779" y="6069"/>
                </a:lnTo>
                <a:lnTo>
                  <a:pt x="7837" y="2499"/>
                </a:lnTo>
                <a:lnTo>
                  <a:pt x="10704" y="0"/>
                </a:lnTo>
                <a:lnTo>
                  <a:pt x="12998" y="1964"/>
                </a:lnTo>
                <a:lnTo>
                  <a:pt x="16439" y="5712"/>
                </a:lnTo>
                <a:lnTo>
                  <a:pt x="18542" y="9461"/>
                </a:lnTo>
                <a:lnTo>
                  <a:pt x="19880" y="12674"/>
                </a:lnTo>
                <a:lnTo>
                  <a:pt x="20644" y="15352"/>
                </a:lnTo>
                <a:lnTo>
                  <a:pt x="21600" y="19815"/>
                </a:lnTo>
                <a:lnTo>
                  <a:pt x="16630" y="21064"/>
                </a:lnTo>
                <a:lnTo>
                  <a:pt x="10513" y="21600"/>
                </a:lnTo>
                <a:lnTo>
                  <a:pt x="6690" y="21422"/>
                </a:lnTo>
                <a:lnTo>
                  <a:pt x="2103" y="20529"/>
                </a:lnTo>
                <a:lnTo>
                  <a:pt x="0" y="19636"/>
                </a:lnTo>
                <a:close/>
              </a:path>
            </a:pathLst>
          </a:custGeom>
          <a:solidFill>
            <a:srgbClr val="8F53FF">
              <a:alpha val="38000"/>
            </a:srgbClr>
          </a:solidFill>
          <a:ln w="12700">
            <a:miter lim="400000"/>
          </a:ln>
        </p:spPr>
        <p:txBody>
          <a:bodyPr tIns="45720" bIns="45720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Calibri"/>
            </a:endParaRPr>
          </a:p>
        </p:txBody>
      </p:sp>
      <p:sp>
        <p:nvSpPr>
          <p:cNvPr id="338" name="Forma Livre 24"/>
          <p:cNvSpPr/>
          <p:nvPr/>
        </p:nvSpPr>
        <p:spPr>
          <a:xfrm flipV="1">
            <a:off x="6140244" y="3279891"/>
            <a:ext cx="1215745" cy="761491"/>
          </a:xfrm>
          <a:prstGeom prst="line">
            <a:avLst/>
          </a:prstGeom>
          <a:ln w="25400">
            <a:solidFill>
              <a:srgbClr val="8F53FF"/>
            </a:solidFill>
            <a:prstDash val="dash"/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Calibri"/>
            </a:endParaRPr>
          </a:p>
        </p:txBody>
      </p:sp>
      <p:sp>
        <p:nvSpPr>
          <p:cNvPr id="339" name="CaixaDeTexto 29"/>
          <p:cNvSpPr txBox="1"/>
          <p:nvPr/>
        </p:nvSpPr>
        <p:spPr>
          <a:xfrm>
            <a:off x="7376722" y="2960450"/>
            <a:ext cx="1410964" cy="523220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45720" bIns="45720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>
                <a:solidFill>
                  <a:srgbClr val="FFFFFF"/>
                </a:solidFill>
                <a:latin typeface="Itau Display"/>
                <a:ea typeface="Itau Display"/>
                <a:cs typeface="Itau Display"/>
                <a:sym typeface="Itau Display"/>
              </a:defRPr>
            </a:pPr>
            <a:r>
              <a:rPr kumimoji="0" sz="1400" b="1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"/>
              </a:rPr>
              <a:t>SOLUÇÃO</a:t>
            </a:r>
          </a:p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>
                <a:solidFill>
                  <a:srgbClr val="FFFFFF"/>
                </a:solidFill>
                <a:latin typeface="Itau Display"/>
                <a:ea typeface="Itau Display"/>
                <a:cs typeface="Itau Display"/>
                <a:sym typeface="Itau Display"/>
              </a:defRPr>
            </a:pPr>
            <a:r>
              <a:rPr kumimoji="0" sz="1400" b="1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"/>
              </a:rPr>
              <a:t>ESTRATÉGICA</a:t>
            </a:r>
          </a:p>
        </p:txBody>
      </p:sp>
      <p:sp>
        <p:nvSpPr>
          <p:cNvPr id="340" name="CaixaDeTexto 31"/>
          <p:cNvSpPr txBox="1"/>
          <p:nvPr/>
        </p:nvSpPr>
        <p:spPr>
          <a:xfrm>
            <a:off x="1815915" y="5357973"/>
            <a:ext cx="2483373" cy="1015663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>
              <a:defRPr sz="2400">
                <a:solidFill>
                  <a:srgbClr val="FFFFFF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Temos</a:t>
            </a: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 </a:t>
            </a:r>
            <a:r>
              <a:rPr kumimoji="0" sz="12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capacidade</a:t>
            </a: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 </a:t>
            </a:r>
            <a:r>
              <a:rPr kumimoji="0" sz="12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técnica</a:t>
            </a: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 para </a:t>
            </a:r>
            <a:r>
              <a:rPr kumimoji="0" sz="12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implementar</a:t>
            </a: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 a </a:t>
            </a:r>
            <a:r>
              <a:rPr kumimoji="0" sz="12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solução</a:t>
            </a: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 a temp</a:t>
            </a:r>
            <a:r>
              <a:rPr kumimoji="0" lang="pt-BR" sz="12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o suficiente para competir com nossos concorrentes</a:t>
            </a: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?</a:t>
            </a:r>
          </a:p>
        </p:txBody>
      </p:sp>
      <p:sp>
        <p:nvSpPr>
          <p:cNvPr id="341" name="CaixaDeTexto 32"/>
          <p:cNvSpPr txBox="1"/>
          <p:nvPr/>
        </p:nvSpPr>
        <p:spPr>
          <a:xfrm>
            <a:off x="7645716" y="5357973"/>
            <a:ext cx="2319206" cy="1200329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>
              <a:defRPr sz="2400">
                <a:solidFill>
                  <a:srgbClr val="FFFFFF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Possuímos</a:t>
            </a: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 </a:t>
            </a:r>
            <a:r>
              <a:rPr kumimoji="0" sz="12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os</a:t>
            </a: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 </a:t>
            </a:r>
            <a:r>
              <a:rPr kumimoji="0" sz="12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recursos</a:t>
            </a: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 </a:t>
            </a:r>
            <a:r>
              <a:rPr kumimoji="0" sz="12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necessários</a:t>
            </a: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 para </a:t>
            </a:r>
            <a:r>
              <a:rPr kumimoji="0" sz="12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implementar</a:t>
            </a: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?</a:t>
            </a:r>
            <a:br>
              <a:rPr kumimoji="0" lang="pt-BR" sz="12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</a:br>
            <a:r>
              <a:rPr kumimoji="0" lang="pt-BR" sz="12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O custo-benefício é interessante para o negócio?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Itau Text Light"/>
            </a:endParaRPr>
          </a:p>
        </p:txBody>
      </p:sp>
      <p:sp>
        <p:nvSpPr>
          <p:cNvPr id="342" name="Conector de Seta Reta 27"/>
          <p:cNvSpPr/>
          <p:nvPr/>
        </p:nvSpPr>
        <p:spPr>
          <a:xfrm>
            <a:off x="5928852" y="2044693"/>
            <a:ext cx="1" cy="498787"/>
          </a:xfrm>
          <a:prstGeom prst="line">
            <a:avLst/>
          </a:prstGeom>
          <a:ln w="50800" cap="rnd">
            <a:solidFill>
              <a:schemeClr val="bg1">
                <a:lumMod val="85000"/>
              </a:schemeClr>
            </a:solidFill>
            <a:tailEnd type="triangle"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Calibri"/>
            </a:endParaRPr>
          </a:p>
        </p:txBody>
      </p:sp>
      <p:sp>
        <p:nvSpPr>
          <p:cNvPr id="343" name="CaixaDeTexto 35"/>
          <p:cNvSpPr txBox="1"/>
          <p:nvPr/>
        </p:nvSpPr>
        <p:spPr>
          <a:xfrm>
            <a:off x="6143781" y="2008046"/>
            <a:ext cx="1318825" cy="461665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tIns="45720" bIns="45720">
            <a:spAutoFit/>
          </a:bodyPr>
          <a:lstStyle>
            <a:lvl1pPr>
              <a:defRPr sz="2400">
                <a:solidFill>
                  <a:srgbClr val="FFFF00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Começamos</a:t>
            </a: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 por </a:t>
            </a:r>
            <a:r>
              <a:rPr kumimoji="0" sz="1200" b="1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aqui</a:t>
            </a:r>
            <a:endParaRPr kumimoji="0" sz="1200" b="1" i="0" u="none" strike="noStrike" kern="0" cap="none" spc="0" normalizeH="0" baseline="0" noProof="0" dirty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Itau Text Light"/>
            </a:endParaRPr>
          </a:p>
        </p:txBody>
      </p:sp>
      <p:sp>
        <p:nvSpPr>
          <p:cNvPr id="344" name="a partir dos estudos realizados na fase de discovery, iniciamos a design sprint, na qual ideamos naquilo que acreditamos ser desejável para o cliente e viável ao negócio.…"/>
          <p:cNvSpPr txBox="1"/>
          <p:nvPr/>
        </p:nvSpPr>
        <p:spPr>
          <a:xfrm>
            <a:off x="850394" y="789692"/>
            <a:ext cx="3448894" cy="543739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>
            <a:spAutoFit/>
          </a:bodyPr>
          <a:lstStyle>
            <a:lvl1pPr defTabSz="825500">
              <a:defRPr sz="3200">
                <a:solidFill>
                  <a:srgbClr val="FFFFFF"/>
                </a:solidFill>
                <a:latin typeface="Itau Display Light"/>
                <a:ea typeface="Itau Display Light"/>
                <a:cs typeface="Itau Display Light"/>
                <a:sym typeface="Itau Display Light"/>
              </a:defRPr>
            </a:lvl1pPr>
          </a:lstStyle>
          <a:p>
            <a:pPr marL="0" marR="0" lvl="0" indent="0" algn="l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Light"/>
              </a:rPr>
              <a:t>lentes</a:t>
            </a:r>
            <a:r>
              <a:rPr kumimoji="0" sz="16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Light"/>
              </a:rPr>
              <a:t> do Human Centered Design</a:t>
            </a:r>
          </a:p>
        </p:txBody>
      </p:sp>
      <p:sp>
        <p:nvSpPr>
          <p:cNvPr id="345" name="a partir dos estudos realizados na fase de discovery, iniciamos a design sprint, na qual ideamos naquilo que acreditamos ser desejável para o cliente e viável ao negócio.…"/>
          <p:cNvSpPr txBox="1"/>
          <p:nvPr/>
        </p:nvSpPr>
        <p:spPr>
          <a:xfrm>
            <a:off x="844853" y="306117"/>
            <a:ext cx="5395030" cy="420628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>
            <a:spAutoFit/>
          </a:bodyPr>
          <a:lstStyle>
            <a:lvl1pPr defTabSz="825500">
              <a:defRPr sz="3200">
                <a:solidFill>
                  <a:srgbClr val="FFFFFF"/>
                </a:solidFill>
                <a:latin typeface="Itau Display Bold"/>
                <a:ea typeface="Itau Display Bold"/>
                <a:cs typeface="Itau Display Bold"/>
                <a:sym typeface="Itau Display Bold"/>
              </a:defRPr>
            </a:lvl1pPr>
          </a:lstStyle>
          <a:p>
            <a:pPr marL="0" marR="0" lvl="0" indent="0" algn="l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400" b="1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Bold"/>
              </a:rPr>
              <a:t>olhar</a:t>
            </a:r>
            <a:r>
              <a:rPr kumimoji="0" sz="2400" b="1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Bold"/>
              </a:rPr>
              <a:t> </a:t>
            </a:r>
            <a:r>
              <a:rPr kumimoji="0" sz="2400" b="1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Bold"/>
              </a:rPr>
              <a:t>através</a:t>
            </a:r>
            <a:r>
              <a:rPr kumimoji="0" sz="2400" b="1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Bold"/>
              </a:rPr>
              <a:t> de 3 </a:t>
            </a:r>
            <a:r>
              <a:rPr kumimoji="0" sz="2400" b="1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Bold"/>
              </a:rPr>
              <a:t>lentes</a:t>
            </a:r>
            <a:endParaRPr kumimoji="0" sz="2400" b="1" i="0" u="none" strike="noStrike" kern="0" cap="none" spc="0" normalizeH="0" baseline="0" noProof="0" dirty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Itau Display Bold"/>
            </a:endParaRPr>
          </a:p>
        </p:txBody>
      </p:sp>
      <p:sp>
        <p:nvSpPr>
          <p:cNvPr id="346" name="1"/>
          <p:cNvSpPr/>
          <p:nvPr/>
        </p:nvSpPr>
        <p:spPr>
          <a:xfrm>
            <a:off x="341384" y="301085"/>
            <a:ext cx="432000" cy="432000"/>
          </a:xfrm>
          <a:prstGeom prst="ellipse">
            <a:avLst/>
          </a:prstGeom>
          <a:solidFill>
            <a:srgbClr val="FF6200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/>
          <a:lstStyle>
            <a:lvl1pPr algn="ctr">
              <a:defRPr sz="2900">
                <a:solidFill>
                  <a:srgbClr val="EC7000"/>
                </a:solidFill>
                <a:latin typeface="Itau Display Bold"/>
                <a:ea typeface="Itau Display Bold"/>
                <a:cs typeface="Itau Display Bold"/>
                <a:sym typeface="Itau Display Bold"/>
              </a:defRPr>
            </a:lvl1pPr>
          </a:lstStyle>
          <a:p>
            <a:pPr hangingPunct="0"/>
            <a:r>
              <a:rPr sz="1600" b="1" ker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5688751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" name="CaixaDeTexto 8"/>
          <p:cNvSpPr txBox="1"/>
          <p:nvPr/>
        </p:nvSpPr>
        <p:spPr>
          <a:xfrm>
            <a:off x="1039261" y="2329698"/>
            <a:ext cx="2134737" cy="1569660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4800">
                <a:solidFill>
                  <a:srgbClr val="FFFFFF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4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decisões</a:t>
            </a:r>
            <a:r>
              <a:rPr kumimoji="0" sz="24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 </a:t>
            </a:r>
            <a:r>
              <a:rPr kumimoji="0" sz="24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centradas</a:t>
            </a:r>
            <a:r>
              <a:rPr kumimoji="0" sz="24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 no ser </a:t>
            </a:r>
            <a:r>
              <a:rPr kumimoji="0" sz="24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humano</a:t>
            </a:r>
            <a:endParaRPr kumimoji="0" sz="2400" b="0" i="0" u="none" strike="noStrike" kern="0" cap="none" spc="0" normalizeH="0" baseline="0" noProof="0" dirty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Itau Text Light"/>
            </a:endParaRPr>
          </a:p>
        </p:txBody>
      </p:sp>
      <p:sp>
        <p:nvSpPr>
          <p:cNvPr id="349" name="a partir dos estudos realizados na fase de discovery, iniciamos a design sprint, na qual ideamos naquilo que acreditamos ser desejável para o cliente e viável ao negócio.…"/>
          <p:cNvSpPr txBox="1"/>
          <p:nvPr/>
        </p:nvSpPr>
        <p:spPr>
          <a:xfrm>
            <a:off x="844852" y="768480"/>
            <a:ext cx="3448894" cy="297517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5400" tIns="25400" rIns="25400" bIns="25400">
            <a:spAutoFit/>
          </a:bodyPr>
          <a:lstStyle>
            <a:lvl1pPr defTabSz="825500">
              <a:defRPr sz="3200">
                <a:solidFill>
                  <a:srgbClr val="FFFFFF"/>
                </a:solidFill>
                <a:latin typeface="Itau Display Light"/>
                <a:ea typeface="Itau Display Light"/>
                <a:cs typeface="Itau Display Light"/>
                <a:sym typeface="Itau Display Light"/>
              </a:defRPr>
            </a:lvl1pPr>
          </a:lstStyle>
          <a:p>
            <a:pPr marL="0" marR="0" lvl="0" indent="0" algn="l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Light"/>
              </a:rPr>
              <a:t>princípios</a:t>
            </a:r>
            <a:r>
              <a:rPr kumimoji="0" sz="16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Light"/>
              </a:rPr>
              <a:t> do Design Thinking</a:t>
            </a:r>
          </a:p>
        </p:txBody>
      </p:sp>
      <p:sp>
        <p:nvSpPr>
          <p:cNvPr id="352" name="CaixaDeTexto 8"/>
          <p:cNvSpPr txBox="1"/>
          <p:nvPr/>
        </p:nvSpPr>
        <p:spPr>
          <a:xfrm>
            <a:off x="3681334" y="2526548"/>
            <a:ext cx="2134737" cy="830997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>
                <a:solidFill>
                  <a:srgbClr val="FFFFFF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pPr>
            <a:r>
              <a:rPr kumimoji="0" sz="24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questionar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>
                <a:solidFill>
                  <a:srgbClr val="FFFFFF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pPr>
            <a:r>
              <a:rPr kumimoji="0" sz="24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as questões</a:t>
            </a:r>
          </a:p>
        </p:txBody>
      </p:sp>
      <p:sp>
        <p:nvSpPr>
          <p:cNvPr id="353" name="CaixaDeTexto 8"/>
          <p:cNvSpPr txBox="1"/>
          <p:nvPr/>
        </p:nvSpPr>
        <p:spPr>
          <a:xfrm>
            <a:off x="6323407" y="2526548"/>
            <a:ext cx="2134737" cy="830997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4800">
                <a:solidFill>
                  <a:srgbClr val="FFFFFF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4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construir para pensar</a:t>
            </a:r>
          </a:p>
        </p:txBody>
      </p:sp>
      <p:sp>
        <p:nvSpPr>
          <p:cNvPr id="354" name="CaixaDeTexto 8"/>
          <p:cNvSpPr txBox="1"/>
          <p:nvPr/>
        </p:nvSpPr>
        <p:spPr>
          <a:xfrm>
            <a:off x="8965481" y="2723398"/>
            <a:ext cx="2134737" cy="461665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4800">
                <a:solidFill>
                  <a:srgbClr val="FFFFFF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4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iterar</a:t>
            </a:r>
          </a:p>
        </p:txBody>
      </p:sp>
      <p:sp>
        <p:nvSpPr>
          <p:cNvPr id="355" name="Retângulo"/>
          <p:cNvSpPr/>
          <p:nvPr/>
        </p:nvSpPr>
        <p:spPr>
          <a:xfrm>
            <a:off x="987124" y="2026634"/>
            <a:ext cx="2239011" cy="1878669"/>
          </a:xfrm>
          <a:prstGeom prst="rect">
            <a:avLst/>
          </a:prstGeom>
          <a:ln w="5715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 anchor="ctr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Calibri"/>
            </a:endParaRPr>
          </a:p>
        </p:txBody>
      </p:sp>
      <p:sp>
        <p:nvSpPr>
          <p:cNvPr id="356" name="Retângulo"/>
          <p:cNvSpPr/>
          <p:nvPr/>
        </p:nvSpPr>
        <p:spPr>
          <a:xfrm>
            <a:off x="3629197" y="2026634"/>
            <a:ext cx="2239011" cy="1878669"/>
          </a:xfrm>
          <a:prstGeom prst="rect">
            <a:avLst/>
          </a:prstGeom>
          <a:ln w="5715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 anchor="ctr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Calibri"/>
            </a:endParaRPr>
          </a:p>
        </p:txBody>
      </p:sp>
      <p:sp>
        <p:nvSpPr>
          <p:cNvPr id="357" name="Retângulo"/>
          <p:cNvSpPr/>
          <p:nvPr/>
        </p:nvSpPr>
        <p:spPr>
          <a:xfrm>
            <a:off x="6271271" y="2026634"/>
            <a:ext cx="2239011" cy="1878669"/>
          </a:xfrm>
          <a:prstGeom prst="rect">
            <a:avLst/>
          </a:prstGeom>
          <a:ln w="5715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 anchor="ctr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Calibri"/>
            </a:endParaRPr>
          </a:p>
        </p:txBody>
      </p:sp>
      <p:sp>
        <p:nvSpPr>
          <p:cNvPr id="358" name="Retângulo"/>
          <p:cNvSpPr/>
          <p:nvPr/>
        </p:nvSpPr>
        <p:spPr>
          <a:xfrm>
            <a:off x="8913344" y="2026634"/>
            <a:ext cx="2239011" cy="1878669"/>
          </a:xfrm>
          <a:prstGeom prst="rect">
            <a:avLst/>
          </a:prstGeom>
          <a:ln w="5715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 anchor="ctr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Calibri"/>
            </a:endParaRPr>
          </a:p>
        </p:txBody>
      </p:sp>
      <p:sp>
        <p:nvSpPr>
          <p:cNvPr id="359" name="1"/>
          <p:cNvSpPr/>
          <p:nvPr/>
        </p:nvSpPr>
        <p:spPr>
          <a:xfrm>
            <a:off x="1931607" y="1868554"/>
            <a:ext cx="350044" cy="350045"/>
          </a:xfrm>
          <a:prstGeom prst="ellipse">
            <a:avLst/>
          </a:prstGeom>
          <a:solidFill>
            <a:srgbClr val="FF6200"/>
          </a:solidFill>
          <a:ln w="57150">
            <a:solidFill>
              <a:schemeClr val="bg1">
                <a:lumMod val="85000"/>
              </a:schemeClr>
            </a:solidFill>
            <a:miter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/>
          <a:lstStyle>
            <a:lvl1pPr algn="ctr">
              <a:defRPr sz="2500">
                <a:solidFill>
                  <a:srgbClr val="FFFFFF"/>
                </a:solidFill>
                <a:latin typeface="Itau Display Heavy"/>
                <a:ea typeface="Itau Display Heavy"/>
                <a:cs typeface="Itau Display Heavy"/>
                <a:sym typeface="Itau Display Heavy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Heavy"/>
              </a:rPr>
              <a:t>1</a:t>
            </a:r>
          </a:p>
        </p:txBody>
      </p:sp>
      <p:sp>
        <p:nvSpPr>
          <p:cNvPr id="360" name="2"/>
          <p:cNvSpPr/>
          <p:nvPr/>
        </p:nvSpPr>
        <p:spPr>
          <a:xfrm>
            <a:off x="4573681" y="1868554"/>
            <a:ext cx="350044" cy="350045"/>
          </a:xfrm>
          <a:prstGeom prst="ellipse">
            <a:avLst/>
          </a:prstGeom>
          <a:solidFill>
            <a:srgbClr val="FF6200"/>
          </a:solidFill>
          <a:ln w="57150">
            <a:solidFill>
              <a:schemeClr val="bg1">
                <a:lumMod val="85000"/>
              </a:schemeClr>
            </a:solidFill>
            <a:miter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/>
          <a:lstStyle>
            <a:lvl1pPr algn="ctr">
              <a:defRPr sz="2500">
                <a:solidFill>
                  <a:srgbClr val="FFFFFF"/>
                </a:solidFill>
                <a:latin typeface="Itau Display Heavy"/>
                <a:ea typeface="Itau Display Heavy"/>
                <a:cs typeface="Itau Display Heavy"/>
                <a:sym typeface="Itau Display Heavy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Heavy"/>
              </a:rPr>
              <a:t>2</a:t>
            </a:r>
          </a:p>
        </p:txBody>
      </p:sp>
      <p:sp>
        <p:nvSpPr>
          <p:cNvPr id="361" name="3"/>
          <p:cNvSpPr/>
          <p:nvPr/>
        </p:nvSpPr>
        <p:spPr>
          <a:xfrm>
            <a:off x="7215754" y="1868554"/>
            <a:ext cx="350044" cy="350045"/>
          </a:xfrm>
          <a:prstGeom prst="ellipse">
            <a:avLst/>
          </a:prstGeom>
          <a:solidFill>
            <a:srgbClr val="FF6200"/>
          </a:solidFill>
          <a:ln w="57150">
            <a:solidFill>
              <a:schemeClr val="bg1">
                <a:lumMod val="85000"/>
              </a:schemeClr>
            </a:solidFill>
            <a:miter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/>
          <a:lstStyle>
            <a:lvl1pPr algn="ctr">
              <a:defRPr sz="2500">
                <a:solidFill>
                  <a:srgbClr val="FFFFFF"/>
                </a:solidFill>
                <a:latin typeface="Itau Display Heavy"/>
                <a:ea typeface="Itau Display Heavy"/>
                <a:cs typeface="Itau Display Heavy"/>
                <a:sym typeface="Itau Display Heavy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Heavy"/>
              </a:rPr>
              <a:t>3</a:t>
            </a:r>
          </a:p>
        </p:txBody>
      </p:sp>
      <p:sp>
        <p:nvSpPr>
          <p:cNvPr id="362" name="4"/>
          <p:cNvSpPr/>
          <p:nvPr/>
        </p:nvSpPr>
        <p:spPr>
          <a:xfrm>
            <a:off x="9857827" y="1868554"/>
            <a:ext cx="350045" cy="350045"/>
          </a:xfrm>
          <a:prstGeom prst="ellipse">
            <a:avLst/>
          </a:prstGeom>
          <a:solidFill>
            <a:srgbClr val="FF6200"/>
          </a:solidFill>
          <a:ln w="57150">
            <a:solidFill>
              <a:schemeClr val="bg1">
                <a:lumMod val="85000"/>
              </a:schemeClr>
            </a:solidFill>
            <a:miter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/>
          <a:lstStyle>
            <a:lvl1pPr algn="ctr">
              <a:defRPr sz="2500">
                <a:solidFill>
                  <a:srgbClr val="FFFFFF"/>
                </a:solidFill>
                <a:latin typeface="Itau Display Heavy"/>
                <a:ea typeface="Itau Display Heavy"/>
                <a:cs typeface="Itau Display Heavy"/>
                <a:sym typeface="Itau Display Heavy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Heavy"/>
              </a:rPr>
              <a:t>4</a:t>
            </a:r>
          </a:p>
        </p:txBody>
      </p:sp>
      <p:sp>
        <p:nvSpPr>
          <p:cNvPr id="363" name="CaixaDeTexto 8"/>
          <p:cNvSpPr txBox="1"/>
          <p:nvPr/>
        </p:nvSpPr>
        <p:spPr>
          <a:xfrm>
            <a:off x="1039261" y="4156195"/>
            <a:ext cx="2134737" cy="1257780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lnSpc>
                <a:spcPct val="120000"/>
              </a:lnSpc>
              <a:defRPr sz="3200">
                <a:solidFill>
                  <a:srgbClr val="FFFFFF"/>
                </a:solidFill>
                <a:latin typeface="Itau Display"/>
                <a:ea typeface="Itau Display"/>
                <a:cs typeface="Itau Display"/>
                <a:sym typeface="Itau Display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8F53FF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"/>
              </a:rPr>
              <a:t>tomar decisões com base na perspectiva do usuário</a:t>
            </a:r>
          </a:p>
        </p:txBody>
      </p:sp>
      <p:sp>
        <p:nvSpPr>
          <p:cNvPr id="364" name="CaixaDeTexto 8"/>
          <p:cNvSpPr txBox="1"/>
          <p:nvPr/>
        </p:nvSpPr>
        <p:spPr>
          <a:xfrm>
            <a:off x="3848389" y="4156195"/>
            <a:ext cx="1800628" cy="962315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lnSpc>
                <a:spcPct val="120000"/>
              </a:lnSpc>
              <a:defRPr sz="3200">
                <a:solidFill>
                  <a:srgbClr val="FFFFFF"/>
                </a:solidFill>
                <a:latin typeface="Itau Display"/>
                <a:ea typeface="Itau Display"/>
                <a:cs typeface="Itau Display"/>
                <a:sym typeface="Itau Display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8F53FF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"/>
              </a:rPr>
              <a:t>não hesitar de questionar o óbvio</a:t>
            </a:r>
          </a:p>
        </p:txBody>
      </p:sp>
      <p:sp>
        <p:nvSpPr>
          <p:cNvPr id="365" name="CaixaDeTexto 8"/>
          <p:cNvSpPr txBox="1"/>
          <p:nvPr/>
        </p:nvSpPr>
        <p:spPr>
          <a:xfrm>
            <a:off x="6323407" y="4156195"/>
            <a:ext cx="2081741" cy="1257780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lnSpc>
                <a:spcPct val="120000"/>
              </a:lnSpc>
              <a:defRPr sz="3200">
                <a:solidFill>
                  <a:srgbClr val="FFFFFF"/>
                </a:solidFill>
                <a:latin typeface="Itau Display"/>
                <a:ea typeface="Itau Display"/>
                <a:cs typeface="Itau Display"/>
                <a:sym typeface="Itau Display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8F53FF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"/>
              </a:rPr>
              <a:t>evidenciar o raciocínio e as ideias para as discussões </a:t>
            </a:r>
          </a:p>
        </p:txBody>
      </p:sp>
      <p:sp>
        <p:nvSpPr>
          <p:cNvPr id="366" name="CaixaDeTexto 8"/>
          <p:cNvSpPr txBox="1"/>
          <p:nvPr/>
        </p:nvSpPr>
        <p:spPr>
          <a:xfrm>
            <a:off x="8965481" y="4156195"/>
            <a:ext cx="2134737" cy="962315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lnSpc>
                <a:spcPct val="120000"/>
              </a:lnSpc>
              <a:defRPr sz="3200">
                <a:solidFill>
                  <a:srgbClr val="FFFFFF"/>
                </a:solidFill>
                <a:latin typeface="Itau Display"/>
                <a:ea typeface="Itau Display"/>
                <a:cs typeface="Itau Display"/>
                <a:sym typeface="Itau Display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8F53FF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"/>
              </a:rPr>
              <a:t>prototipar a solução. testar e testar de novo</a:t>
            </a:r>
          </a:p>
        </p:txBody>
      </p:sp>
      <p:sp>
        <p:nvSpPr>
          <p:cNvPr id="2" name="1">
            <a:extLst>
              <a:ext uri="{FF2B5EF4-FFF2-40B4-BE49-F238E27FC236}">
                <a16:creationId xmlns:a16="http://schemas.microsoft.com/office/drawing/2014/main" id="{D13045EB-98D2-A32E-6FC3-976D98DA1C92}"/>
              </a:ext>
            </a:extLst>
          </p:cNvPr>
          <p:cNvSpPr/>
          <p:nvPr/>
        </p:nvSpPr>
        <p:spPr>
          <a:xfrm>
            <a:off x="341384" y="301085"/>
            <a:ext cx="432000" cy="432000"/>
          </a:xfrm>
          <a:prstGeom prst="ellipse">
            <a:avLst/>
          </a:prstGeom>
          <a:solidFill>
            <a:srgbClr val="FF6200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/>
          <a:lstStyle>
            <a:lvl1pPr algn="ctr">
              <a:defRPr sz="2900">
                <a:solidFill>
                  <a:srgbClr val="EC7000"/>
                </a:solidFill>
                <a:latin typeface="Itau Display Bold"/>
                <a:ea typeface="Itau Display Bold"/>
                <a:cs typeface="Itau Display Bold"/>
                <a:sym typeface="Itau Display Bold"/>
              </a:defRPr>
            </a:lvl1pPr>
          </a:lstStyle>
          <a:p>
            <a:pPr hangingPunct="0"/>
            <a:r>
              <a:rPr lang="pt-BR" sz="1600" b="1" kern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</a:t>
            </a:r>
            <a:endParaRPr sz="1600" b="1" kern="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3" name="a partir dos estudos realizados na fase de discovery, iniciamos a design sprint, na qual ideamos naquilo que acreditamos ser desejável para o cliente e viável ao negócio.…"/>
          <p:cNvSpPr txBox="1"/>
          <p:nvPr/>
        </p:nvSpPr>
        <p:spPr>
          <a:xfrm>
            <a:off x="844851" y="317134"/>
            <a:ext cx="4804165" cy="420628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>
            <a:spAutoFit/>
          </a:bodyPr>
          <a:lstStyle>
            <a:lvl1pPr defTabSz="825500">
              <a:defRPr sz="3200">
                <a:solidFill>
                  <a:srgbClr val="FFFFFF"/>
                </a:solidFill>
                <a:latin typeface="Itau Display Bold"/>
                <a:ea typeface="Itau Display Bold"/>
                <a:cs typeface="Itau Display Bold"/>
                <a:sym typeface="Itau Display Bold"/>
              </a:defRPr>
            </a:lvl1pPr>
          </a:lstStyle>
          <a:p>
            <a:pPr marL="0" marR="0" lvl="0" indent="0" algn="l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sz="2400" b="1" kern="0" dirty="0" err="1">
                <a:solidFill>
                  <a:srgbClr val="FF62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er</a:t>
            </a:r>
            <a:r>
              <a:rPr sz="2400" b="1" kern="0" dirty="0">
                <a:solidFill>
                  <a:srgbClr val="FF62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sz="2400" b="1" kern="0" dirty="0" err="1">
                <a:solidFill>
                  <a:srgbClr val="FF62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m</a:t>
            </a:r>
            <a:r>
              <a:rPr sz="2400" b="1" kern="0" dirty="0">
                <a:solidFill>
                  <a:srgbClr val="FF62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sz="2400" b="1" kern="0" dirty="0" err="1">
                <a:solidFill>
                  <a:srgbClr val="FF62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ente</a:t>
            </a:r>
            <a:r>
              <a:rPr sz="2400" b="1" kern="0" dirty="0">
                <a:solidFill>
                  <a:srgbClr val="FF62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4 </a:t>
            </a:r>
            <a:r>
              <a:rPr sz="2400" b="1" kern="0" dirty="0" err="1">
                <a:solidFill>
                  <a:srgbClr val="FF62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rincípios</a:t>
            </a:r>
            <a:endParaRPr sz="2400" b="1" kern="0" dirty="0">
              <a:solidFill>
                <a:srgbClr val="FF62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312336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Conector Reto 8"/>
          <p:cNvSpPr/>
          <p:nvPr/>
        </p:nvSpPr>
        <p:spPr>
          <a:xfrm>
            <a:off x="5913287" y="1410753"/>
            <a:ext cx="1" cy="1802085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Calibri"/>
            </a:endParaRPr>
          </a:p>
        </p:txBody>
      </p:sp>
      <p:sp>
        <p:nvSpPr>
          <p:cNvPr id="369" name="Retângulo Arredondado 1"/>
          <p:cNvSpPr/>
          <p:nvPr/>
        </p:nvSpPr>
        <p:spPr>
          <a:xfrm rot="18900000">
            <a:off x="2017600" y="2090860"/>
            <a:ext cx="3283852" cy="3283848"/>
          </a:xfrm>
          <a:prstGeom prst="roundRect">
            <a:avLst>
              <a:gd name="adj" fmla="val 4377"/>
            </a:avLst>
          </a:prstGeom>
          <a:ln w="508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Calibri"/>
            </a:endParaRPr>
          </a:p>
        </p:txBody>
      </p:sp>
      <p:sp>
        <p:nvSpPr>
          <p:cNvPr id="370" name="Conector Reto 13"/>
          <p:cNvSpPr/>
          <p:nvPr/>
        </p:nvSpPr>
        <p:spPr>
          <a:xfrm>
            <a:off x="5913287" y="4170536"/>
            <a:ext cx="1" cy="1802086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Calibri"/>
            </a:endParaRPr>
          </a:p>
        </p:txBody>
      </p:sp>
      <p:sp>
        <p:nvSpPr>
          <p:cNvPr id="371" name="Retângulo Arredondado 66"/>
          <p:cNvSpPr/>
          <p:nvPr/>
        </p:nvSpPr>
        <p:spPr>
          <a:xfrm rot="18900000">
            <a:off x="1688603" y="2899868"/>
            <a:ext cx="1665839" cy="1665837"/>
          </a:xfrm>
          <a:prstGeom prst="roundRect">
            <a:avLst>
              <a:gd name="adj" fmla="val 8177"/>
            </a:avLst>
          </a:prstGeom>
          <a:ln w="508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Calibri"/>
            </a:endParaRPr>
          </a:p>
        </p:txBody>
      </p:sp>
      <p:sp>
        <p:nvSpPr>
          <p:cNvPr id="372" name="Conector Reto 14"/>
          <p:cNvSpPr/>
          <p:nvPr/>
        </p:nvSpPr>
        <p:spPr>
          <a:xfrm flipH="1">
            <a:off x="3660927" y="1478225"/>
            <a:ext cx="1" cy="4494396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Calibri"/>
            </a:endParaRPr>
          </a:p>
        </p:txBody>
      </p:sp>
      <p:sp>
        <p:nvSpPr>
          <p:cNvPr id="373" name="Conector Reto 37"/>
          <p:cNvSpPr/>
          <p:nvPr/>
        </p:nvSpPr>
        <p:spPr>
          <a:xfrm flipH="1">
            <a:off x="1068582" y="3723316"/>
            <a:ext cx="329787" cy="1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Calibri"/>
            </a:endParaRPr>
          </a:p>
        </p:txBody>
      </p:sp>
      <p:sp>
        <p:nvSpPr>
          <p:cNvPr id="374" name="Conector Reto 39"/>
          <p:cNvSpPr/>
          <p:nvPr/>
        </p:nvSpPr>
        <p:spPr>
          <a:xfrm>
            <a:off x="10471449" y="3721389"/>
            <a:ext cx="464695" cy="1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  <a:miter/>
            <a:tailEnd type="triangle"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Calibri"/>
            </a:endParaRPr>
          </a:p>
        </p:txBody>
      </p:sp>
      <p:sp>
        <p:nvSpPr>
          <p:cNvPr id="375" name="CaixaDeTexto 43"/>
          <p:cNvSpPr txBox="1"/>
          <p:nvPr/>
        </p:nvSpPr>
        <p:spPr>
          <a:xfrm>
            <a:off x="235503" y="3369618"/>
            <a:ext cx="864334" cy="738664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tIns="45720" bIns="45720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FFFFFF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pPr>
            <a:r>
              <a:rPr kumimoji="0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Não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 sei</a:t>
            </a:r>
          </a:p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FFFFFF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pPr>
            <a:r>
              <a:rPr kumimoji="0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Poderia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 ser</a:t>
            </a:r>
          </a:p>
        </p:txBody>
      </p:sp>
      <p:sp>
        <p:nvSpPr>
          <p:cNvPr id="376" name="CaixaDeTexto 44"/>
          <p:cNvSpPr txBox="1"/>
          <p:nvPr/>
        </p:nvSpPr>
        <p:spPr>
          <a:xfrm>
            <a:off x="10988371" y="3325550"/>
            <a:ext cx="877483" cy="738664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tIns="45720" bIns="45720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FFFFFF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pP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Sei</a:t>
            </a:r>
          </a:p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FFFFFF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pPr>
            <a:r>
              <a:rPr kumimoji="0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Deveria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 ser</a:t>
            </a:r>
          </a:p>
        </p:txBody>
      </p:sp>
      <p:sp>
        <p:nvSpPr>
          <p:cNvPr id="377" name="CaixaDeTexto 45"/>
          <p:cNvSpPr txBox="1"/>
          <p:nvPr/>
        </p:nvSpPr>
        <p:spPr>
          <a:xfrm rot="18900000">
            <a:off x="1828331" y="2340132"/>
            <a:ext cx="918841" cy="307777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45720" bIns="45720">
            <a:spAutoFit/>
          </a:bodyPr>
          <a:lstStyle>
            <a:lvl1pPr>
              <a:defRPr sz="2800">
                <a:solidFill>
                  <a:srgbClr val="FFFFFF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0" cap="none" spc="0" normalizeH="0" baseline="0" noProof="0" dirty="0" err="1">
                <a:ln>
                  <a:noFill/>
                </a:ln>
                <a:solidFill>
                  <a:srgbClr val="8F53FF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Divergir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8F53FF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Itau Text Light"/>
            </a:endParaRPr>
          </a:p>
        </p:txBody>
      </p:sp>
      <p:sp>
        <p:nvSpPr>
          <p:cNvPr id="378" name="CaixaDeTexto 46"/>
          <p:cNvSpPr txBox="1"/>
          <p:nvPr/>
        </p:nvSpPr>
        <p:spPr>
          <a:xfrm rot="2700000">
            <a:off x="4523182" y="2427122"/>
            <a:ext cx="1137061" cy="307777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tIns="45720" bIns="45720">
            <a:spAutoFit/>
          </a:bodyPr>
          <a:lstStyle>
            <a:lvl1pPr>
              <a:defRPr sz="2800">
                <a:solidFill>
                  <a:srgbClr val="FFFFFF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0" cap="none" spc="0" normalizeH="0" baseline="0" noProof="0" dirty="0" err="1">
                <a:ln>
                  <a:noFill/>
                </a:ln>
                <a:solidFill>
                  <a:srgbClr val="8F53FF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Convergir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8F53FF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Itau Text Light"/>
            </a:endParaRPr>
          </a:p>
        </p:txBody>
      </p:sp>
      <p:sp>
        <p:nvSpPr>
          <p:cNvPr id="379" name="Conector Reto 51"/>
          <p:cNvSpPr/>
          <p:nvPr/>
        </p:nvSpPr>
        <p:spPr>
          <a:xfrm flipH="1">
            <a:off x="4650278" y="2510290"/>
            <a:ext cx="1" cy="2425307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Calibri"/>
            </a:endParaRPr>
          </a:p>
        </p:txBody>
      </p:sp>
      <p:sp>
        <p:nvSpPr>
          <p:cNvPr id="380" name="Conector Reto 52"/>
          <p:cNvSpPr/>
          <p:nvPr/>
        </p:nvSpPr>
        <p:spPr>
          <a:xfrm>
            <a:off x="5144954" y="2954734"/>
            <a:ext cx="1" cy="1486188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Calibri"/>
            </a:endParaRPr>
          </a:p>
        </p:txBody>
      </p:sp>
      <p:sp>
        <p:nvSpPr>
          <p:cNvPr id="381" name="Conector Reto 58"/>
          <p:cNvSpPr/>
          <p:nvPr/>
        </p:nvSpPr>
        <p:spPr>
          <a:xfrm flipH="1">
            <a:off x="4140613" y="2035866"/>
            <a:ext cx="1" cy="3394407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Calibri"/>
            </a:endParaRPr>
          </a:p>
        </p:txBody>
      </p:sp>
      <p:sp>
        <p:nvSpPr>
          <p:cNvPr id="382" name="Conector Reto 67"/>
          <p:cNvSpPr/>
          <p:nvPr/>
        </p:nvSpPr>
        <p:spPr>
          <a:xfrm flipH="1">
            <a:off x="2511858" y="2655499"/>
            <a:ext cx="1" cy="2160575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Calibri"/>
            </a:endParaRPr>
          </a:p>
        </p:txBody>
      </p:sp>
      <p:sp>
        <p:nvSpPr>
          <p:cNvPr id="383" name="CaixaDeTexto 71"/>
          <p:cNvSpPr txBox="1"/>
          <p:nvPr/>
        </p:nvSpPr>
        <p:spPr>
          <a:xfrm>
            <a:off x="1499648" y="3567261"/>
            <a:ext cx="972000" cy="430887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"/>
              </a:rPr>
              <a:t>Questionar o briefing</a:t>
            </a:r>
          </a:p>
        </p:txBody>
      </p:sp>
      <p:sp>
        <p:nvSpPr>
          <p:cNvPr id="384" name="CaixaDeTexto 72"/>
          <p:cNvSpPr txBox="1"/>
          <p:nvPr/>
        </p:nvSpPr>
        <p:spPr>
          <a:xfrm>
            <a:off x="2662225" y="2234250"/>
            <a:ext cx="1128355" cy="600164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"/>
              </a:rPr>
              <a:t>Conduzir pesquisas primárias</a:t>
            </a:r>
          </a:p>
        </p:txBody>
      </p:sp>
      <p:sp>
        <p:nvSpPr>
          <p:cNvPr id="385" name="CaixaDeTexto 73"/>
          <p:cNvSpPr txBox="1"/>
          <p:nvPr/>
        </p:nvSpPr>
        <p:spPr>
          <a:xfrm>
            <a:off x="2662225" y="4575461"/>
            <a:ext cx="1128355" cy="600164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"/>
              </a:rPr>
              <a:t>Conduzir pesquisas secundárias</a:t>
            </a:r>
          </a:p>
        </p:txBody>
      </p:sp>
      <p:sp>
        <p:nvSpPr>
          <p:cNvPr id="386" name="Retângulo Arredondado 103"/>
          <p:cNvSpPr/>
          <p:nvPr/>
        </p:nvSpPr>
        <p:spPr>
          <a:xfrm rot="18900000">
            <a:off x="6563475" y="2090860"/>
            <a:ext cx="3283852" cy="3283848"/>
          </a:xfrm>
          <a:prstGeom prst="roundRect">
            <a:avLst>
              <a:gd name="adj" fmla="val 4377"/>
            </a:avLst>
          </a:prstGeom>
          <a:ln w="508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Calibri"/>
            </a:endParaRPr>
          </a:p>
        </p:txBody>
      </p:sp>
      <p:sp>
        <p:nvSpPr>
          <p:cNvPr id="387" name="Retângulo Arredondado 104"/>
          <p:cNvSpPr/>
          <p:nvPr/>
        </p:nvSpPr>
        <p:spPr>
          <a:xfrm rot="18900000">
            <a:off x="6234478" y="2899868"/>
            <a:ext cx="1665839" cy="1665837"/>
          </a:xfrm>
          <a:prstGeom prst="roundRect">
            <a:avLst>
              <a:gd name="adj" fmla="val 8177"/>
            </a:avLst>
          </a:prstGeom>
          <a:ln w="508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Calibri"/>
            </a:endParaRPr>
          </a:p>
        </p:txBody>
      </p:sp>
      <p:sp>
        <p:nvSpPr>
          <p:cNvPr id="388" name="Conector Reto 105"/>
          <p:cNvSpPr/>
          <p:nvPr/>
        </p:nvSpPr>
        <p:spPr>
          <a:xfrm flipH="1">
            <a:off x="8206802" y="1478225"/>
            <a:ext cx="1" cy="4494396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Calibri"/>
            </a:endParaRPr>
          </a:p>
        </p:txBody>
      </p:sp>
      <p:sp>
        <p:nvSpPr>
          <p:cNvPr id="389" name="CaixaDeTexto 106"/>
          <p:cNvSpPr txBox="1"/>
          <p:nvPr/>
        </p:nvSpPr>
        <p:spPr>
          <a:xfrm rot="18900000">
            <a:off x="6374206" y="2340132"/>
            <a:ext cx="918841" cy="307777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45720" bIns="45720">
            <a:spAutoFit/>
          </a:bodyPr>
          <a:lstStyle>
            <a:lvl1pPr>
              <a:defRPr sz="2800">
                <a:solidFill>
                  <a:srgbClr val="FFFFFF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0" cap="none" spc="0" normalizeH="0" baseline="0" noProof="0">
                <a:ln>
                  <a:noFill/>
                </a:ln>
                <a:solidFill>
                  <a:srgbClr val="8F53FF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Divergir</a:t>
            </a:r>
          </a:p>
        </p:txBody>
      </p:sp>
      <p:sp>
        <p:nvSpPr>
          <p:cNvPr id="390" name="CaixaDeTexto 107"/>
          <p:cNvSpPr txBox="1"/>
          <p:nvPr/>
        </p:nvSpPr>
        <p:spPr>
          <a:xfrm rot="2700000">
            <a:off x="9065210" y="2436414"/>
            <a:ext cx="1163344" cy="307777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tIns="45720" bIns="45720">
            <a:spAutoFit/>
          </a:bodyPr>
          <a:lstStyle>
            <a:lvl1pPr>
              <a:defRPr sz="2800">
                <a:solidFill>
                  <a:srgbClr val="FFFFFF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0" cap="none" spc="0" normalizeH="0" baseline="0" noProof="0" dirty="0" err="1">
                <a:ln>
                  <a:noFill/>
                </a:ln>
                <a:solidFill>
                  <a:srgbClr val="8F53FF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 Light"/>
              </a:rPr>
              <a:t>Convergir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8F53FF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Itau Text Light"/>
            </a:endParaRPr>
          </a:p>
        </p:txBody>
      </p:sp>
      <p:sp>
        <p:nvSpPr>
          <p:cNvPr id="391" name="Conector Reto 108"/>
          <p:cNvSpPr/>
          <p:nvPr/>
        </p:nvSpPr>
        <p:spPr>
          <a:xfrm>
            <a:off x="9196153" y="2510290"/>
            <a:ext cx="1" cy="2425307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Calibri"/>
            </a:endParaRPr>
          </a:p>
        </p:txBody>
      </p:sp>
      <p:sp>
        <p:nvSpPr>
          <p:cNvPr id="392" name="Conector Reto 109"/>
          <p:cNvSpPr/>
          <p:nvPr/>
        </p:nvSpPr>
        <p:spPr>
          <a:xfrm>
            <a:off x="9690829" y="2954734"/>
            <a:ext cx="1" cy="1486188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Calibri"/>
            </a:endParaRPr>
          </a:p>
        </p:txBody>
      </p:sp>
      <p:sp>
        <p:nvSpPr>
          <p:cNvPr id="393" name="Conector Reto 110"/>
          <p:cNvSpPr/>
          <p:nvPr/>
        </p:nvSpPr>
        <p:spPr>
          <a:xfrm>
            <a:off x="8686487" y="2035866"/>
            <a:ext cx="1" cy="3394407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Calibri"/>
            </a:endParaRPr>
          </a:p>
        </p:txBody>
      </p:sp>
      <p:sp>
        <p:nvSpPr>
          <p:cNvPr id="394" name="CaixaDeTexto 111"/>
          <p:cNvSpPr txBox="1"/>
          <p:nvPr/>
        </p:nvSpPr>
        <p:spPr>
          <a:xfrm rot="16200000">
            <a:off x="6327692" y="3644206"/>
            <a:ext cx="4259910" cy="276999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4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"/>
              </a:rPr>
              <a:t>Prototipar, Testar e Analisar</a:t>
            </a:r>
          </a:p>
        </p:txBody>
      </p:sp>
      <p:sp>
        <p:nvSpPr>
          <p:cNvPr id="395" name="CaixaDeTexto 112"/>
          <p:cNvSpPr txBox="1"/>
          <p:nvPr/>
        </p:nvSpPr>
        <p:spPr>
          <a:xfrm rot="16200000">
            <a:off x="6822368" y="3644206"/>
            <a:ext cx="4259910" cy="276999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4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"/>
              </a:rPr>
              <a:t>Aprender, Iterar e Repetir</a:t>
            </a:r>
          </a:p>
        </p:txBody>
      </p:sp>
      <p:sp>
        <p:nvSpPr>
          <p:cNvPr id="396" name="CaixaDeTexto 113"/>
          <p:cNvSpPr txBox="1"/>
          <p:nvPr/>
        </p:nvSpPr>
        <p:spPr>
          <a:xfrm rot="16200000">
            <a:off x="8690015" y="3497864"/>
            <a:ext cx="1490084" cy="461665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4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"/>
              </a:rPr>
              <a:t>Implementar, Iterar e Repetir</a:t>
            </a:r>
          </a:p>
        </p:txBody>
      </p:sp>
      <p:sp>
        <p:nvSpPr>
          <p:cNvPr id="397" name="CaixaDeTexto 114"/>
          <p:cNvSpPr txBox="1"/>
          <p:nvPr/>
        </p:nvSpPr>
        <p:spPr>
          <a:xfrm rot="16200000">
            <a:off x="7811720" y="3586173"/>
            <a:ext cx="4259910" cy="276999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4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"/>
              </a:rPr>
              <a:t>Lançamento</a:t>
            </a:r>
          </a:p>
        </p:txBody>
      </p:sp>
      <p:sp>
        <p:nvSpPr>
          <p:cNvPr id="398" name="Conector Reto 115"/>
          <p:cNvSpPr/>
          <p:nvPr/>
        </p:nvSpPr>
        <p:spPr>
          <a:xfrm>
            <a:off x="7057733" y="2655499"/>
            <a:ext cx="1" cy="2160575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Calibri"/>
            </a:endParaRPr>
          </a:p>
        </p:txBody>
      </p:sp>
      <p:sp>
        <p:nvSpPr>
          <p:cNvPr id="399" name="CaixaDeTexto 116"/>
          <p:cNvSpPr txBox="1"/>
          <p:nvPr/>
        </p:nvSpPr>
        <p:spPr>
          <a:xfrm>
            <a:off x="7097907" y="3448056"/>
            <a:ext cx="931884" cy="600164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"/>
              </a:rPr>
              <a:t>Avaliar as primeiras ideias</a:t>
            </a:r>
          </a:p>
        </p:txBody>
      </p:sp>
      <p:sp>
        <p:nvSpPr>
          <p:cNvPr id="400" name="CaixaDeTexto 117"/>
          <p:cNvSpPr txBox="1"/>
          <p:nvPr/>
        </p:nvSpPr>
        <p:spPr>
          <a:xfrm>
            <a:off x="5986532" y="3567261"/>
            <a:ext cx="1128355" cy="261610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"/>
              </a:rPr>
              <a:t>Idear</a:t>
            </a:r>
          </a:p>
        </p:txBody>
      </p:sp>
      <p:sp>
        <p:nvSpPr>
          <p:cNvPr id="401" name="CaixaDeTexto 118"/>
          <p:cNvSpPr txBox="1"/>
          <p:nvPr/>
        </p:nvSpPr>
        <p:spPr>
          <a:xfrm>
            <a:off x="7208100" y="2293245"/>
            <a:ext cx="1128355" cy="600164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"/>
              </a:rPr>
              <a:t>Definir ideias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"/>
              </a:rPr>
              <a:t>OKRs e 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"/>
              </a:rPr>
              <a:t>Hipóteses</a:t>
            </a:r>
          </a:p>
        </p:txBody>
      </p:sp>
      <p:sp>
        <p:nvSpPr>
          <p:cNvPr id="402" name="Colchete Esquerdo 89"/>
          <p:cNvSpPr/>
          <p:nvPr/>
        </p:nvSpPr>
        <p:spPr>
          <a:xfrm rot="5400000">
            <a:off x="3497596" y="-915423"/>
            <a:ext cx="161067" cy="443170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cubicBezTo>
                  <a:pt x="9671" y="21600"/>
                  <a:pt x="0" y="21571"/>
                  <a:pt x="0" y="21535"/>
                </a:cubicBezTo>
                <a:lnTo>
                  <a:pt x="0" y="65"/>
                </a:lnTo>
                <a:cubicBezTo>
                  <a:pt x="0" y="29"/>
                  <a:pt x="9671" y="0"/>
                  <a:pt x="21600" y="0"/>
                </a:cubicBezTo>
              </a:path>
            </a:pathLst>
          </a:custGeom>
          <a:ln w="508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Calibri"/>
            </a:endParaRPr>
          </a:p>
        </p:txBody>
      </p:sp>
      <p:sp>
        <p:nvSpPr>
          <p:cNvPr id="403" name="CaixaDeTexto 90"/>
          <p:cNvSpPr txBox="1"/>
          <p:nvPr/>
        </p:nvSpPr>
        <p:spPr>
          <a:xfrm>
            <a:off x="2440303" y="1113983"/>
            <a:ext cx="2566728" cy="24622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45720" bIns="45720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1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pPr>
            <a:r>
              <a:rPr kumimoji="0" sz="10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"/>
              </a:rPr>
              <a:t>DESENVOLVENDO AS COISAS </a:t>
            </a:r>
            <a:r>
              <a:rPr kumimoji="0" sz="1000" b="1" i="0" u="sng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"/>
              </a:rPr>
              <a:t>CERTAS</a:t>
            </a:r>
            <a:r>
              <a:rPr kumimoji="0" sz="10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"/>
              </a:rPr>
              <a:t> </a:t>
            </a:r>
          </a:p>
        </p:txBody>
      </p:sp>
      <p:sp>
        <p:nvSpPr>
          <p:cNvPr id="404" name="Colchete Esquerdo 91"/>
          <p:cNvSpPr/>
          <p:nvPr/>
        </p:nvSpPr>
        <p:spPr>
          <a:xfrm rot="5400000">
            <a:off x="8134912" y="-915423"/>
            <a:ext cx="161067" cy="443170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cubicBezTo>
                  <a:pt x="9671" y="21600"/>
                  <a:pt x="0" y="21571"/>
                  <a:pt x="0" y="21535"/>
                </a:cubicBezTo>
                <a:lnTo>
                  <a:pt x="0" y="65"/>
                </a:lnTo>
                <a:cubicBezTo>
                  <a:pt x="0" y="29"/>
                  <a:pt x="9671" y="0"/>
                  <a:pt x="21600" y="0"/>
                </a:cubicBezTo>
              </a:path>
            </a:pathLst>
          </a:custGeom>
          <a:ln w="508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Calibri"/>
            </a:endParaRPr>
          </a:p>
        </p:txBody>
      </p:sp>
      <p:sp>
        <p:nvSpPr>
          <p:cNvPr id="405" name="CaixaDeTexto 92"/>
          <p:cNvSpPr txBox="1"/>
          <p:nvPr/>
        </p:nvSpPr>
        <p:spPr>
          <a:xfrm>
            <a:off x="6703090" y="1113983"/>
            <a:ext cx="3098925" cy="24622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45720" bIns="45720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1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pPr>
            <a:r>
              <a:rPr kumimoji="0" sz="10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"/>
              </a:rPr>
              <a:t>DESENVOLVENDO AS COISAS </a:t>
            </a:r>
            <a:r>
              <a:rPr kumimoji="0" sz="1000" b="1" i="0" u="sng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"/>
              </a:rPr>
              <a:t>CORRETAMENTE</a:t>
            </a:r>
            <a:r>
              <a:rPr kumimoji="0" sz="10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"/>
              </a:rPr>
              <a:t> </a:t>
            </a:r>
          </a:p>
        </p:txBody>
      </p:sp>
      <p:sp>
        <p:nvSpPr>
          <p:cNvPr id="406" name="CaixaDeTexto 61"/>
          <p:cNvSpPr txBox="1"/>
          <p:nvPr/>
        </p:nvSpPr>
        <p:spPr>
          <a:xfrm>
            <a:off x="7208100" y="4623489"/>
            <a:ext cx="1128355" cy="600164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"/>
              </a:rPr>
              <a:t>Definir ideias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"/>
              </a:rPr>
              <a:t>OKRs e 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"/>
              </a:rPr>
              <a:t>Hipóteses</a:t>
            </a:r>
          </a:p>
        </p:txBody>
      </p:sp>
      <p:sp>
        <p:nvSpPr>
          <p:cNvPr id="407" name="CaixaDeTexto 69"/>
          <p:cNvSpPr txBox="1"/>
          <p:nvPr/>
        </p:nvSpPr>
        <p:spPr>
          <a:xfrm rot="16200000">
            <a:off x="1781818" y="3644206"/>
            <a:ext cx="4259909" cy="276999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4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"/>
              </a:rPr>
              <a:t>Construir temas e agrupamentos de informação </a:t>
            </a:r>
          </a:p>
        </p:txBody>
      </p:sp>
      <p:sp>
        <p:nvSpPr>
          <p:cNvPr id="408" name="CaixaDeTexto 74"/>
          <p:cNvSpPr txBox="1"/>
          <p:nvPr/>
        </p:nvSpPr>
        <p:spPr>
          <a:xfrm rot="16200000">
            <a:off x="2276493" y="3644206"/>
            <a:ext cx="4259910" cy="276999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4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"/>
              </a:rPr>
              <a:t>Encontrar Insights</a:t>
            </a:r>
          </a:p>
        </p:txBody>
      </p:sp>
      <p:sp>
        <p:nvSpPr>
          <p:cNvPr id="409" name="CaixaDeTexto 75"/>
          <p:cNvSpPr txBox="1"/>
          <p:nvPr/>
        </p:nvSpPr>
        <p:spPr>
          <a:xfrm rot="16200000">
            <a:off x="2754151" y="3506903"/>
            <a:ext cx="4259910" cy="461665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"/>
              </a:rPr>
              <a:t>Deduzir áreas 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"/>
              </a:rPr>
              <a:t>de oportunidade</a:t>
            </a:r>
          </a:p>
        </p:txBody>
      </p:sp>
      <p:sp>
        <p:nvSpPr>
          <p:cNvPr id="410" name="CaixaDeTexto 76"/>
          <p:cNvSpPr txBox="1"/>
          <p:nvPr/>
        </p:nvSpPr>
        <p:spPr>
          <a:xfrm rot="16200000">
            <a:off x="3265845" y="3599236"/>
            <a:ext cx="4259910" cy="276999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4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"/>
              </a:rPr>
              <a:t>Criar CPs</a:t>
            </a:r>
          </a:p>
        </p:txBody>
      </p:sp>
      <p:sp>
        <p:nvSpPr>
          <p:cNvPr id="411" name="CaixaDeTexto 77"/>
          <p:cNvSpPr txBox="1"/>
          <p:nvPr/>
        </p:nvSpPr>
        <p:spPr>
          <a:xfrm>
            <a:off x="2534202" y="3448056"/>
            <a:ext cx="971500" cy="76944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Text"/>
              </a:rPr>
              <a:t>Definir áreas de pesquisa e métodos</a:t>
            </a:r>
          </a:p>
        </p:txBody>
      </p:sp>
      <p:grpSp>
        <p:nvGrpSpPr>
          <p:cNvPr id="425" name="Agrupar 2"/>
          <p:cNvGrpSpPr/>
          <p:nvPr/>
        </p:nvGrpSpPr>
        <p:grpSpPr>
          <a:xfrm>
            <a:off x="1739285" y="5984735"/>
            <a:ext cx="8367086" cy="659566"/>
            <a:chOff x="0" y="-1"/>
            <a:chExt cx="16734169" cy="1319131"/>
          </a:xfrm>
        </p:grpSpPr>
        <p:grpSp>
          <p:nvGrpSpPr>
            <p:cNvPr id="422" name="Agrupar 93"/>
            <p:cNvGrpSpPr/>
            <p:nvPr/>
          </p:nvGrpSpPr>
          <p:grpSpPr>
            <a:xfrm>
              <a:off x="0" y="-1"/>
              <a:ext cx="16734169" cy="1319131"/>
              <a:chOff x="0" y="0"/>
              <a:chExt cx="16734168" cy="1319129"/>
            </a:xfrm>
          </p:grpSpPr>
          <p:sp>
            <p:nvSpPr>
              <p:cNvPr id="412" name="Conector Reto 94"/>
              <p:cNvSpPr/>
              <p:nvPr/>
            </p:nvSpPr>
            <p:spPr>
              <a:xfrm flipH="1" flipV="1">
                <a:off x="0" y="732972"/>
                <a:ext cx="3357799" cy="1"/>
              </a:xfrm>
              <a:prstGeom prst="line">
                <a:avLst/>
              </a:prstGeom>
              <a:noFill/>
              <a:ln w="50800" cap="flat">
                <a:solidFill>
                  <a:schemeClr val="bg1">
                    <a:lumMod val="85000"/>
                  </a:schemeClr>
                </a:solidFill>
                <a:prstDash val="solid"/>
                <a:miter lim="800000"/>
              </a:ln>
              <a:effectLst/>
            </p:spPr>
            <p:txBody>
              <a:bodyPr wrap="square" lIns="45720" tIns="45720" rIns="45720" bIns="45720" numCol="1" anchor="t">
                <a:noAutofit/>
              </a:bodyPr>
              <a:lstStyle/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FF6200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Calibri"/>
                </a:endParaRPr>
              </a:p>
            </p:txBody>
          </p:sp>
          <p:sp>
            <p:nvSpPr>
              <p:cNvPr id="413" name="Conector Reto 95"/>
              <p:cNvSpPr/>
              <p:nvPr/>
            </p:nvSpPr>
            <p:spPr>
              <a:xfrm flipH="1" flipV="1">
                <a:off x="4287187" y="732972"/>
                <a:ext cx="3357800" cy="1"/>
              </a:xfrm>
              <a:prstGeom prst="line">
                <a:avLst/>
              </a:prstGeom>
              <a:noFill/>
              <a:ln w="50800" cap="flat">
                <a:solidFill>
                  <a:schemeClr val="bg1">
                    <a:lumMod val="85000"/>
                  </a:schemeClr>
                </a:solidFill>
                <a:prstDash val="solid"/>
                <a:miter lim="800000"/>
              </a:ln>
              <a:effectLst/>
            </p:spPr>
            <p:txBody>
              <a:bodyPr wrap="square" lIns="45720" tIns="45720" rIns="45720" bIns="45720" numCol="1" anchor="t">
                <a:noAutofit/>
              </a:bodyPr>
              <a:lstStyle/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FF6200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Calibri"/>
                </a:endParaRPr>
              </a:p>
            </p:txBody>
          </p:sp>
          <p:sp>
            <p:nvSpPr>
              <p:cNvPr id="414" name="Conector Reto 96"/>
              <p:cNvSpPr/>
              <p:nvPr/>
            </p:nvSpPr>
            <p:spPr>
              <a:xfrm flipH="1" flipV="1">
                <a:off x="9089182" y="732972"/>
                <a:ext cx="3357799" cy="1"/>
              </a:xfrm>
              <a:prstGeom prst="line">
                <a:avLst/>
              </a:prstGeom>
              <a:noFill/>
              <a:ln w="50800" cap="flat">
                <a:solidFill>
                  <a:schemeClr val="bg1">
                    <a:lumMod val="85000"/>
                  </a:schemeClr>
                </a:solidFill>
                <a:prstDash val="solid"/>
                <a:miter lim="800000"/>
              </a:ln>
              <a:effectLst/>
            </p:spPr>
            <p:txBody>
              <a:bodyPr wrap="square" lIns="45720" tIns="45720" rIns="45720" bIns="45720" numCol="1" anchor="t">
                <a:noAutofit/>
              </a:bodyPr>
              <a:lstStyle/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FF6200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Calibri"/>
                </a:endParaRPr>
              </a:p>
            </p:txBody>
          </p:sp>
          <p:sp>
            <p:nvSpPr>
              <p:cNvPr id="415" name="Conector Reto 97"/>
              <p:cNvSpPr/>
              <p:nvPr/>
            </p:nvSpPr>
            <p:spPr>
              <a:xfrm flipH="1" flipV="1">
                <a:off x="13376369" y="732972"/>
                <a:ext cx="3357799" cy="1"/>
              </a:xfrm>
              <a:prstGeom prst="line">
                <a:avLst/>
              </a:prstGeom>
              <a:noFill/>
              <a:ln w="50800" cap="flat">
                <a:solidFill>
                  <a:schemeClr val="bg1">
                    <a:lumMod val="85000"/>
                  </a:schemeClr>
                </a:solidFill>
                <a:prstDash val="solid"/>
                <a:miter lim="800000"/>
              </a:ln>
              <a:effectLst/>
            </p:spPr>
            <p:txBody>
              <a:bodyPr wrap="square" lIns="45720" tIns="45720" rIns="45720" bIns="45720" numCol="1" anchor="t">
                <a:noAutofit/>
              </a:bodyPr>
              <a:lstStyle/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FF6200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Calibri"/>
                </a:endParaRPr>
              </a:p>
            </p:txBody>
          </p:sp>
          <p:sp>
            <p:nvSpPr>
              <p:cNvPr id="416" name="CaixaDeTexto 98"/>
              <p:cNvSpPr txBox="1"/>
              <p:nvPr/>
            </p:nvSpPr>
            <p:spPr>
              <a:xfrm>
                <a:off x="711324" y="0"/>
                <a:ext cx="1935146" cy="553997"/>
              </a:xfrm>
              <a:prstGeom prst="rect">
                <a:avLst/>
              </a:prstGeom>
              <a:noFill/>
              <a:ln w="254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20" tIns="45720" rIns="45720" bIns="45720" numCol="1" anchor="t">
                <a:spAutoFit/>
              </a:bodyPr>
              <a:lstStyle>
                <a:lvl1pPr algn="ctr">
                  <a:defRPr sz="2400" b="1">
                    <a:solidFill>
                      <a:srgbClr val="FFFFFF"/>
                    </a:solidFill>
                    <a:latin typeface="Itau Display"/>
                    <a:ea typeface="Itau Display"/>
                    <a:cs typeface="Itau Display"/>
                    <a:sym typeface="Itau Display"/>
                  </a:defRPr>
                </a:lvl1pPr>
              </a:lstStyle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8F53FF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Itau Display"/>
                  </a:rPr>
                  <a:t>DESCOBRIR</a:t>
                </a:r>
              </a:p>
            </p:txBody>
          </p:sp>
          <p:sp>
            <p:nvSpPr>
              <p:cNvPr id="417" name="CaixaDeTexto 99"/>
              <p:cNvSpPr txBox="1"/>
              <p:nvPr/>
            </p:nvSpPr>
            <p:spPr>
              <a:xfrm>
                <a:off x="5287055" y="0"/>
                <a:ext cx="1358064" cy="553997"/>
              </a:xfrm>
              <a:prstGeom prst="rect">
                <a:avLst/>
              </a:prstGeom>
              <a:noFill/>
              <a:ln w="254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20" tIns="45720" rIns="45720" bIns="45720" numCol="1" anchor="t">
                <a:spAutoFit/>
              </a:bodyPr>
              <a:lstStyle>
                <a:lvl1pPr algn="ctr">
                  <a:defRPr sz="2400" b="1">
                    <a:solidFill>
                      <a:srgbClr val="FFFFFF"/>
                    </a:solidFill>
                    <a:latin typeface="Itau Display"/>
                    <a:ea typeface="Itau Display"/>
                    <a:cs typeface="Itau Display"/>
                    <a:sym typeface="Itau Display"/>
                  </a:defRPr>
                </a:lvl1pPr>
              </a:lstStyle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8F53FF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Itau Display"/>
                  </a:rPr>
                  <a:t>DEFINIR</a:t>
                </a:r>
              </a:p>
            </p:txBody>
          </p:sp>
          <p:sp>
            <p:nvSpPr>
              <p:cNvPr id="418" name="CaixaDeTexto 102"/>
              <p:cNvSpPr txBox="1"/>
              <p:nvPr/>
            </p:nvSpPr>
            <p:spPr>
              <a:xfrm>
                <a:off x="950812" y="826688"/>
                <a:ext cx="1335624" cy="492441"/>
              </a:xfrm>
              <a:prstGeom prst="rect">
                <a:avLst/>
              </a:prstGeom>
              <a:noFill/>
              <a:ln w="254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20" tIns="45720" rIns="45720" bIns="45720" numCol="1" anchor="t">
                <a:spAutoFit/>
              </a:bodyPr>
              <a:lstStyle>
                <a:lvl1pPr>
                  <a:defRPr sz="2000">
                    <a:solidFill>
                      <a:srgbClr val="FFFFFF"/>
                    </a:solidFill>
                    <a:latin typeface="Itau Text Light"/>
                    <a:ea typeface="Itau Text Light"/>
                    <a:cs typeface="Itau Text Light"/>
                    <a:sym typeface="Itau Text Light"/>
                  </a:defRPr>
                </a:lvl1pPr>
              </a:lstStyle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FF6200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Itau Text Light"/>
                  </a:rPr>
                  <a:t>Pesquisa</a:t>
                </a:r>
              </a:p>
            </p:txBody>
          </p:sp>
          <p:sp>
            <p:nvSpPr>
              <p:cNvPr id="419" name="CaixaDeTexto 120"/>
              <p:cNvSpPr txBox="1"/>
              <p:nvPr/>
            </p:nvSpPr>
            <p:spPr>
              <a:xfrm>
                <a:off x="5313805" y="826688"/>
                <a:ext cx="1111202" cy="492441"/>
              </a:xfrm>
              <a:prstGeom prst="rect">
                <a:avLst/>
              </a:prstGeom>
              <a:noFill/>
              <a:ln w="254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20" tIns="45720" rIns="45720" bIns="45720" numCol="1" anchor="t">
                <a:spAutoFit/>
              </a:bodyPr>
              <a:lstStyle>
                <a:lvl1pPr>
                  <a:defRPr sz="2000">
                    <a:solidFill>
                      <a:srgbClr val="FFFFFF"/>
                    </a:solidFill>
                    <a:latin typeface="Itau Text Light"/>
                    <a:ea typeface="Itau Text Light"/>
                    <a:cs typeface="Itau Text Light"/>
                    <a:sym typeface="Itau Text Light"/>
                  </a:defRPr>
                </a:lvl1pPr>
              </a:lstStyle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FF6200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Itau Text Light"/>
                  </a:rPr>
                  <a:t>Síntese</a:t>
                </a:r>
              </a:p>
            </p:txBody>
          </p:sp>
          <p:sp>
            <p:nvSpPr>
              <p:cNvPr id="420" name="CaixaDeTexto 121"/>
              <p:cNvSpPr txBox="1"/>
              <p:nvPr/>
            </p:nvSpPr>
            <p:spPr>
              <a:xfrm>
                <a:off x="10094812" y="826688"/>
                <a:ext cx="1249060" cy="492441"/>
              </a:xfrm>
              <a:prstGeom prst="rect">
                <a:avLst/>
              </a:prstGeom>
              <a:noFill/>
              <a:ln w="254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20" tIns="45720" rIns="45720" bIns="45720" numCol="1" anchor="t">
                <a:spAutoFit/>
              </a:bodyPr>
              <a:lstStyle>
                <a:lvl1pPr>
                  <a:defRPr sz="2000">
                    <a:solidFill>
                      <a:srgbClr val="FFFFFF"/>
                    </a:solidFill>
                    <a:latin typeface="Itau Text Light"/>
                    <a:ea typeface="Itau Text Light"/>
                    <a:cs typeface="Itau Text Light"/>
                    <a:sym typeface="Itau Text Light"/>
                  </a:defRPr>
                </a:lvl1pPr>
              </a:lstStyle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FF6200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Itau Text Light"/>
                  </a:rPr>
                  <a:t>Ideação</a:t>
                </a:r>
              </a:p>
            </p:txBody>
          </p:sp>
          <p:sp>
            <p:nvSpPr>
              <p:cNvPr id="421" name="CaixaDeTexto 122"/>
              <p:cNvSpPr txBox="1"/>
              <p:nvPr/>
            </p:nvSpPr>
            <p:spPr>
              <a:xfrm>
                <a:off x="14031417" y="826688"/>
                <a:ext cx="2255745" cy="492441"/>
              </a:xfrm>
              <a:prstGeom prst="rect">
                <a:avLst/>
              </a:prstGeom>
              <a:noFill/>
              <a:ln w="254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20" tIns="45720" rIns="45720" bIns="45720" numCol="1" anchor="t">
                <a:spAutoFit/>
              </a:bodyPr>
              <a:lstStyle>
                <a:lvl1pPr>
                  <a:defRPr sz="2000">
                    <a:solidFill>
                      <a:srgbClr val="FFFFFF"/>
                    </a:solidFill>
                    <a:latin typeface="Itau Text Light"/>
                    <a:ea typeface="Itau Text Light"/>
                    <a:cs typeface="Itau Text Light"/>
                    <a:sym typeface="Itau Text Light"/>
                  </a:defRPr>
                </a:lvl1pPr>
              </a:lstStyle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FF6200"/>
                    </a:solidFill>
                    <a:effectLst/>
                    <a:uLnTx/>
                    <a:uFillTx/>
                    <a:latin typeface="Poppins" panose="00000500000000000000" pitchFamily="2" charset="0"/>
                    <a:cs typeface="Poppins" panose="00000500000000000000" pitchFamily="2" charset="0"/>
                    <a:sym typeface="Itau Text Light"/>
                  </a:rPr>
                  <a:t>Implementação</a:t>
                </a:r>
              </a:p>
            </p:txBody>
          </p:sp>
        </p:grpSp>
        <p:sp>
          <p:nvSpPr>
            <p:cNvPr id="423" name="CaixaDeTexto 62"/>
            <p:cNvSpPr txBox="1"/>
            <p:nvPr/>
          </p:nvSpPr>
          <p:spPr>
            <a:xfrm>
              <a:off x="9944780" y="1"/>
              <a:ext cx="1646606" cy="553998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45720" tIns="45720" rIns="45720" bIns="45720" numCol="1" anchor="t">
              <a:spAutoFit/>
            </a:bodyPr>
            <a:lstStyle>
              <a:lvl1pPr algn="ctr">
                <a:defRPr sz="2400" b="1">
                  <a:solidFill>
                    <a:srgbClr val="FFFFFF"/>
                  </a:solidFill>
                  <a:latin typeface="Itau Display"/>
                  <a:ea typeface="Itau Display"/>
                  <a:cs typeface="Itau Display"/>
                  <a:sym typeface="Itau Display"/>
                </a:defRPr>
              </a:lvl1pPr>
            </a:lstStyle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8F53FF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Itau Display"/>
                </a:rPr>
                <a:t>ESBOÇAR</a:t>
              </a:r>
            </a:p>
          </p:txBody>
        </p:sp>
        <p:sp>
          <p:nvSpPr>
            <p:cNvPr id="424" name="CaixaDeTexto 63"/>
            <p:cNvSpPr txBox="1"/>
            <p:nvPr/>
          </p:nvSpPr>
          <p:spPr>
            <a:xfrm>
              <a:off x="14463593" y="1"/>
              <a:ext cx="1335624" cy="553998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45720" tIns="45720" rIns="45720" bIns="45720" numCol="1" anchor="t">
              <a:spAutoFit/>
            </a:bodyPr>
            <a:lstStyle>
              <a:lvl1pPr algn="ctr">
                <a:defRPr sz="2400" b="1">
                  <a:solidFill>
                    <a:srgbClr val="FFFFFF"/>
                  </a:solidFill>
                  <a:latin typeface="Itau Display"/>
                  <a:ea typeface="Itau Display"/>
                  <a:cs typeface="Itau Display"/>
                  <a:sym typeface="Itau Display"/>
                </a:defRPr>
              </a:lvl1pPr>
            </a:lstStyle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8F53FF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Itau Display"/>
                </a:rPr>
                <a:t>TESTAR</a:t>
              </a:r>
            </a:p>
          </p:txBody>
        </p:sp>
      </p:grpSp>
      <p:sp>
        <p:nvSpPr>
          <p:cNvPr id="426" name="a partir dos estudos realizados na fase de discovery, iniciamos a design sprint, na qual ideamos naquilo que acreditamos ser desejável para o cliente e viável ao negócio.…"/>
          <p:cNvSpPr txBox="1"/>
          <p:nvPr/>
        </p:nvSpPr>
        <p:spPr>
          <a:xfrm>
            <a:off x="898927" y="715801"/>
            <a:ext cx="5038515" cy="297517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>
            <a:spAutoFit/>
          </a:bodyPr>
          <a:lstStyle>
            <a:lvl1pPr defTabSz="825500">
              <a:defRPr sz="3200">
                <a:solidFill>
                  <a:srgbClr val="FFFFFF"/>
                </a:solidFill>
                <a:latin typeface="Itau Display Light"/>
                <a:ea typeface="Itau Display Light"/>
                <a:cs typeface="Itau Display Light"/>
                <a:sym typeface="Itau Display Light"/>
              </a:defRPr>
            </a:lvl1pPr>
          </a:lstStyle>
          <a:p>
            <a:pPr marL="0" marR="0" lvl="0" indent="0" algn="l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Light"/>
              </a:rPr>
              <a:t>passo</a:t>
            </a:r>
            <a:r>
              <a:rPr kumimoji="0" sz="16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Light"/>
              </a:rPr>
              <a:t> a </a:t>
            </a:r>
            <a:r>
              <a:rPr kumimoji="0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Light"/>
              </a:rPr>
              <a:t>passo</a:t>
            </a:r>
            <a:r>
              <a:rPr kumimoji="0" sz="16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Light"/>
              </a:rPr>
              <a:t> do </a:t>
            </a:r>
            <a:r>
              <a:rPr kumimoji="0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Light"/>
              </a:rPr>
              <a:t>ponto</a:t>
            </a:r>
            <a:r>
              <a:rPr kumimoji="0" sz="16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Light"/>
              </a:rPr>
              <a:t> A para o B</a:t>
            </a:r>
          </a:p>
        </p:txBody>
      </p:sp>
      <p:sp>
        <p:nvSpPr>
          <p:cNvPr id="427" name="a partir dos estudos realizados na fase de discovery, iniciamos a design sprint, na qual ideamos naquilo que acreditamos ser desejável para o cliente e viável ao negócio.…"/>
          <p:cNvSpPr txBox="1"/>
          <p:nvPr/>
        </p:nvSpPr>
        <p:spPr>
          <a:xfrm>
            <a:off x="891443" y="273975"/>
            <a:ext cx="7032208" cy="420628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>
            <a:spAutoFit/>
          </a:bodyPr>
          <a:lstStyle>
            <a:lvl1pPr defTabSz="825500">
              <a:defRPr sz="3200">
                <a:solidFill>
                  <a:srgbClr val="FFFFFF"/>
                </a:solidFill>
                <a:latin typeface="Itau Display Bold"/>
                <a:ea typeface="Itau Display Bold"/>
                <a:cs typeface="Itau Display Bold"/>
                <a:sym typeface="Itau Display Bold"/>
              </a:defRPr>
            </a:lvl1pPr>
          </a:lstStyle>
          <a:p>
            <a:pPr marL="0" marR="0" lvl="0" indent="0" algn="l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sz="2400" b="1" kern="0" dirty="0" err="1">
                <a:solidFill>
                  <a:srgbClr val="FF62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seguir</a:t>
            </a:r>
            <a:r>
              <a:rPr sz="2400" b="1" kern="0" dirty="0">
                <a:solidFill>
                  <a:srgbClr val="FF62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sz="2400" b="1" kern="0" dirty="0" err="1">
                <a:solidFill>
                  <a:srgbClr val="FF62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elas</a:t>
            </a:r>
            <a:r>
              <a:rPr sz="2400" b="1" kern="0" dirty="0">
                <a:solidFill>
                  <a:srgbClr val="FF62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sz="2400" b="1" kern="0" dirty="0" err="1">
                <a:solidFill>
                  <a:srgbClr val="FF62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tapas</a:t>
            </a:r>
            <a:r>
              <a:rPr sz="2400" b="1" kern="0" dirty="0">
                <a:solidFill>
                  <a:srgbClr val="FF62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do double diamond</a:t>
            </a:r>
          </a:p>
        </p:txBody>
      </p:sp>
      <p:sp>
        <p:nvSpPr>
          <p:cNvPr id="2" name="1">
            <a:extLst>
              <a:ext uri="{FF2B5EF4-FFF2-40B4-BE49-F238E27FC236}">
                <a16:creationId xmlns:a16="http://schemas.microsoft.com/office/drawing/2014/main" id="{9EB81912-DAB7-BD64-EACC-FA08F26B43B4}"/>
              </a:ext>
            </a:extLst>
          </p:cNvPr>
          <p:cNvSpPr/>
          <p:nvPr/>
        </p:nvSpPr>
        <p:spPr>
          <a:xfrm>
            <a:off x="341384" y="301085"/>
            <a:ext cx="432000" cy="432000"/>
          </a:xfrm>
          <a:prstGeom prst="ellipse">
            <a:avLst/>
          </a:prstGeom>
          <a:solidFill>
            <a:srgbClr val="FF6200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/>
          <a:lstStyle>
            <a:lvl1pPr algn="ctr">
              <a:defRPr sz="2900">
                <a:solidFill>
                  <a:srgbClr val="EC7000"/>
                </a:solidFill>
                <a:latin typeface="Itau Display Bold"/>
                <a:ea typeface="Itau Display Bold"/>
                <a:cs typeface="Itau Display Bold"/>
                <a:sym typeface="Itau Display Bold"/>
              </a:defRPr>
            </a:lvl1pPr>
          </a:lstStyle>
          <a:p>
            <a:pPr hangingPunct="0"/>
            <a:r>
              <a:rPr lang="pt-BR" sz="1600" b="1" kern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3</a:t>
            </a:r>
            <a:endParaRPr sz="1600" b="1" kern="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60946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Conector Reto 8"/>
          <p:cNvSpPr/>
          <p:nvPr/>
        </p:nvSpPr>
        <p:spPr>
          <a:xfrm>
            <a:off x="5913287" y="1421770"/>
            <a:ext cx="1" cy="1802085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69" name="Retângulo Arredondado 1"/>
          <p:cNvSpPr/>
          <p:nvPr/>
        </p:nvSpPr>
        <p:spPr>
          <a:xfrm rot="18900000">
            <a:off x="2017600" y="2101877"/>
            <a:ext cx="3283852" cy="3283848"/>
          </a:xfrm>
          <a:prstGeom prst="roundRect">
            <a:avLst>
              <a:gd name="adj" fmla="val 4377"/>
            </a:avLst>
          </a:prstGeom>
          <a:ln w="508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70" name="Conector Reto 13"/>
          <p:cNvSpPr/>
          <p:nvPr/>
        </p:nvSpPr>
        <p:spPr>
          <a:xfrm>
            <a:off x="5913287" y="4181553"/>
            <a:ext cx="1" cy="1802086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71" name="Retângulo Arredondado 66"/>
          <p:cNvSpPr/>
          <p:nvPr/>
        </p:nvSpPr>
        <p:spPr>
          <a:xfrm rot="18900000">
            <a:off x="1688603" y="2910885"/>
            <a:ext cx="1665839" cy="1665837"/>
          </a:xfrm>
          <a:prstGeom prst="roundRect">
            <a:avLst>
              <a:gd name="adj" fmla="val 8177"/>
            </a:avLst>
          </a:prstGeom>
          <a:ln w="508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72" name="Conector Reto 14"/>
          <p:cNvSpPr/>
          <p:nvPr/>
        </p:nvSpPr>
        <p:spPr>
          <a:xfrm flipH="1">
            <a:off x="3660927" y="1489242"/>
            <a:ext cx="1" cy="4494396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73" name="Conector Reto 37"/>
          <p:cNvSpPr/>
          <p:nvPr/>
        </p:nvSpPr>
        <p:spPr>
          <a:xfrm flipH="1">
            <a:off x="1068582" y="3734333"/>
            <a:ext cx="329787" cy="1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74" name="Conector Reto 39"/>
          <p:cNvSpPr/>
          <p:nvPr/>
        </p:nvSpPr>
        <p:spPr>
          <a:xfrm>
            <a:off x="10471449" y="3732406"/>
            <a:ext cx="464695" cy="1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  <a:miter/>
            <a:tailEnd type="triangle"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75" name="CaixaDeTexto 43"/>
          <p:cNvSpPr txBox="1"/>
          <p:nvPr/>
        </p:nvSpPr>
        <p:spPr>
          <a:xfrm>
            <a:off x="218816" y="3336567"/>
            <a:ext cx="828595" cy="738664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tIns="45720" bIns="45720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FFFFFF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pPr>
            <a:r>
              <a:rPr kumimoji="0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 Light"/>
                <a:cs typeface="Itau Text Light"/>
                <a:sym typeface="Itau Text Light"/>
              </a:rPr>
              <a:t>Não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 Light"/>
                <a:cs typeface="Itau Text Light"/>
                <a:sym typeface="Itau Text Light"/>
              </a:rPr>
              <a:t> sei</a:t>
            </a:r>
          </a:p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FFFFFF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pPr>
            <a:r>
              <a:rPr kumimoji="0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 Light"/>
                <a:cs typeface="Itau Text Light"/>
                <a:sym typeface="Itau Text Light"/>
              </a:rPr>
              <a:t>Poderia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 Light"/>
                <a:cs typeface="Itau Text Light"/>
                <a:sym typeface="Itau Text Light"/>
              </a:rPr>
              <a:t> ser</a:t>
            </a:r>
          </a:p>
        </p:txBody>
      </p:sp>
      <p:sp>
        <p:nvSpPr>
          <p:cNvPr id="376" name="CaixaDeTexto 44"/>
          <p:cNvSpPr txBox="1"/>
          <p:nvPr/>
        </p:nvSpPr>
        <p:spPr>
          <a:xfrm>
            <a:off x="10988371" y="3336567"/>
            <a:ext cx="1010213" cy="523220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45720" bIns="45720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FFFFFF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pPr>
            <a:r>
              <a:rPr kumimoji="0" sz="14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 Light"/>
                <a:cs typeface="Itau Text Light"/>
                <a:sym typeface="Itau Text Light"/>
              </a:rPr>
              <a:t>Sei</a:t>
            </a:r>
          </a:p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FFFFFF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pPr>
            <a:r>
              <a:rPr kumimoji="0" sz="14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 Light"/>
                <a:cs typeface="Itau Text Light"/>
                <a:sym typeface="Itau Text Light"/>
              </a:rPr>
              <a:t>Deveria ser</a:t>
            </a:r>
          </a:p>
        </p:txBody>
      </p:sp>
      <p:sp>
        <p:nvSpPr>
          <p:cNvPr id="377" name="CaixaDeTexto 45"/>
          <p:cNvSpPr txBox="1"/>
          <p:nvPr/>
        </p:nvSpPr>
        <p:spPr>
          <a:xfrm rot="18900000">
            <a:off x="1907679" y="2351149"/>
            <a:ext cx="760144" cy="307777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45720" bIns="45720">
            <a:spAutoFit/>
          </a:bodyPr>
          <a:lstStyle>
            <a:lvl1pPr>
              <a:defRPr sz="2800">
                <a:solidFill>
                  <a:srgbClr val="FFFFFF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 Light"/>
                <a:cs typeface="Itau Text Light"/>
                <a:sym typeface="Itau Text Light"/>
              </a:rPr>
              <a:t>Divergir</a:t>
            </a:r>
          </a:p>
        </p:txBody>
      </p:sp>
      <p:sp>
        <p:nvSpPr>
          <p:cNvPr id="378" name="CaixaDeTexto 46"/>
          <p:cNvSpPr txBox="1"/>
          <p:nvPr/>
        </p:nvSpPr>
        <p:spPr>
          <a:xfrm rot="2700000">
            <a:off x="4550680" y="2371755"/>
            <a:ext cx="949300" cy="307777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>
              <a:defRPr sz="2800">
                <a:solidFill>
                  <a:srgbClr val="FFFFFF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 Light"/>
                <a:cs typeface="Itau Text Light"/>
                <a:sym typeface="Itau Text Light"/>
              </a:rPr>
              <a:t>Convergir</a:t>
            </a:r>
          </a:p>
        </p:txBody>
      </p:sp>
      <p:sp>
        <p:nvSpPr>
          <p:cNvPr id="379" name="Conector Reto 51"/>
          <p:cNvSpPr/>
          <p:nvPr/>
        </p:nvSpPr>
        <p:spPr>
          <a:xfrm flipH="1">
            <a:off x="4650278" y="2521307"/>
            <a:ext cx="1" cy="2425307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80" name="Conector Reto 52"/>
          <p:cNvSpPr/>
          <p:nvPr/>
        </p:nvSpPr>
        <p:spPr>
          <a:xfrm>
            <a:off x="5144954" y="2965751"/>
            <a:ext cx="1" cy="1486188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81" name="Conector Reto 58"/>
          <p:cNvSpPr/>
          <p:nvPr/>
        </p:nvSpPr>
        <p:spPr>
          <a:xfrm flipH="1">
            <a:off x="4140613" y="2046883"/>
            <a:ext cx="1" cy="3394407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82" name="Conector Reto 67"/>
          <p:cNvSpPr/>
          <p:nvPr/>
        </p:nvSpPr>
        <p:spPr>
          <a:xfrm flipH="1">
            <a:off x="2511858" y="2666516"/>
            <a:ext cx="1" cy="2160575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83" name="CaixaDeTexto 71"/>
          <p:cNvSpPr txBox="1"/>
          <p:nvPr/>
        </p:nvSpPr>
        <p:spPr>
          <a:xfrm>
            <a:off x="1499649" y="3578278"/>
            <a:ext cx="943325" cy="430887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Questionar o briefing</a:t>
            </a:r>
          </a:p>
        </p:txBody>
      </p:sp>
      <p:sp>
        <p:nvSpPr>
          <p:cNvPr id="384" name="CaixaDeTexto 72"/>
          <p:cNvSpPr txBox="1"/>
          <p:nvPr/>
        </p:nvSpPr>
        <p:spPr>
          <a:xfrm>
            <a:off x="2662225" y="2245267"/>
            <a:ext cx="1128355" cy="600164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Conduzir pesquisas primárias</a:t>
            </a:r>
          </a:p>
        </p:txBody>
      </p:sp>
      <p:sp>
        <p:nvSpPr>
          <p:cNvPr id="385" name="CaixaDeTexto 73"/>
          <p:cNvSpPr txBox="1"/>
          <p:nvPr/>
        </p:nvSpPr>
        <p:spPr>
          <a:xfrm>
            <a:off x="2662225" y="4586478"/>
            <a:ext cx="1128355" cy="600164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Conduzir pesquisas secundárias</a:t>
            </a:r>
          </a:p>
        </p:txBody>
      </p:sp>
      <p:sp>
        <p:nvSpPr>
          <p:cNvPr id="386" name="Retângulo Arredondado 103"/>
          <p:cNvSpPr/>
          <p:nvPr/>
        </p:nvSpPr>
        <p:spPr>
          <a:xfrm rot="18900000">
            <a:off x="6563475" y="2101877"/>
            <a:ext cx="3283852" cy="3283848"/>
          </a:xfrm>
          <a:prstGeom prst="roundRect">
            <a:avLst>
              <a:gd name="adj" fmla="val 4377"/>
            </a:avLst>
          </a:prstGeom>
          <a:ln w="508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87" name="Retângulo Arredondado 104"/>
          <p:cNvSpPr/>
          <p:nvPr/>
        </p:nvSpPr>
        <p:spPr>
          <a:xfrm rot="18900000">
            <a:off x="6234478" y="2910885"/>
            <a:ext cx="1665839" cy="1665837"/>
          </a:xfrm>
          <a:prstGeom prst="roundRect">
            <a:avLst>
              <a:gd name="adj" fmla="val 8177"/>
            </a:avLst>
          </a:prstGeom>
          <a:ln w="508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88" name="Conector Reto 105"/>
          <p:cNvSpPr/>
          <p:nvPr/>
        </p:nvSpPr>
        <p:spPr>
          <a:xfrm flipH="1">
            <a:off x="8206802" y="1489242"/>
            <a:ext cx="1" cy="4494396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89" name="CaixaDeTexto 106"/>
          <p:cNvSpPr txBox="1"/>
          <p:nvPr/>
        </p:nvSpPr>
        <p:spPr>
          <a:xfrm rot="18900000">
            <a:off x="6453554" y="2351149"/>
            <a:ext cx="760144" cy="307777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45720" bIns="45720">
            <a:spAutoFit/>
          </a:bodyPr>
          <a:lstStyle>
            <a:lvl1pPr>
              <a:defRPr sz="2800">
                <a:solidFill>
                  <a:srgbClr val="FFFFFF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 Light"/>
                <a:cs typeface="Itau Text Light"/>
                <a:sym typeface="Itau Text Light"/>
              </a:rPr>
              <a:t>Divergir</a:t>
            </a:r>
          </a:p>
        </p:txBody>
      </p:sp>
      <p:sp>
        <p:nvSpPr>
          <p:cNvPr id="390" name="CaixaDeTexto 107"/>
          <p:cNvSpPr txBox="1"/>
          <p:nvPr/>
        </p:nvSpPr>
        <p:spPr>
          <a:xfrm rot="2700000">
            <a:off x="9096556" y="2371755"/>
            <a:ext cx="949300" cy="307777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>
              <a:defRPr sz="2800">
                <a:solidFill>
                  <a:srgbClr val="FFFFFF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 Light"/>
                <a:cs typeface="Itau Text Light"/>
                <a:sym typeface="Itau Text Light"/>
              </a:rPr>
              <a:t>Convergir</a:t>
            </a:r>
          </a:p>
        </p:txBody>
      </p:sp>
      <p:sp>
        <p:nvSpPr>
          <p:cNvPr id="391" name="Conector Reto 108"/>
          <p:cNvSpPr/>
          <p:nvPr/>
        </p:nvSpPr>
        <p:spPr>
          <a:xfrm>
            <a:off x="9196153" y="2521307"/>
            <a:ext cx="1" cy="2425307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92" name="Conector Reto 109"/>
          <p:cNvSpPr/>
          <p:nvPr/>
        </p:nvSpPr>
        <p:spPr>
          <a:xfrm>
            <a:off x="9690829" y="2965751"/>
            <a:ext cx="1" cy="1486188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93" name="Conector Reto 110"/>
          <p:cNvSpPr/>
          <p:nvPr/>
        </p:nvSpPr>
        <p:spPr>
          <a:xfrm>
            <a:off x="8686487" y="2046883"/>
            <a:ext cx="1" cy="3394407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94" name="CaixaDeTexto 111"/>
          <p:cNvSpPr txBox="1"/>
          <p:nvPr/>
        </p:nvSpPr>
        <p:spPr>
          <a:xfrm rot="16200000">
            <a:off x="6327692" y="3655223"/>
            <a:ext cx="4259910" cy="276999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4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Prototipar, Testar e Analisar</a:t>
            </a:r>
          </a:p>
        </p:txBody>
      </p:sp>
      <p:sp>
        <p:nvSpPr>
          <p:cNvPr id="395" name="CaixaDeTexto 112"/>
          <p:cNvSpPr txBox="1"/>
          <p:nvPr/>
        </p:nvSpPr>
        <p:spPr>
          <a:xfrm rot="16200000">
            <a:off x="6822368" y="3655223"/>
            <a:ext cx="4259910" cy="276999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4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Aprender, Iterar e Repetir</a:t>
            </a:r>
          </a:p>
        </p:txBody>
      </p:sp>
      <p:sp>
        <p:nvSpPr>
          <p:cNvPr id="396" name="CaixaDeTexto 113"/>
          <p:cNvSpPr txBox="1"/>
          <p:nvPr/>
        </p:nvSpPr>
        <p:spPr>
          <a:xfrm rot="16200000">
            <a:off x="8690015" y="3508881"/>
            <a:ext cx="1490084" cy="461665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4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Implementar, Iterar e Repetir</a:t>
            </a:r>
          </a:p>
        </p:txBody>
      </p:sp>
      <p:sp>
        <p:nvSpPr>
          <p:cNvPr id="397" name="CaixaDeTexto 114"/>
          <p:cNvSpPr txBox="1"/>
          <p:nvPr/>
        </p:nvSpPr>
        <p:spPr>
          <a:xfrm rot="16200000">
            <a:off x="7811720" y="3597190"/>
            <a:ext cx="4259910" cy="276999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4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Lançamento</a:t>
            </a:r>
          </a:p>
        </p:txBody>
      </p:sp>
      <p:sp>
        <p:nvSpPr>
          <p:cNvPr id="398" name="Conector Reto 115"/>
          <p:cNvSpPr/>
          <p:nvPr/>
        </p:nvSpPr>
        <p:spPr>
          <a:xfrm>
            <a:off x="7057733" y="2666516"/>
            <a:ext cx="1" cy="2160575"/>
          </a:xfrm>
          <a:prstGeom prst="line">
            <a:avLst/>
          </a:prstGeom>
          <a:ln w="12700">
            <a:solidFill>
              <a:srgbClr val="FFFFFF"/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99" name="CaixaDeTexto 116"/>
          <p:cNvSpPr txBox="1"/>
          <p:nvPr/>
        </p:nvSpPr>
        <p:spPr>
          <a:xfrm>
            <a:off x="7097907" y="3459073"/>
            <a:ext cx="931884" cy="600164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Avaliar as primeiras ideias</a:t>
            </a:r>
          </a:p>
        </p:txBody>
      </p:sp>
      <p:sp>
        <p:nvSpPr>
          <p:cNvPr id="400" name="CaixaDeTexto 117"/>
          <p:cNvSpPr txBox="1"/>
          <p:nvPr/>
        </p:nvSpPr>
        <p:spPr>
          <a:xfrm>
            <a:off x="5986532" y="3578278"/>
            <a:ext cx="1128355" cy="261610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Idear</a:t>
            </a:r>
          </a:p>
        </p:txBody>
      </p:sp>
      <p:sp>
        <p:nvSpPr>
          <p:cNvPr id="401" name="CaixaDeTexto 118"/>
          <p:cNvSpPr txBox="1"/>
          <p:nvPr/>
        </p:nvSpPr>
        <p:spPr>
          <a:xfrm>
            <a:off x="7208100" y="2304262"/>
            <a:ext cx="1128355" cy="600164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Definir ideias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OKRs e 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Hipóteses</a:t>
            </a:r>
          </a:p>
        </p:txBody>
      </p:sp>
      <p:sp>
        <p:nvSpPr>
          <p:cNvPr id="402" name="Colchete Esquerdo 89"/>
          <p:cNvSpPr/>
          <p:nvPr/>
        </p:nvSpPr>
        <p:spPr>
          <a:xfrm rot="5400000">
            <a:off x="3497596" y="-893389"/>
            <a:ext cx="161067" cy="443170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cubicBezTo>
                  <a:pt x="9671" y="21600"/>
                  <a:pt x="0" y="21571"/>
                  <a:pt x="0" y="21535"/>
                </a:cubicBezTo>
                <a:lnTo>
                  <a:pt x="0" y="65"/>
                </a:lnTo>
                <a:cubicBezTo>
                  <a:pt x="0" y="29"/>
                  <a:pt x="9671" y="0"/>
                  <a:pt x="21600" y="0"/>
                </a:cubicBezTo>
              </a:path>
            </a:pathLst>
          </a:custGeom>
          <a:ln w="508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403" name="CaixaDeTexto 90"/>
          <p:cNvSpPr txBox="1"/>
          <p:nvPr/>
        </p:nvSpPr>
        <p:spPr>
          <a:xfrm>
            <a:off x="2440303" y="1136017"/>
            <a:ext cx="2185214" cy="24622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45720" bIns="45720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1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pPr>
            <a:r>
              <a:rPr kumimoji="0" sz="10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DESENVOLVENDO AS COISAS </a:t>
            </a:r>
            <a:r>
              <a:rPr kumimoji="0" sz="1000" b="1" i="0" u="sng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CERTAS</a:t>
            </a:r>
            <a:r>
              <a:rPr kumimoji="0" sz="10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 </a:t>
            </a:r>
          </a:p>
        </p:txBody>
      </p:sp>
      <p:sp>
        <p:nvSpPr>
          <p:cNvPr id="404" name="Colchete Esquerdo 91"/>
          <p:cNvSpPr/>
          <p:nvPr/>
        </p:nvSpPr>
        <p:spPr>
          <a:xfrm rot="5400000">
            <a:off x="8134912" y="-893389"/>
            <a:ext cx="161067" cy="443170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cubicBezTo>
                  <a:pt x="9671" y="21600"/>
                  <a:pt x="0" y="21571"/>
                  <a:pt x="0" y="21535"/>
                </a:cubicBezTo>
                <a:lnTo>
                  <a:pt x="0" y="65"/>
                </a:lnTo>
                <a:cubicBezTo>
                  <a:pt x="0" y="29"/>
                  <a:pt x="9671" y="0"/>
                  <a:pt x="21600" y="0"/>
                </a:cubicBezTo>
              </a:path>
            </a:pathLst>
          </a:custGeom>
          <a:ln w="508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405" name="CaixaDeTexto 92"/>
          <p:cNvSpPr txBox="1"/>
          <p:nvPr/>
        </p:nvSpPr>
        <p:spPr>
          <a:xfrm>
            <a:off x="6703090" y="1136017"/>
            <a:ext cx="2669320" cy="24622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45720" bIns="45720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1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pPr>
            <a:r>
              <a:rPr kumimoji="0" sz="10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DESENVOLVENDO AS COISAS </a:t>
            </a:r>
            <a:r>
              <a:rPr kumimoji="0" sz="1000" b="1" i="0" u="sng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CORRETAMENTE</a:t>
            </a:r>
            <a:r>
              <a:rPr kumimoji="0" sz="10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 </a:t>
            </a:r>
          </a:p>
        </p:txBody>
      </p:sp>
      <p:sp>
        <p:nvSpPr>
          <p:cNvPr id="406" name="CaixaDeTexto 61"/>
          <p:cNvSpPr txBox="1"/>
          <p:nvPr/>
        </p:nvSpPr>
        <p:spPr>
          <a:xfrm>
            <a:off x="7208100" y="4634506"/>
            <a:ext cx="1128355" cy="600164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Definir ideias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OKRs e 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Hipóteses</a:t>
            </a:r>
          </a:p>
        </p:txBody>
      </p:sp>
      <p:sp>
        <p:nvSpPr>
          <p:cNvPr id="407" name="CaixaDeTexto 69"/>
          <p:cNvSpPr txBox="1"/>
          <p:nvPr/>
        </p:nvSpPr>
        <p:spPr>
          <a:xfrm rot="16200000">
            <a:off x="1781818" y="3655223"/>
            <a:ext cx="4259909" cy="276999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4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Construir temas e agrupamentos de informação </a:t>
            </a:r>
          </a:p>
        </p:txBody>
      </p:sp>
      <p:sp>
        <p:nvSpPr>
          <p:cNvPr id="408" name="CaixaDeTexto 74"/>
          <p:cNvSpPr txBox="1"/>
          <p:nvPr/>
        </p:nvSpPr>
        <p:spPr>
          <a:xfrm rot="16200000">
            <a:off x="2276493" y="3655223"/>
            <a:ext cx="4259910" cy="276999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4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Encontrar Insights</a:t>
            </a:r>
          </a:p>
        </p:txBody>
      </p:sp>
      <p:sp>
        <p:nvSpPr>
          <p:cNvPr id="409" name="CaixaDeTexto 75"/>
          <p:cNvSpPr txBox="1"/>
          <p:nvPr/>
        </p:nvSpPr>
        <p:spPr>
          <a:xfrm rot="16200000">
            <a:off x="2754151" y="3517920"/>
            <a:ext cx="4259910" cy="461665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Deduzir áreas 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de oportunidade</a:t>
            </a:r>
          </a:p>
        </p:txBody>
      </p:sp>
      <p:sp>
        <p:nvSpPr>
          <p:cNvPr id="410" name="CaixaDeTexto 76"/>
          <p:cNvSpPr txBox="1"/>
          <p:nvPr/>
        </p:nvSpPr>
        <p:spPr>
          <a:xfrm rot="16200000">
            <a:off x="3265845" y="3610253"/>
            <a:ext cx="4259910" cy="276999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4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Criar CPs</a:t>
            </a:r>
          </a:p>
        </p:txBody>
      </p:sp>
      <p:sp>
        <p:nvSpPr>
          <p:cNvPr id="411" name="CaixaDeTexto 77"/>
          <p:cNvSpPr txBox="1"/>
          <p:nvPr/>
        </p:nvSpPr>
        <p:spPr>
          <a:xfrm>
            <a:off x="2534202" y="3459073"/>
            <a:ext cx="971500" cy="600164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Definir áreas de pesquisa e métodos</a:t>
            </a:r>
          </a:p>
        </p:txBody>
      </p:sp>
      <p:grpSp>
        <p:nvGrpSpPr>
          <p:cNvPr id="425" name="Agrupar 2"/>
          <p:cNvGrpSpPr/>
          <p:nvPr/>
        </p:nvGrpSpPr>
        <p:grpSpPr>
          <a:xfrm>
            <a:off x="1739285" y="5984735"/>
            <a:ext cx="8367086" cy="659566"/>
            <a:chOff x="0" y="-1"/>
            <a:chExt cx="16734169" cy="1319131"/>
          </a:xfrm>
        </p:grpSpPr>
        <p:grpSp>
          <p:nvGrpSpPr>
            <p:cNvPr id="422" name="Agrupar 93"/>
            <p:cNvGrpSpPr/>
            <p:nvPr/>
          </p:nvGrpSpPr>
          <p:grpSpPr>
            <a:xfrm>
              <a:off x="0" y="-1"/>
              <a:ext cx="16734169" cy="1319131"/>
              <a:chOff x="0" y="0"/>
              <a:chExt cx="16734168" cy="1319129"/>
            </a:xfrm>
          </p:grpSpPr>
          <p:sp>
            <p:nvSpPr>
              <p:cNvPr id="412" name="Conector Reto 94"/>
              <p:cNvSpPr/>
              <p:nvPr/>
            </p:nvSpPr>
            <p:spPr>
              <a:xfrm flipH="1" flipV="1">
                <a:off x="0" y="732972"/>
                <a:ext cx="3357799" cy="1"/>
              </a:xfrm>
              <a:prstGeom prst="line">
                <a:avLst/>
              </a:prstGeom>
              <a:noFill/>
              <a:ln w="50800" cap="flat">
                <a:solidFill>
                  <a:schemeClr val="bg1">
                    <a:lumMod val="85000"/>
                  </a:schemeClr>
                </a:solidFill>
                <a:prstDash val="solid"/>
                <a:miter lim="800000"/>
              </a:ln>
              <a:effectLst/>
            </p:spPr>
            <p:txBody>
              <a:bodyPr wrap="square" lIns="45720" tIns="45720" rIns="45720" bIns="45720" numCol="1" anchor="t">
                <a:noAutofit/>
              </a:bodyPr>
              <a:lstStyle/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FF6200"/>
                  </a:solidFill>
                  <a:effectLst/>
                  <a:uLnTx/>
                  <a:uFillTx/>
                  <a:latin typeface="Calibri"/>
                  <a:cs typeface="Calibri"/>
                  <a:sym typeface="Calibri"/>
                </a:endParaRPr>
              </a:p>
            </p:txBody>
          </p:sp>
          <p:sp>
            <p:nvSpPr>
              <p:cNvPr id="413" name="Conector Reto 95"/>
              <p:cNvSpPr/>
              <p:nvPr/>
            </p:nvSpPr>
            <p:spPr>
              <a:xfrm flipH="1" flipV="1">
                <a:off x="4287187" y="732972"/>
                <a:ext cx="3357800" cy="1"/>
              </a:xfrm>
              <a:prstGeom prst="line">
                <a:avLst/>
              </a:prstGeom>
              <a:noFill/>
              <a:ln w="50800" cap="flat">
                <a:solidFill>
                  <a:schemeClr val="bg1">
                    <a:lumMod val="85000"/>
                  </a:schemeClr>
                </a:solidFill>
                <a:prstDash val="solid"/>
                <a:miter lim="800000"/>
              </a:ln>
              <a:effectLst/>
            </p:spPr>
            <p:txBody>
              <a:bodyPr wrap="square" lIns="45720" tIns="45720" rIns="45720" bIns="45720" numCol="1" anchor="t">
                <a:noAutofit/>
              </a:bodyPr>
              <a:lstStyle/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FF6200"/>
                  </a:solidFill>
                  <a:effectLst/>
                  <a:uLnTx/>
                  <a:uFillTx/>
                  <a:latin typeface="Calibri"/>
                  <a:cs typeface="Calibri"/>
                  <a:sym typeface="Calibri"/>
                </a:endParaRPr>
              </a:p>
            </p:txBody>
          </p:sp>
          <p:sp>
            <p:nvSpPr>
              <p:cNvPr id="414" name="Conector Reto 96"/>
              <p:cNvSpPr/>
              <p:nvPr/>
            </p:nvSpPr>
            <p:spPr>
              <a:xfrm flipH="1" flipV="1">
                <a:off x="9089182" y="732972"/>
                <a:ext cx="3357799" cy="1"/>
              </a:xfrm>
              <a:prstGeom prst="line">
                <a:avLst/>
              </a:prstGeom>
              <a:noFill/>
              <a:ln w="50800" cap="flat">
                <a:solidFill>
                  <a:schemeClr val="bg1">
                    <a:lumMod val="85000"/>
                  </a:schemeClr>
                </a:solidFill>
                <a:prstDash val="solid"/>
                <a:miter lim="800000"/>
              </a:ln>
              <a:effectLst/>
            </p:spPr>
            <p:txBody>
              <a:bodyPr wrap="square" lIns="45720" tIns="45720" rIns="45720" bIns="45720" numCol="1" anchor="t">
                <a:noAutofit/>
              </a:bodyPr>
              <a:lstStyle/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FF6200"/>
                  </a:solidFill>
                  <a:effectLst/>
                  <a:uLnTx/>
                  <a:uFillTx/>
                  <a:latin typeface="Calibri"/>
                  <a:cs typeface="Calibri"/>
                  <a:sym typeface="Calibri"/>
                </a:endParaRPr>
              </a:p>
            </p:txBody>
          </p:sp>
          <p:sp>
            <p:nvSpPr>
              <p:cNvPr id="415" name="Conector Reto 97"/>
              <p:cNvSpPr/>
              <p:nvPr/>
            </p:nvSpPr>
            <p:spPr>
              <a:xfrm flipH="1" flipV="1">
                <a:off x="13376369" y="732972"/>
                <a:ext cx="3357799" cy="1"/>
              </a:xfrm>
              <a:prstGeom prst="line">
                <a:avLst/>
              </a:prstGeom>
              <a:noFill/>
              <a:ln w="50800" cap="flat">
                <a:solidFill>
                  <a:schemeClr val="bg1">
                    <a:lumMod val="85000"/>
                  </a:schemeClr>
                </a:solidFill>
                <a:prstDash val="solid"/>
                <a:miter lim="800000"/>
              </a:ln>
              <a:effectLst/>
            </p:spPr>
            <p:txBody>
              <a:bodyPr wrap="square" lIns="45720" tIns="45720" rIns="45720" bIns="45720" numCol="1" anchor="t">
                <a:noAutofit/>
              </a:bodyPr>
              <a:lstStyle/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FF6200"/>
                  </a:solidFill>
                  <a:effectLst/>
                  <a:uLnTx/>
                  <a:uFillTx/>
                  <a:latin typeface="Calibri"/>
                  <a:cs typeface="Calibri"/>
                  <a:sym typeface="Calibri"/>
                </a:endParaRPr>
              </a:p>
            </p:txBody>
          </p:sp>
          <p:sp>
            <p:nvSpPr>
              <p:cNvPr id="416" name="CaixaDeTexto 98"/>
              <p:cNvSpPr txBox="1"/>
              <p:nvPr/>
            </p:nvSpPr>
            <p:spPr>
              <a:xfrm>
                <a:off x="853992" y="0"/>
                <a:ext cx="1649810" cy="553997"/>
              </a:xfrm>
              <a:prstGeom prst="rect">
                <a:avLst/>
              </a:prstGeom>
              <a:noFill/>
              <a:ln w="254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20" tIns="45720" rIns="45720" bIns="45720" numCol="1" anchor="t">
                <a:spAutoFit/>
              </a:bodyPr>
              <a:lstStyle>
                <a:lvl1pPr algn="ctr">
                  <a:defRPr sz="2400" b="1">
                    <a:solidFill>
                      <a:srgbClr val="FFFFFF"/>
                    </a:solidFill>
                    <a:latin typeface="Itau Display"/>
                    <a:ea typeface="Itau Display"/>
                    <a:cs typeface="Itau Display"/>
                    <a:sym typeface="Itau Display"/>
                  </a:defRPr>
                </a:lvl1pPr>
              </a:lstStyle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200" b="1" i="0" u="none" strike="noStrike" kern="0" cap="none" spc="0" normalizeH="0" baseline="0" noProof="0">
                    <a:ln>
                      <a:noFill/>
                    </a:ln>
                    <a:solidFill>
                      <a:srgbClr val="FF6200"/>
                    </a:solidFill>
                    <a:effectLst/>
                    <a:uLnTx/>
                    <a:uFillTx/>
                    <a:latin typeface="Itau Display"/>
                    <a:cs typeface="Itau Display"/>
                    <a:sym typeface="Itau Display"/>
                  </a:rPr>
                  <a:t>DESCOBRIR</a:t>
                </a:r>
              </a:p>
            </p:txBody>
          </p:sp>
          <p:sp>
            <p:nvSpPr>
              <p:cNvPr id="417" name="CaixaDeTexto 99"/>
              <p:cNvSpPr txBox="1"/>
              <p:nvPr/>
            </p:nvSpPr>
            <p:spPr>
              <a:xfrm>
                <a:off x="5343159" y="0"/>
                <a:ext cx="1245854" cy="553997"/>
              </a:xfrm>
              <a:prstGeom prst="rect">
                <a:avLst/>
              </a:prstGeom>
              <a:noFill/>
              <a:ln w="254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20" tIns="45720" rIns="45720" bIns="45720" numCol="1" anchor="t">
                <a:spAutoFit/>
              </a:bodyPr>
              <a:lstStyle>
                <a:lvl1pPr algn="ctr">
                  <a:defRPr sz="2400" b="1">
                    <a:solidFill>
                      <a:srgbClr val="FFFFFF"/>
                    </a:solidFill>
                    <a:latin typeface="Itau Display"/>
                    <a:ea typeface="Itau Display"/>
                    <a:cs typeface="Itau Display"/>
                    <a:sym typeface="Itau Display"/>
                  </a:defRPr>
                </a:lvl1pPr>
              </a:lstStyle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200" b="1" i="0" u="none" strike="noStrike" kern="0" cap="none" spc="0" normalizeH="0" baseline="0" noProof="0">
                    <a:ln>
                      <a:noFill/>
                    </a:ln>
                    <a:solidFill>
                      <a:srgbClr val="FF6200"/>
                    </a:solidFill>
                    <a:effectLst/>
                    <a:uLnTx/>
                    <a:uFillTx/>
                    <a:latin typeface="Itau Display"/>
                    <a:cs typeface="Itau Display"/>
                    <a:sym typeface="Itau Display"/>
                  </a:rPr>
                  <a:t>DEFINIR</a:t>
                </a:r>
              </a:p>
            </p:txBody>
          </p:sp>
          <p:sp>
            <p:nvSpPr>
              <p:cNvPr id="418" name="CaixaDeTexto 102"/>
              <p:cNvSpPr txBox="1"/>
              <p:nvPr/>
            </p:nvSpPr>
            <p:spPr>
              <a:xfrm>
                <a:off x="950812" y="826688"/>
                <a:ext cx="1091966" cy="492441"/>
              </a:xfrm>
              <a:prstGeom prst="rect">
                <a:avLst/>
              </a:prstGeom>
              <a:noFill/>
              <a:ln w="254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20" tIns="45720" rIns="45720" bIns="45720" numCol="1" anchor="t">
                <a:spAutoFit/>
              </a:bodyPr>
              <a:lstStyle>
                <a:lvl1pPr>
                  <a:defRPr sz="2000">
                    <a:solidFill>
                      <a:srgbClr val="FFFFFF"/>
                    </a:solidFill>
                    <a:latin typeface="Itau Text Light"/>
                    <a:ea typeface="Itau Text Light"/>
                    <a:cs typeface="Itau Text Light"/>
                    <a:sym typeface="Itau Text Light"/>
                  </a:defRPr>
                </a:lvl1pPr>
              </a:lstStyle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FF6200"/>
                    </a:solidFill>
                    <a:effectLst/>
                    <a:uLnTx/>
                    <a:uFillTx/>
                    <a:latin typeface="Itau Text Light"/>
                    <a:cs typeface="Itau Text Light"/>
                    <a:sym typeface="Itau Text Light"/>
                  </a:rPr>
                  <a:t>Pesquisa</a:t>
                </a:r>
              </a:p>
            </p:txBody>
          </p:sp>
          <p:sp>
            <p:nvSpPr>
              <p:cNvPr id="419" name="CaixaDeTexto 120"/>
              <p:cNvSpPr txBox="1"/>
              <p:nvPr/>
            </p:nvSpPr>
            <p:spPr>
              <a:xfrm>
                <a:off x="5313805" y="826688"/>
                <a:ext cx="938078" cy="492441"/>
              </a:xfrm>
              <a:prstGeom prst="rect">
                <a:avLst/>
              </a:prstGeom>
              <a:noFill/>
              <a:ln w="254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20" tIns="45720" rIns="45720" bIns="45720" numCol="1" anchor="t">
                <a:spAutoFit/>
              </a:bodyPr>
              <a:lstStyle>
                <a:lvl1pPr>
                  <a:defRPr sz="2000">
                    <a:solidFill>
                      <a:srgbClr val="FFFFFF"/>
                    </a:solidFill>
                    <a:latin typeface="Itau Text Light"/>
                    <a:ea typeface="Itau Text Light"/>
                    <a:cs typeface="Itau Text Light"/>
                    <a:sym typeface="Itau Text Light"/>
                  </a:defRPr>
                </a:lvl1pPr>
              </a:lstStyle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FF6200"/>
                    </a:solidFill>
                    <a:effectLst/>
                    <a:uLnTx/>
                    <a:uFillTx/>
                    <a:latin typeface="Itau Text Light"/>
                    <a:cs typeface="Itau Text Light"/>
                    <a:sym typeface="Itau Text Light"/>
                  </a:rPr>
                  <a:t>Síntese</a:t>
                </a:r>
              </a:p>
            </p:txBody>
          </p:sp>
          <p:sp>
            <p:nvSpPr>
              <p:cNvPr id="420" name="CaixaDeTexto 121"/>
              <p:cNvSpPr txBox="1"/>
              <p:nvPr/>
            </p:nvSpPr>
            <p:spPr>
              <a:xfrm>
                <a:off x="10094812" y="826688"/>
                <a:ext cx="998992" cy="492441"/>
              </a:xfrm>
              <a:prstGeom prst="rect">
                <a:avLst/>
              </a:prstGeom>
              <a:noFill/>
              <a:ln w="254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20" tIns="45720" rIns="45720" bIns="45720" numCol="1" anchor="t">
                <a:spAutoFit/>
              </a:bodyPr>
              <a:lstStyle>
                <a:lvl1pPr>
                  <a:defRPr sz="2000">
                    <a:solidFill>
                      <a:srgbClr val="FFFFFF"/>
                    </a:solidFill>
                    <a:latin typeface="Itau Text Light"/>
                    <a:ea typeface="Itau Text Light"/>
                    <a:cs typeface="Itau Text Light"/>
                    <a:sym typeface="Itau Text Light"/>
                  </a:defRPr>
                </a:lvl1pPr>
              </a:lstStyle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FF6200"/>
                    </a:solidFill>
                    <a:effectLst/>
                    <a:uLnTx/>
                    <a:uFillTx/>
                    <a:latin typeface="Itau Text Light"/>
                    <a:cs typeface="Itau Text Light"/>
                    <a:sym typeface="Itau Text Light"/>
                  </a:rPr>
                  <a:t>Ideação</a:t>
                </a:r>
              </a:p>
            </p:txBody>
          </p:sp>
          <p:sp>
            <p:nvSpPr>
              <p:cNvPr id="421" name="CaixaDeTexto 122"/>
              <p:cNvSpPr txBox="1"/>
              <p:nvPr/>
            </p:nvSpPr>
            <p:spPr>
              <a:xfrm>
                <a:off x="14031417" y="826688"/>
                <a:ext cx="1816524" cy="492441"/>
              </a:xfrm>
              <a:prstGeom prst="rect">
                <a:avLst/>
              </a:prstGeom>
              <a:noFill/>
              <a:ln w="254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20" tIns="45720" rIns="45720" bIns="45720" numCol="1" anchor="t">
                <a:spAutoFit/>
              </a:bodyPr>
              <a:lstStyle>
                <a:lvl1pPr>
                  <a:defRPr sz="2000">
                    <a:solidFill>
                      <a:srgbClr val="FFFFFF"/>
                    </a:solidFill>
                    <a:latin typeface="Itau Text Light"/>
                    <a:ea typeface="Itau Text Light"/>
                    <a:cs typeface="Itau Text Light"/>
                    <a:sym typeface="Itau Text Light"/>
                  </a:defRPr>
                </a:lvl1pPr>
              </a:lstStyle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FF6200"/>
                    </a:solidFill>
                    <a:effectLst/>
                    <a:uLnTx/>
                    <a:uFillTx/>
                    <a:latin typeface="Itau Text Light"/>
                    <a:cs typeface="Itau Text Light"/>
                    <a:sym typeface="Itau Text Light"/>
                  </a:rPr>
                  <a:t>Implementação</a:t>
                </a:r>
              </a:p>
            </p:txBody>
          </p:sp>
        </p:grpSp>
        <p:sp>
          <p:nvSpPr>
            <p:cNvPr id="423" name="CaixaDeTexto 62"/>
            <p:cNvSpPr txBox="1"/>
            <p:nvPr/>
          </p:nvSpPr>
          <p:spPr>
            <a:xfrm>
              <a:off x="10076226" y="1"/>
              <a:ext cx="1383712" cy="553998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45720" tIns="45720" rIns="45720" bIns="45720" numCol="1" anchor="t">
              <a:spAutoFit/>
            </a:bodyPr>
            <a:lstStyle>
              <a:lvl1pPr algn="ctr">
                <a:defRPr sz="2400" b="1">
                  <a:solidFill>
                    <a:srgbClr val="FFFFFF"/>
                  </a:solidFill>
                  <a:latin typeface="Itau Display"/>
                  <a:ea typeface="Itau Display"/>
                  <a:cs typeface="Itau Display"/>
                  <a:sym typeface="Itau Display"/>
                </a:defRPr>
              </a:lvl1pPr>
            </a:lstStyle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200" b="1" i="0" u="none" strike="noStrike" kern="0" cap="none" spc="0" normalizeH="0" baseline="0" noProof="0">
                  <a:ln>
                    <a:noFill/>
                  </a:ln>
                  <a:solidFill>
                    <a:srgbClr val="FF6200"/>
                  </a:solidFill>
                  <a:effectLst/>
                  <a:uLnTx/>
                  <a:uFillTx/>
                  <a:latin typeface="Itau Display"/>
                  <a:cs typeface="Itau Display"/>
                  <a:sym typeface="Itau Display"/>
                </a:rPr>
                <a:t>ESBOÇAR</a:t>
              </a:r>
            </a:p>
          </p:txBody>
        </p:sp>
        <p:sp>
          <p:nvSpPr>
            <p:cNvPr id="424" name="CaixaDeTexto 63"/>
            <p:cNvSpPr txBox="1"/>
            <p:nvPr/>
          </p:nvSpPr>
          <p:spPr>
            <a:xfrm>
              <a:off x="14558171" y="1"/>
              <a:ext cx="1146468" cy="553998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45720" tIns="45720" rIns="45720" bIns="45720" numCol="1" anchor="t">
              <a:spAutoFit/>
            </a:bodyPr>
            <a:lstStyle>
              <a:lvl1pPr algn="ctr">
                <a:defRPr sz="2400" b="1">
                  <a:solidFill>
                    <a:srgbClr val="FFFFFF"/>
                  </a:solidFill>
                  <a:latin typeface="Itau Display"/>
                  <a:ea typeface="Itau Display"/>
                  <a:cs typeface="Itau Display"/>
                  <a:sym typeface="Itau Display"/>
                </a:defRPr>
              </a:lvl1pPr>
            </a:lstStyle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200" b="1" i="0" u="none" strike="noStrike" kern="0" cap="none" spc="0" normalizeH="0" baseline="0" noProof="0">
                  <a:ln>
                    <a:noFill/>
                  </a:ln>
                  <a:solidFill>
                    <a:srgbClr val="FF6200"/>
                  </a:solidFill>
                  <a:effectLst/>
                  <a:uLnTx/>
                  <a:uFillTx/>
                  <a:latin typeface="Itau Display"/>
                  <a:cs typeface="Itau Display"/>
                  <a:sym typeface="Itau Display"/>
                </a:rPr>
                <a:t>TESTAR</a:t>
              </a:r>
            </a:p>
          </p:txBody>
        </p:sp>
      </p:grpSp>
      <p:sp>
        <p:nvSpPr>
          <p:cNvPr id="2" name="Retângulo 4">
            <a:extLst>
              <a:ext uri="{FF2B5EF4-FFF2-40B4-BE49-F238E27FC236}">
                <a16:creationId xmlns:a16="http://schemas.microsoft.com/office/drawing/2014/main" id="{11A677E8-EE67-7DE7-3089-7B03E8CF8632}"/>
              </a:ext>
            </a:extLst>
          </p:cNvPr>
          <p:cNvSpPr/>
          <p:nvPr/>
        </p:nvSpPr>
        <p:spPr>
          <a:xfrm>
            <a:off x="207799" y="1025847"/>
            <a:ext cx="11797200" cy="5688000"/>
          </a:xfrm>
          <a:prstGeom prst="rect">
            <a:avLst/>
          </a:prstGeom>
          <a:solidFill>
            <a:schemeClr val="bg1">
              <a:lumMod val="95000"/>
              <a:alpha val="85000"/>
            </a:schemeClr>
          </a:solidFill>
          <a:ln w="12700">
            <a:miter lim="400000"/>
          </a:ln>
        </p:spPr>
        <p:txBody>
          <a:bodyPr tIns="45720" bIns="45720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" name="Forma Livre 10">
            <a:extLst>
              <a:ext uri="{FF2B5EF4-FFF2-40B4-BE49-F238E27FC236}">
                <a16:creationId xmlns:a16="http://schemas.microsoft.com/office/drawing/2014/main" id="{5635FF0D-FAD7-6F47-6721-E1A82C0F6D38}"/>
              </a:ext>
            </a:extLst>
          </p:cNvPr>
          <p:cNvSpPr/>
          <p:nvPr/>
        </p:nvSpPr>
        <p:spPr>
          <a:xfrm>
            <a:off x="1225742" y="1631288"/>
            <a:ext cx="9774622" cy="398154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198" extrusionOk="0">
                <a:moveTo>
                  <a:pt x="0" y="10619"/>
                </a:moveTo>
                <a:cubicBezTo>
                  <a:pt x="804" y="10430"/>
                  <a:pt x="1608" y="10241"/>
                  <a:pt x="2125" y="9360"/>
                </a:cubicBezTo>
                <a:cubicBezTo>
                  <a:pt x="2642" y="8478"/>
                  <a:pt x="2810" y="5023"/>
                  <a:pt x="3101" y="5331"/>
                </a:cubicBezTo>
                <a:cubicBezTo>
                  <a:pt x="3391" y="5639"/>
                  <a:pt x="3629" y="9430"/>
                  <a:pt x="3867" y="11206"/>
                </a:cubicBezTo>
                <a:cubicBezTo>
                  <a:pt x="4105" y="12983"/>
                  <a:pt x="4314" y="14564"/>
                  <a:pt x="4529" y="15991"/>
                </a:cubicBezTo>
                <a:cubicBezTo>
                  <a:pt x="4744" y="17418"/>
                  <a:pt x="5185" y="18901"/>
                  <a:pt x="5156" y="19768"/>
                </a:cubicBezTo>
                <a:cubicBezTo>
                  <a:pt x="5127" y="20635"/>
                  <a:pt x="4616" y="21251"/>
                  <a:pt x="4355" y="21195"/>
                </a:cubicBezTo>
                <a:cubicBezTo>
                  <a:pt x="4094" y="21139"/>
                  <a:pt x="3629" y="20524"/>
                  <a:pt x="3588" y="19432"/>
                </a:cubicBezTo>
                <a:cubicBezTo>
                  <a:pt x="3548" y="18341"/>
                  <a:pt x="3797" y="17180"/>
                  <a:pt x="4111" y="14648"/>
                </a:cubicBezTo>
                <a:cubicBezTo>
                  <a:pt x="4425" y="12116"/>
                  <a:pt x="5261" y="6660"/>
                  <a:pt x="5470" y="4240"/>
                </a:cubicBezTo>
                <a:cubicBezTo>
                  <a:pt x="5679" y="1819"/>
                  <a:pt x="5621" y="602"/>
                  <a:pt x="5365" y="127"/>
                </a:cubicBezTo>
                <a:cubicBezTo>
                  <a:pt x="5110" y="-349"/>
                  <a:pt x="4192" y="616"/>
                  <a:pt x="3937" y="1386"/>
                </a:cubicBezTo>
                <a:cubicBezTo>
                  <a:pt x="3681" y="2155"/>
                  <a:pt x="3699" y="3386"/>
                  <a:pt x="3832" y="4743"/>
                </a:cubicBezTo>
                <a:cubicBezTo>
                  <a:pt x="3966" y="6100"/>
                  <a:pt x="4343" y="8129"/>
                  <a:pt x="4738" y="9528"/>
                </a:cubicBezTo>
                <a:cubicBezTo>
                  <a:pt x="5133" y="10927"/>
                  <a:pt x="5795" y="12452"/>
                  <a:pt x="6201" y="13137"/>
                </a:cubicBezTo>
                <a:cubicBezTo>
                  <a:pt x="6608" y="13823"/>
                  <a:pt x="6799" y="13697"/>
                  <a:pt x="7177" y="13641"/>
                </a:cubicBezTo>
                <a:cubicBezTo>
                  <a:pt x="7554" y="13585"/>
                  <a:pt x="8205" y="13571"/>
                  <a:pt x="8466" y="12801"/>
                </a:cubicBezTo>
                <a:cubicBezTo>
                  <a:pt x="8727" y="12032"/>
                  <a:pt x="8837" y="9975"/>
                  <a:pt x="8745" y="9024"/>
                </a:cubicBezTo>
                <a:cubicBezTo>
                  <a:pt x="8652" y="8073"/>
                  <a:pt x="8199" y="7345"/>
                  <a:pt x="7908" y="7093"/>
                </a:cubicBezTo>
                <a:cubicBezTo>
                  <a:pt x="7618" y="6842"/>
                  <a:pt x="7154" y="7038"/>
                  <a:pt x="7003" y="7513"/>
                </a:cubicBezTo>
                <a:cubicBezTo>
                  <a:pt x="6852" y="7989"/>
                  <a:pt x="6933" y="9262"/>
                  <a:pt x="7003" y="9947"/>
                </a:cubicBezTo>
                <a:cubicBezTo>
                  <a:pt x="7072" y="10633"/>
                  <a:pt x="7113" y="11206"/>
                  <a:pt x="7421" y="11626"/>
                </a:cubicBezTo>
                <a:cubicBezTo>
                  <a:pt x="7728" y="12046"/>
                  <a:pt x="8402" y="12466"/>
                  <a:pt x="8849" y="12466"/>
                </a:cubicBezTo>
                <a:cubicBezTo>
                  <a:pt x="9296" y="12466"/>
                  <a:pt x="9720" y="11976"/>
                  <a:pt x="10103" y="11626"/>
                </a:cubicBezTo>
                <a:cubicBezTo>
                  <a:pt x="10486" y="11276"/>
                  <a:pt x="10864" y="10871"/>
                  <a:pt x="11148" y="10367"/>
                </a:cubicBezTo>
                <a:cubicBezTo>
                  <a:pt x="11433" y="9863"/>
                  <a:pt x="11572" y="9556"/>
                  <a:pt x="11810" y="8604"/>
                </a:cubicBezTo>
                <a:cubicBezTo>
                  <a:pt x="12048" y="7653"/>
                  <a:pt x="12333" y="5359"/>
                  <a:pt x="12577" y="4659"/>
                </a:cubicBezTo>
                <a:cubicBezTo>
                  <a:pt x="12821" y="3960"/>
                  <a:pt x="13146" y="3848"/>
                  <a:pt x="13274" y="4407"/>
                </a:cubicBezTo>
                <a:cubicBezTo>
                  <a:pt x="13401" y="4967"/>
                  <a:pt x="13355" y="6044"/>
                  <a:pt x="13343" y="8017"/>
                </a:cubicBezTo>
                <a:cubicBezTo>
                  <a:pt x="13332" y="9989"/>
                  <a:pt x="13483" y="15403"/>
                  <a:pt x="13204" y="16243"/>
                </a:cubicBezTo>
                <a:cubicBezTo>
                  <a:pt x="12925" y="17082"/>
                  <a:pt x="11973" y="14354"/>
                  <a:pt x="11671" y="13053"/>
                </a:cubicBezTo>
                <a:cubicBezTo>
                  <a:pt x="11369" y="11752"/>
                  <a:pt x="11270" y="9849"/>
                  <a:pt x="11392" y="8436"/>
                </a:cubicBezTo>
                <a:cubicBezTo>
                  <a:pt x="11514" y="7024"/>
                  <a:pt x="12124" y="4981"/>
                  <a:pt x="12403" y="4575"/>
                </a:cubicBezTo>
                <a:cubicBezTo>
                  <a:pt x="12681" y="4170"/>
                  <a:pt x="12983" y="4547"/>
                  <a:pt x="13065" y="6002"/>
                </a:cubicBezTo>
                <a:cubicBezTo>
                  <a:pt x="13146" y="7457"/>
                  <a:pt x="13059" y="12074"/>
                  <a:pt x="12890" y="13305"/>
                </a:cubicBezTo>
                <a:cubicBezTo>
                  <a:pt x="12722" y="14536"/>
                  <a:pt x="12246" y="13878"/>
                  <a:pt x="12054" y="13389"/>
                </a:cubicBezTo>
                <a:cubicBezTo>
                  <a:pt x="11863" y="12899"/>
                  <a:pt x="11694" y="11318"/>
                  <a:pt x="11741" y="10367"/>
                </a:cubicBezTo>
                <a:cubicBezTo>
                  <a:pt x="11787" y="9416"/>
                  <a:pt x="12031" y="7933"/>
                  <a:pt x="12333" y="7681"/>
                </a:cubicBezTo>
                <a:cubicBezTo>
                  <a:pt x="12635" y="7429"/>
                  <a:pt x="13245" y="8409"/>
                  <a:pt x="13552" y="8856"/>
                </a:cubicBezTo>
                <a:cubicBezTo>
                  <a:pt x="13860" y="9304"/>
                  <a:pt x="13906" y="9500"/>
                  <a:pt x="14179" y="10367"/>
                </a:cubicBezTo>
                <a:cubicBezTo>
                  <a:pt x="14452" y="11234"/>
                  <a:pt x="15010" y="12731"/>
                  <a:pt x="15190" y="14060"/>
                </a:cubicBezTo>
                <a:cubicBezTo>
                  <a:pt x="15370" y="15389"/>
                  <a:pt x="15335" y="17404"/>
                  <a:pt x="15259" y="18341"/>
                </a:cubicBezTo>
                <a:cubicBezTo>
                  <a:pt x="15184" y="19278"/>
                  <a:pt x="14940" y="19698"/>
                  <a:pt x="14737" y="19684"/>
                </a:cubicBezTo>
                <a:cubicBezTo>
                  <a:pt x="14534" y="19670"/>
                  <a:pt x="14081" y="19083"/>
                  <a:pt x="14040" y="18257"/>
                </a:cubicBezTo>
                <a:cubicBezTo>
                  <a:pt x="13999" y="17432"/>
                  <a:pt x="14272" y="15725"/>
                  <a:pt x="14493" y="14732"/>
                </a:cubicBezTo>
                <a:cubicBezTo>
                  <a:pt x="14714" y="13739"/>
                  <a:pt x="15050" y="13697"/>
                  <a:pt x="15364" y="12298"/>
                </a:cubicBezTo>
                <a:cubicBezTo>
                  <a:pt x="15677" y="10899"/>
                  <a:pt x="15956" y="7611"/>
                  <a:pt x="16374" y="6338"/>
                </a:cubicBezTo>
                <a:cubicBezTo>
                  <a:pt x="16792" y="5065"/>
                  <a:pt x="17477" y="4701"/>
                  <a:pt x="17872" y="4659"/>
                </a:cubicBezTo>
                <a:cubicBezTo>
                  <a:pt x="18267" y="4617"/>
                  <a:pt x="18563" y="5065"/>
                  <a:pt x="18743" y="6086"/>
                </a:cubicBezTo>
                <a:cubicBezTo>
                  <a:pt x="18923" y="7107"/>
                  <a:pt x="19005" y="9122"/>
                  <a:pt x="18952" y="10787"/>
                </a:cubicBezTo>
                <a:cubicBezTo>
                  <a:pt x="18900" y="12452"/>
                  <a:pt x="18703" y="14900"/>
                  <a:pt x="18430" y="16075"/>
                </a:cubicBezTo>
                <a:cubicBezTo>
                  <a:pt x="18157" y="17250"/>
                  <a:pt x="17675" y="17921"/>
                  <a:pt x="17315" y="17838"/>
                </a:cubicBezTo>
                <a:cubicBezTo>
                  <a:pt x="16955" y="17754"/>
                  <a:pt x="16467" y="16844"/>
                  <a:pt x="16270" y="15571"/>
                </a:cubicBezTo>
                <a:cubicBezTo>
                  <a:pt x="16072" y="14298"/>
                  <a:pt x="15997" y="11724"/>
                  <a:pt x="16130" y="10199"/>
                </a:cubicBezTo>
                <a:cubicBezTo>
                  <a:pt x="16264" y="8674"/>
                  <a:pt x="16705" y="6982"/>
                  <a:pt x="17071" y="6422"/>
                </a:cubicBezTo>
                <a:cubicBezTo>
                  <a:pt x="17437" y="5862"/>
                  <a:pt x="18064" y="6450"/>
                  <a:pt x="18325" y="6842"/>
                </a:cubicBezTo>
                <a:cubicBezTo>
                  <a:pt x="18586" y="7233"/>
                  <a:pt x="18656" y="7625"/>
                  <a:pt x="18639" y="8772"/>
                </a:cubicBezTo>
                <a:cubicBezTo>
                  <a:pt x="18621" y="9919"/>
                  <a:pt x="18401" y="12619"/>
                  <a:pt x="18221" y="13725"/>
                </a:cubicBezTo>
                <a:cubicBezTo>
                  <a:pt x="18041" y="14830"/>
                  <a:pt x="17779" y="15263"/>
                  <a:pt x="17559" y="15403"/>
                </a:cubicBezTo>
                <a:cubicBezTo>
                  <a:pt x="17338" y="15543"/>
                  <a:pt x="17077" y="15207"/>
                  <a:pt x="16897" y="14564"/>
                </a:cubicBezTo>
                <a:cubicBezTo>
                  <a:pt x="16717" y="13920"/>
                  <a:pt x="16502" y="12466"/>
                  <a:pt x="16479" y="11542"/>
                </a:cubicBezTo>
                <a:cubicBezTo>
                  <a:pt x="16455" y="10619"/>
                  <a:pt x="16630" y="9528"/>
                  <a:pt x="16757" y="9024"/>
                </a:cubicBezTo>
                <a:cubicBezTo>
                  <a:pt x="16885" y="8520"/>
                  <a:pt x="17042" y="8548"/>
                  <a:pt x="17245" y="8520"/>
                </a:cubicBezTo>
                <a:cubicBezTo>
                  <a:pt x="17448" y="8492"/>
                  <a:pt x="17774" y="8492"/>
                  <a:pt x="17977" y="8856"/>
                </a:cubicBezTo>
                <a:cubicBezTo>
                  <a:pt x="18180" y="9220"/>
                  <a:pt x="18221" y="10227"/>
                  <a:pt x="18465" y="10703"/>
                </a:cubicBezTo>
                <a:cubicBezTo>
                  <a:pt x="18708" y="11178"/>
                  <a:pt x="19132" y="11598"/>
                  <a:pt x="19440" y="11710"/>
                </a:cubicBezTo>
                <a:cubicBezTo>
                  <a:pt x="19748" y="11822"/>
                  <a:pt x="20079" y="11682"/>
                  <a:pt x="20311" y="11374"/>
                </a:cubicBezTo>
                <a:cubicBezTo>
                  <a:pt x="20543" y="11067"/>
                  <a:pt x="20735" y="10563"/>
                  <a:pt x="20834" y="9863"/>
                </a:cubicBezTo>
                <a:cubicBezTo>
                  <a:pt x="20932" y="9164"/>
                  <a:pt x="21002" y="7877"/>
                  <a:pt x="20903" y="7177"/>
                </a:cubicBezTo>
                <a:cubicBezTo>
                  <a:pt x="20805" y="6478"/>
                  <a:pt x="20462" y="5862"/>
                  <a:pt x="20241" y="5667"/>
                </a:cubicBezTo>
                <a:cubicBezTo>
                  <a:pt x="20021" y="5471"/>
                  <a:pt x="19719" y="5736"/>
                  <a:pt x="19579" y="6002"/>
                </a:cubicBezTo>
                <a:cubicBezTo>
                  <a:pt x="19440" y="6268"/>
                  <a:pt x="19428" y="6702"/>
                  <a:pt x="19405" y="7261"/>
                </a:cubicBezTo>
                <a:cubicBezTo>
                  <a:pt x="19382" y="7821"/>
                  <a:pt x="19370" y="8800"/>
                  <a:pt x="19440" y="9360"/>
                </a:cubicBezTo>
                <a:cubicBezTo>
                  <a:pt x="19510" y="9919"/>
                  <a:pt x="19701" y="10381"/>
                  <a:pt x="19823" y="10619"/>
                </a:cubicBezTo>
                <a:cubicBezTo>
                  <a:pt x="19945" y="10857"/>
                  <a:pt x="20073" y="10787"/>
                  <a:pt x="20172" y="10787"/>
                </a:cubicBezTo>
                <a:cubicBezTo>
                  <a:pt x="20270" y="10787"/>
                  <a:pt x="20323" y="10899"/>
                  <a:pt x="20415" y="10619"/>
                </a:cubicBezTo>
                <a:cubicBezTo>
                  <a:pt x="20508" y="10339"/>
                  <a:pt x="20717" y="9640"/>
                  <a:pt x="20729" y="9108"/>
                </a:cubicBezTo>
                <a:cubicBezTo>
                  <a:pt x="20741" y="8576"/>
                  <a:pt x="20613" y="7667"/>
                  <a:pt x="20485" y="7429"/>
                </a:cubicBezTo>
                <a:cubicBezTo>
                  <a:pt x="20357" y="7191"/>
                  <a:pt x="20061" y="7499"/>
                  <a:pt x="19963" y="7681"/>
                </a:cubicBezTo>
                <a:cubicBezTo>
                  <a:pt x="19864" y="7863"/>
                  <a:pt x="19864" y="8185"/>
                  <a:pt x="19893" y="8520"/>
                </a:cubicBezTo>
                <a:cubicBezTo>
                  <a:pt x="19922" y="8856"/>
                  <a:pt x="20032" y="9360"/>
                  <a:pt x="20137" y="9696"/>
                </a:cubicBezTo>
                <a:cubicBezTo>
                  <a:pt x="20241" y="10031"/>
                  <a:pt x="20375" y="10339"/>
                  <a:pt x="20520" y="10535"/>
                </a:cubicBezTo>
                <a:cubicBezTo>
                  <a:pt x="20665" y="10731"/>
                  <a:pt x="20828" y="10843"/>
                  <a:pt x="21008" y="10871"/>
                </a:cubicBezTo>
                <a:cubicBezTo>
                  <a:pt x="21188" y="10899"/>
                  <a:pt x="21394" y="10801"/>
                  <a:pt x="21600" y="10703"/>
                </a:cubicBezTo>
              </a:path>
            </a:pathLst>
          </a:custGeom>
          <a:ln w="114300">
            <a:solidFill>
              <a:schemeClr val="tx1">
                <a:lumMod val="50000"/>
                <a:lumOff val="50000"/>
              </a:schemeClr>
            </a:solidFill>
            <a:miter/>
            <a:tailEnd type="triangle"/>
          </a:ln>
        </p:spPr>
        <p:txBody>
          <a:bodyPr tIns="45720" bIns="45720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4" name="CaixaDeTexto 70">
            <a:extLst>
              <a:ext uri="{FF2B5EF4-FFF2-40B4-BE49-F238E27FC236}">
                <a16:creationId xmlns:a16="http://schemas.microsoft.com/office/drawing/2014/main" id="{C3AAF158-CF2C-1ACD-0E24-CBAF9CAA59F0}"/>
              </a:ext>
            </a:extLst>
          </p:cNvPr>
          <p:cNvSpPr txBox="1"/>
          <p:nvPr/>
        </p:nvSpPr>
        <p:spPr>
          <a:xfrm>
            <a:off x="3478653" y="6190174"/>
            <a:ext cx="4572085" cy="24622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45720" bIns="45720">
            <a:spAutoFit/>
          </a:bodyPr>
          <a:lstStyle>
            <a:lvl1pPr>
              <a:defRPr sz="2000" b="1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-     LEMBRE-SE: ESSE NÃO É UM PROCESSO LINEAR, MAS SIM ITERATIVO     -</a:t>
            </a:r>
          </a:p>
        </p:txBody>
      </p:sp>
      <p:sp>
        <p:nvSpPr>
          <p:cNvPr id="5" name="Retângulo 65">
            <a:extLst>
              <a:ext uri="{FF2B5EF4-FFF2-40B4-BE49-F238E27FC236}">
                <a16:creationId xmlns:a16="http://schemas.microsoft.com/office/drawing/2014/main" id="{5DD765DA-647C-E0A6-0628-0F422A05CAD1}"/>
              </a:ext>
            </a:extLst>
          </p:cNvPr>
          <p:cNvSpPr/>
          <p:nvPr/>
        </p:nvSpPr>
        <p:spPr>
          <a:xfrm>
            <a:off x="2662225" y="5880483"/>
            <a:ext cx="6422952" cy="630926"/>
          </a:xfrm>
          <a:prstGeom prst="rect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miter/>
          </a:ln>
        </p:spPr>
        <p:txBody>
          <a:bodyPr tIns="45720" bIns="45720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6" name="a partir dos estudos realizados na fase de discovery, iniciamos a design sprint, na qual ideamos naquilo que acreditamos ser desejável para o cliente e viável ao negócio.…">
            <a:extLst>
              <a:ext uri="{FF2B5EF4-FFF2-40B4-BE49-F238E27FC236}">
                <a16:creationId xmlns:a16="http://schemas.microsoft.com/office/drawing/2014/main" id="{034A1A3C-13C6-8A44-867F-AED08988CE8D}"/>
              </a:ext>
            </a:extLst>
          </p:cNvPr>
          <p:cNvSpPr txBox="1"/>
          <p:nvPr/>
        </p:nvSpPr>
        <p:spPr>
          <a:xfrm>
            <a:off x="898927" y="715801"/>
            <a:ext cx="5038515" cy="297517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>
            <a:spAutoFit/>
          </a:bodyPr>
          <a:lstStyle>
            <a:lvl1pPr defTabSz="825500">
              <a:defRPr sz="3200">
                <a:solidFill>
                  <a:srgbClr val="FFFFFF"/>
                </a:solidFill>
                <a:latin typeface="Itau Display Light"/>
                <a:ea typeface="Itau Display Light"/>
                <a:cs typeface="Itau Display Light"/>
                <a:sym typeface="Itau Display Light"/>
              </a:defRPr>
            </a:lvl1pPr>
          </a:lstStyle>
          <a:p>
            <a:pPr marL="0" marR="0" lvl="0" indent="0" algn="l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Light"/>
              </a:rPr>
              <a:t>passo</a:t>
            </a:r>
            <a:r>
              <a:rPr kumimoji="0" sz="16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Light"/>
              </a:rPr>
              <a:t> a </a:t>
            </a:r>
            <a:r>
              <a:rPr kumimoji="0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Light"/>
              </a:rPr>
              <a:t>passo</a:t>
            </a:r>
            <a:r>
              <a:rPr kumimoji="0" sz="16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Light"/>
              </a:rPr>
              <a:t> do </a:t>
            </a:r>
            <a:r>
              <a:rPr kumimoji="0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Light"/>
              </a:rPr>
              <a:t>ponto</a:t>
            </a:r>
            <a:r>
              <a:rPr kumimoji="0" sz="16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Light"/>
              </a:rPr>
              <a:t> A para o B</a:t>
            </a:r>
          </a:p>
        </p:txBody>
      </p:sp>
      <p:sp>
        <p:nvSpPr>
          <p:cNvPr id="7" name="a partir dos estudos realizados na fase de discovery, iniciamos a design sprint, na qual ideamos naquilo que acreditamos ser desejável para o cliente e viável ao negócio.…">
            <a:extLst>
              <a:ext uri="{FF2B5EF4-FFF2-40B4-BE49-F238E27FC236}">
                <a16:creationId xmlns:a16="http://schemas.microsoft.com/office/drawing/2014/main" id="{40C80451-D610-B7DD-D9A3-BF42FB19A0E2}"/>
              </a:ext>
            </a:extLst>
          </p:cNvPr>
          <p:cNvSpPr txBox="1"/>
          <p:nvPr/>
        </p:nvSpPr>
        <p:spPr>
          <a:xfrm>
            <a:off x="891443" y="273975"/>
            <a:ext cx="7032208" cy="420628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>
            <a:spAutoFit/>
          </a:bodyPr>
          <a:lstStyle>
            <a:lvl1pPr defTabSz="825500">
              <a:defRPr sz="3200">
                <a:solidFill>
                  <a:srgbClr val="FFFFFF"/>
                </a:solidFill>
                <a:latin typeface="Itau Display Bold"/>
                <a:ea typeface="Itau Display Bold"/>
                <a:cs typeface="Itau Display Bold"/>
                <a:sym typeface="Itau Display Bold"/>
              </a:defRPr>
            </a:lvl1pPr>
          </a:lstStyle>
          <a:p>
            <a:pPr marL="0" marR="0" lvl="0" indent="0" algn="l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sz="2400" b="1" kern="0" dirty="0" err="1">
                <a:solidFill>
                  <a:srgbClr val="FF62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seguir</a:t>
            </a:r>
            <a:r>
              <a:rPr sz="2400" b="1" kern="0" dirty="0">
                <a:solidFill>
                  <a:srgbClr val="FF62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sz="2400" b="1" kern="0" dirty="0" err="1">
                <a:solidFill>
                  <a:srgbClr val="FF62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elas</a:t>
            </a:r>
            <a:r>
              <a:rPr sz="2400" b="1" kern="0" dirty="0">
                <a:solidFill>
                  <a:srgbClr val="FF62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sz="2400" b="1" kern="0" dirty="0" err="1">
                <a:solidFill>
                  <a:srgbClr val="FF62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tapas</a:t>
            </a:r>
            <a:r>
              <a:rPr sz="2400" b="1" kern="0" dirty="0">
                <a:solidFill>
                  <a:srgbClr val="FF62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do double diamond</a:t>
            </a:r>
          </a:p>
        </p:txBody>
      </p:sp>
      <p:sp>
        <p:nvSpPr>
          <p:cNvPr id="8" name="1">
            <a:extLst>
              <a:ext uri="{FF2B5EF4-FFF2-40B4-BE49-F238E27FC236}">
                <a16:creationId xmlns:a16="http://schemas.microsoft.com/office/drawing/2014/main" id="{69820B3F-A229-110E-948E-DBB55745B325}"/>
              </a:ext>
            </a:extLst>
          </p:cNvPr>
          <p:cNvSpPr/>
          <p:nvPr/>
        </p:nvSpPr>
        <p:spPr>
          <a:xfrm>
            <a:off x="341384" y="301085"/>
            <a:ext cx="432000" cy="432000"/>
          </a:xfrm>
          <a:prstGeom prst="ellipse">
            <a:avLst/>
          </a:prstGeom>
          <a:solidFill>
            <a:srgbClr val="FF6200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/>
          <a:lstStyle>
            <a:lvl1pPr algn="ctr">
              <a:defRPr sz="2900">
                <a:solidFill>
                  <a:srgbClr val="EC7000"/>
                </a:solidFill>
                <a:latin typeface="Itau Display Bold"/>
                <a:ea typeface="Itau Display Bold"/>
                <a:cs typeface="Itau Display Bold"/>
                <a:sym typeface="Itau Display Bold"/>
              </a:defRPr>
            </a:lvl1pPr>
          </a:lstStyle>
          <a:p>
            <a:pPr hangingPunct="0"/>
            <a:r>
              <a:rPr lang="pt-BR" sz="1600" b="1" kern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3</a:t>
            </a:r>
            <a:endParaRPr sz="1600" b="1" kern="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92363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Google Shape;106;p5"/>
          <p:cNvSpPr/>
          <p:nvPr/>
        </p:nvSpPr>
        <p:spPr>
          <a:xfrm>
            <a:off x="209954" y="763702"/>
            <a:ext cx="11808000" cy="5369505"/>
          </a:xfrm>
          <a:prstGeom prst="rect">
            <a:avLst/>
          </a:prstGeom>
          <a:solidFill>
            <a:srgbClr val="8F53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bg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" name="Elipse 1">
            <a:extLst>
              <a:ext uri="{FF2B5EF4-FFF2-40B4-BE49-F238E27FC236}">
                <a16:creationId xmlns:a16="http://schemas.microsoft.com/office/drawing/2014/main" id="{0AFBC7A3-2D9C-A886-FF56-614DA12093C7}"/>
              </a:ext>
            </a:extLst>
          </p:cNvPr>
          <p:cNvSpPr/>
          <p:nvPr/>
        </p:nvSpPr>
        <p:spPr>
          <a:xfrm>
            <a:off x="-5676363" y="-2828128"/>
            <a:ext cx="12514257" cy="12514257"/>
          </a:xfrm>
          <a:prstGeom prst="ellipse">
            <a:avLst/>
          </a:prstGeom>
          <a:noFill/>
          <a:ln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rgbClr val="E6E6E6"/>
              </a:solidFill>
            </a:endParaRPr>
          </a:p>
        </p:txBody>
      </p:sp>
      <p:sp>
        <p:nvSpPr>
          <p:cNvPr id="3" name="Elipse 2">
            <a:extLst>
              <a:ext uri="{FF2B5EF4-FFF2-40B4-BE49-F238E27FC236}">
                <a16:creationId xmlns:a16="http://schemas.microsoft.com/office/drawing/2014/main" id="{8C9938E3-FAD7-D19F-B7FE-5599AB79EBFC}"/>
              </a:ext>
            </a:extLst>
          </p:cNvPr>
          <p:cNvSpPr/>
          <p:nvPr/>
        </p:nvSpPr>
        <p:spPr>
          <a:xfrm>
            <a:off x="-3250354" y="-844702"/>
            <a:ext cx="8547405" cy="8547405"/>
          </a:xfrm>
          <a:prstGeom prst="ellipse">
            <a:avLst/>
          </a:prstGeom>
          <a:noFill/>
          <a:ln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rgbClr val="E6E6E6"/>
              </a:solidFill>
            </a:endParaRP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7B70BF85-6605-C57D-32DB-A3027D0AD7E1}"/>
              </a:ext>
            </a:extLst>
          </p:cNvPr>
          <p:cNvSpPr/>
          <p:nvPr/>
        </p:nvSpPr>
        <p:spPr>
          <a:xfrm>
            <a:off x="7152246" y="4096228"/>
            <a:ext cx="4487707" cy="6326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pt-BR" sz="2000" dirty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Inovação &amp; </a:t>
            </a:r>
            <a:r>
              <a:rPr lang="pt-BR" sz="2000" i="1" dirty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esign </a:t>
            </a:r>
            <a:r>
              <a:rPr lang="pt-BR" sz="2000" i="1" dirty="0" err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hinking</a:t>
            </a:r>
            <a:endParaRPr lang="pt-BR" sz="2000" i="1" dirty="0">
              <a:solidFill>
                <a:srgbClr val="FFFFFF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CB016168-652F-B006-9901-E67BDBD86545}"/>
              </a:ext>
            </a:extLst>
          </p:cNvPr>
          <p:cNvSpPr/>
          <p:nvPr/>
        </p:nvSpPr>
        <p:spPr>
          <a:xfrm>
            <a:off x="7315549" y="3159053"/>
            <a:ext cx="4463189" cy="5004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pt-BR" sz="2000" dirty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ransformação Digital</a:t>
            </a: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224CF845-9CF9-1FC7-3825-4474ADBB15C8}"/>
              </a:ext>
            </a:extLst>
          </p:cNvPr>
          <p:cNvSpPr/>
          <p:nvPr/>
        </p:nvSpPr>
        <p:spPr>
          <a:xfrm>
            <a:off x="7152246" y="2122330"/>
            <a:ext cx="4487707" cy="5004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pt-BR" sz="2000" dirty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xperiência do Cliente no Centro</a:t>
            </a: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10D3A6E4-1B57-3CCF-E382-1BAF2953933C}"/>
              </a:ext>
            </a:extLst>
          </p:cNvPr>
          <p:cNvSpPr/>
          <p:nvPr/>
        </p:nvSpPr>
        <p:spPr>
          <a:xfrm>
            <a:off x="6829189" y="5109103"/>
            <a:ext cx="4487707" cy="6834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pt-BR" sz="2000" dirty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aso Prático</a:t>
            </a:r>
          </a:p>
        </p:txBody>
      </p:sp>
      <p:sp>
        <p:nvSpPr>
          <p:cNvPr id="8" name="Retângulo: Cantos Arredondados 7">
            <a:extLst>
              <a:ext uri="{FF2B5EF4-FFF2-40B4-BE49-F238E27FC236}">
                <a16:creationId xmlns:a16="http://schemas.microsoft.com/office/drawing/2014/main" id="{0E3D7AF9-2F3B-FBF1-4994-B287438250AD}"/>
              </a:ext>
            </a:extLst>
          </p:cNvPr>
          <p:cNvSpPr/>
          <p:nvPr/>
        </p:nvSpPr>
        <p:spPr>
          <a:xfrm>
            <a:off x="6181463" y="5078547"/>
            <a:ext cx="672236" cy="672236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2800" b="1">
                <a:solidFill>
                  <a:srgbClr val="FF62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5</a:t>
            </a:r>
          </a:p>
        </p:txBody>
      </p:sp>
      <p:sp>
        <p:nvSpPr>
          <p:cNvPr id="9" name="Retângulo: Cantos Arredondados 8">
            <a:extLst>
              <a:ext uri="{FF2B5EF4-FFF2-40B4-BE49-F238E27FC236}">
                <a16:creationId xmlns:a16="http://schemas.microsoft.com/office/drawing/2014/main" id="{9575D132-C87E-882A-D93B-1D58D7A51FEE}"/>
              </a:ext>
            </a:extLst>
          </p:cNvPr>
          <p:cNvSpPr/>
          <p:nvPr/>
        </p:nvSpPr>
        <p:spPr>
          <a:xfrm>
            <a:off x="6181463" y="1055738"/>
            <a:ext cx="672236" cy="672236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2800" b="1" dirty="0">
                <a:solidFill>
                  <a:srgbClr val="FF62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1</a:t>
            </a:r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873D4C0A-46D4-FDA8-AFD0-E2BFE89A81D1}"/>
              </a:ext>
            </a:extLst>
          </p:cNvPr>
          <p:cNvSpPr/>
          <p:nvPr/>
        </p:nvSpPr>
        <p:spPr>
          <a:xfrm>
            <a:off x="6448400" y="2061440"/>
            <a:ext cx="672236" cy="672236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2800" b="1">
                <a:solidFill>
                  <a:srgbClr val="FF62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</a:t>
            </a:r>
          </a:p>
        </p:txBody>
      </p:sp>
      <p:sp>
        <p:nvSpPr>
          <p:cNvPr id="11" name="Retângulo: Cantos Arredondados 10">
            <a:extLst>
              <a:ext uri="{FF2B5EF4-FFF2-40B4-BE49-F238E27FC236}">
                <a16:creationId xmlns:a16="http://schemas.microsoft.com/office/drawing/2014/main" id="{85977647-9A8E-321A-926F-AB53CDF56D42}"/>
              </a:ext>
            </a:extLst>
          </p:cNvPr>
          <p:cNvSpPr/>
          <p:nvPr/>
        </p:nvSpPr>
        <p:spPr>
          <a:xfrm>
            <a:off x="6530836" y="3067142"/>
            <a:ext cx="672236" cy="672236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3200" b="1">
                <a:solidFill>
                  <a:srgbClr val="FF62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3</a:t>
            </a:r>
          </a:p>
        </p:txBody>
      </p:sp>
      <p:sp>
        <p:nvSpPr>
          <p:cNvPr id="12" name="Retângulo: Cantos Arredondados 11">
            <a:extLst>
              <a:ext uri="{FF2B5EF4-FFF2-40B4-BE49-F238E27FC236}">
                <a16:creationId xmlns:a16="http://schemas.microsoft.com/office/drawing/2014/main" id="{CC1B7A32-C09B-3328-72C3-961D0B33EA8B}"/>
              </a:ext>
            </a:extLst>
          </p:cNvPr>
          <p:cNvSpPr/>
          <p:nvPr/>
        </p:nvSpPr>
        <p:spPr>
          <a:xfrm>
            <a:off x="6448425" y="4072844"/>
            <a:ext cx="672236" cy="672236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2800" b="1">
                <a:solidFill>
                  <a:srgbClr val="FF62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4</a:t>
            </a:r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5CA81095-988B-A0C9-713B-760CF5D5C7A0}"/>
              </a:ext>
            </a:extLst>
          </p:cNvPr>
          <p:cNvSpPr/>
          <p:nvPr/>
        </p:nvSpPr>
        <p:spPr>
          <a:xfrm>
            <a:off x="6829190" y="1141613"/>
            <a:ext cx="4487706" cy="5004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pt-BR" sz="2000" dirty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stratégia Itaú</a:t>
            </a:r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7A208BDF-7426-92DA-8AF1-1F3AC9DEDE03}"/>
              </a:ext>
            </a:extLst>
          </p:cNvPr>
          <p:cNvSpPr/>
          <p:nvPr/>
        </p:nvSpPr>
        <p:spPr>
          <a:xfrm>
            <a:off x="875368" y="4154438"/>
            <a:ext cx="709386" cy="178218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accent1"/>
              </a:solidFill>
            </a:endParaRPr>
          </a:p>
        </p:txBody>
      </p:sp>
      <p:sp>
        <p:nvSpPr>
          <p:cNvPr id="15" name="Espaço Reservado para Texto 8">
            <a:extLst>
              <a:ext uri="{FF2B5EF4-FFF2-40B4-BE49-F238E27FC236}">
                <a16:creationId xmlns:a16="http://schemas.microsoft.com/office/drawing/2014/main" id="{267AE4BA-7936-50AF-CEEA-BC737A879E85}"/>
              </a:ext>
            </a:extLst>
          </p:cNvPr>
          <p:cNvSpPr txBox="1">
            <a:spLocks/>
          </p:cNvSpPr>
          <p:nvPr/>
        </p:nvSpPr>
        <p:spPr>
          <a:xfrm>
            <a:off x="760694" y="2853516"/>
            <a:ext cx="4667250" cy="1688484"/>
          </a:xfrm>
          <a:prstGeom prst="rect">
            <a:avLst/>
          </a:prstGeom>
        </p:spPr>
        <p:txBody>
          <a:bodyPr vert="horz" lIns="91440" tIns="0" rIns="91440" bIns="45720" rtlCol="0" anchor="t">
            <a:noAutofit/>
          </a:bodyPr>
          <a:lstStyle>
            <a:lvl1pPr marL="0" indent="0" algn="l" defTabSz="914411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None/>
              <a:defRPr lang="pt-BR" sz="3000" b="1" kern="1200" spc="0" dirty="0">
                <a:solidFill>
                  <a:schemeClr val="accent6">
                    <a:lumMod val="75000"/>
                  </a:schemeClr>
                </a:solidFill>
                <a:latin typeface="Itau Display Pro XBold" panose="020B0803020204020204" pitchFamily="34" charset="0"/>
                <a:ea typeface="+mn-ea"/>
                <a:cs typeface="Itau Display Pro XBold" panose="020B0803020204020204" pitchFamily="34" charset="0"/>
              </a:defRPr>
            </a:lvl1pPr>
            <a:lvl2pPr marL="539756" indent="-182566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 kern="1200">
                <a:solidFill>
                  <a:srgbClr val="5F6062"/>
                </a:solidFill>
                <a:latin typeface="Itau Display Pro" panose="020B0503020204020204" pitchFamily="34" charset="0"/>
                <a:ea typeface="+mn-ea"/>
                <a:cs typeface="Itau Display Pro" panose="020B0503020204020204" pitchFamily="34" charset="0"/>
              </a:defRPr>
            </a:lvl2pPr>
            <a:lvl3pPr marL="898536" indent="-184152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rgbClr val="5F6062"/>
                </a:solidFill>
                <a:latin typeface="Itau Display Pro" panose="020B0503020204020204" pitchFamily="34" charset="0"/>
                <a:ea typeface="+mn-ea"/>
                <a:cs typeface="Itau Display Pro" panose="020B0503020204020204" pitchFamily="34" charset="0"/>
              </a:defRPr>
            </a:lvl3pPr>
            <a:lvl4pPr marL="1255729" indent="-184152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rgbClr val="5F6062"/>
                </a:solidFill>
                <a:latin typeface="Itau Display Pro" panose="020B0503020204020204" pitchFamily="34" charset="0"/>
                <a:ea typeface="+mn-ea"/>
                <a:cs typeface="Itau Display Pro" panose="020B0503020204020204" pitchFamily="34" charset="0"/>
              </a:defRPr>
            </a:lvl4pPr>
            <a:lvl5pPr marL="1612920" indent="-174628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rgbClr val="5F6062"/>
                </a:solidFill>
                <a:latin typeface="Itau Display Pro" panose="020B0503020204020204" pitchFamily="34" charset="0"/>
                <a:ea typeface="+mn-ea"/>
                <a:cs typeface="Itau Display Pro" panose="020B0503020204020204" pitchFamily="34" charset="0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defRPr/>
            </a:pPr>
            <a:r>
              <a:rPr lang="pt-BR" sz="8800" b="0" dirty="0">
                <a:solidFill>
                  <a:schemeClr val="bg1"/>
                </a:solidFill>
                <a:latin typeface="Itau Display Pro Heavy" panose="020B0803020204020204" pitchFamily="34" charset="0"/>
                <a:cs typeface="Itau Display Pro Heavy" panose="020B0803020204020204" pitchFamily="34" charset="0"/>
              </a:rPr>
              <a:t>Agenda</a:t>
            </a:r>
          </a:p>
        </p:txBody>
      </p:sp>
      <p:sp>
        <p:nvSpPr>
          <p:cNvPr id="16" name="Retângulo: Cantos Arredondados 15">
            <a:extLst>
              <a:ext uri="{FF2B5EF4-FFF2-40B4-BE49-F238E27FC236}">
                <a16:creationId xmlns:a16="http://schemas.microsoft.com/office/drawing/2014/main" id="{84E6679C-3229-AFF9-6102-4B052533738C}"/>
              </a:ext>
            </a:extLst>
          </p:cNvPr>
          <p:cNvSpPr/>
          <p:nvPr/>
        </p:nvSpPr>
        <p:spPr>
          <a:xfrm>
            <a:off x="875368" y="2102491"/>
            <a:ext cx="631789" cy="631789"/>
          </a:xfrm>
          <a:prstGeom prst="roundRect">
            <a:avLst/>
          </a:prstGeom>
          <a:solidFill>
            <a:schemeClr val="bg1"/>
          </a:solidFill>
          <a:ln w="28575" cap="flat" cmpd="sng" algn="ctr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lumMod val="65000"/>
                  </a:schemeClr>
                </a:gs>
              </a:gsLst>
              <a:lin ang="2700000" scaled="1"/>
              <a:tileRect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>
              <a:lnSpc>
                <a:spcPct val="90000"/>
              </a:lnSpc>
            </a:pPr>
            <a:endParaRPr lang="pt-BR" kern="0" spc="-80">
              <a:solidFill>
                <a:srgbClr val="FF7800"/>
              </a:solidFill>
              <a:latin typeface="Itau Display Pro Heavy" panose="020B0803020204020204" pitchFamily="34" charset="0"/>
              <a:cs typeface="Itau Display Pro Heavy" panose="020B0803020204020204" pitchFamily="34" charset="0"/>
            </a:endParaRPr>
          </a:p>
        </p:txBody>
      </p:sp>
      <p:grpSp>
        <p:nvGrpSpPr>
          <p:cNvPr id="17" name="Agrupar 16">
            <a:extLst>
              <a:ext uri="{FF2B5EF4-FFF2-40B4-BE49-F238E27FC236}">
                <a16:creationId xmlns:a16="http://schemas.microsoft.com/office/drawing/2014/main" id="{F6E28F3C-9670-B621-8A4D-BC46DF926328}"/>
              </a:ext>
            </a:extLst>
          </p:cNvPr>
          <p:cNvGrpSpPr/>
          <p:nvPr/>
        </p:nvGrpSpPr>
        <p:grpSpPr>
          <a:xfrm>
            <a:off x="1023745" y="2300452"/>
            <a:ext cx="335034" cy="254917"/>
            <a:chOff x="8525484" y="5970038"/>
            <a:chExt cx="438150" cy="333375"/>
          </a:xfrm>
        </p:grpSpPr>
        <p:sp>
          <p:nvSpPr>
            <p:cNvPr id="18" name="Forma Livre: Forma 17">
              <a:extLst>
                <a:ext uri="{FF2B5EF4-FFF2-40B4-BE49-F238E27FC236}">
                  <a16:creationId xmlns:a16="http://schemas.microsoft.com/office/drawing/2014/main" id="{0E7AB7BC-C992-AB02-2FAE-26787DBA127D}"/>
                </a:ext>
              </a:extLst>
            </p:cNvPr>
            <p:cNvSpPr/>
            <p:nvPr/>
          </p:nvSpPr>
          <p:spPr>
            <a:xfrm>
              <a:off x="8525484" y="6017663"/>
              <a:ext cx="438150" cy="285750"/>
            </a:xfrm>
            <a:custGeom>
              <a:avLst/>
              <a:gdLst>
                <a:gd name="connsiteX0" fmla="*/ 19050 w 438150"/>
                <a:gd name="connsiteY0" fmla="*/ 0 h 285750"/>
                <a:gd name="connsiteX1" fmla="*/ 0 w 438150"/>
                <a:gd name="connsiteY1" fmla="*/ 0 h 285750"/>
                <a:gd name="connsiteX2" fmla="*/ 0 w 438150"/>
                <a:gd name="connsiteY2" fmla="*/ 266700 h 285750"/>
                <a:gd name="connsiteX3" fmla="*/ 161925 w 438150"/>
                <a:gd name="connsiteY3" fmla="*/ 266700 h 285750"/>
                <a:gd name="connsiteX4" fmla="*/ 180975 w 438150"/>
                <a:gd name="connsiteY4" fmla="*/ 285750 h 285750"/>
                <a:gd name="connsiteX5" fmla="*/ 257175 w 438150"/>
                <a:gd name="connsiteY5" fmla="*/ 285750 h 285750"/>
                <a:gd name="connsiteX6" fmla="*/ 276225 w 438150"/>
                <a:gd name="connsiteY6" fmla="*/ 266700 h 285750"/>
                <a:gd name="connsiteX7" fmla="*/ 438150 w 438150"/>
                <a:gd name="connsiteY7" fmla="*/ 266700 h 285750"/>
                <a:gd name="connsiteX8" fmla="*/ 438150 w 438150"/>
                <a:gd name="connsiteY8" fmla="*/ 0 h 285750"/>
                <a:gd name="connsiteX9" fmla="*/ 419100 w 438150"/>
                <a:gd name="connsiteY9" fmla="*/ 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150" h="285750">
                  <a:moveTo>
                    <a:pt x="19050" y="0"/>
                  </a:moveTo>
                  <a:lnTo>
                    <a:pt x="0" y="0"/>
                  </a:lnTo>
                  <a:lnTo>
                    <a:pt x="0" y="266700"/>
                  </a:lnTo>
                  <a:lnTo>
                    <a:pt x="161925" y="266700"/>
                  </a:lnTo>
                  <a:lnTo>
                    <a:pt x="180975" y="285750"/>
                  </a:lnTo>
                  <a:lnTo>
                    <a:pt x="257175" y="285750"/>
                  </a:lnTo>
                  <a:lnTo>
                    <a:pt x="276225" y="266700"/>
                  </a:lnTo>
                  <a:lnTo>
                    <a:pt x="438150" y="266700"/>
                  </a:lnTo>
                  <a:lnTo>
                    <a:pt x="438150" y="0"/>
                  </a:lnTo>
                  <a:lnTo>
                    <a:pt x="419100" y="0"/>
                  </a:lnTo>
                </a:path>
              </a:pathLst>
            </a:custGeom>
            <a:noFill/>
            <a:ln w="19050" cap="rnd">
              <a:solidFill>
                <a:srgbClr val="FF62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BR" sz="1400">
                <a:solidFill>
                  <a:srgbClr val="000000"/>
                </a:solidFill>
                <a:latin typeface="Itau Display"/>
              </a:endParaRPr>
            </a:p>
          </p:txBody>
        </p:sp>
        <p:sp>
          <p:nvSpPr>
            <p:cNvPr id="19" name="Forma Livre: Forma 18">
              <a:extLst>
                <a:ext uri="{FF2B5EF4-FFF2-40B4-BE49-F238E27FC236}">
                  <a16:creationId xmlns:a16="http://schemas.microsoft.com/office/drawing/2014/main" id="{8262842A-39C4-4A16-F643-660BF47B1BEA}"/>
                </a:ext>
              </a:extLst>
            </p:cNvPr>
            <p:cNvSpPr/>
            <p:nvPr/>
          </p:nvSpPr>
          <p:spPr>
            <a:xfrm>
              <a:off x="8563584" y="5989088"/>
              <a:ext cx="180975" cy="276225"/>
            </a:xfrm>
            <a:custGeom>
              <a:avLst/>
              <a:gdLst>
                <a:gd name="connsiteX0" fmla="*/ 38100 w 180975"/>
                <a:gd name="connsiteY0" fmla="*/ 0 h 276225"/>
                <a:gd name="connsiteX1" fmla="*/ 0 w 180975"/>
                <a:gd name="connsiteY1" fmla="*/ 0 h 276225"/>
                <a:gd name="connsiteX2" fmla="*/ 0 w 180975"/>
                <a:gd name="connsiteY2" fmla="*/ 257175 h 276225"/>
                <a:gd name="connsiteX3" fmla="*/ 123825 w 180975"/>
                <a:gd name="connsiteY3" fmla="*/ 257175 h 276225"/>
                <a:gd name="connsiteX4" fmla="*/ 161925 w 180975"/>
                <a:gd name="connsiteY4" fmla="*/ 276225 h 276225"/>
                <a:gd name="connsiteX5" fmla="*/ 180975 w 180975"/>
                <a:gd name="connsiteY5" fmla="*/ 276225 h 276225"/>
                <a:gd name="connsiteX6" fmla="*/ 180975 w 180975"/>
                <a:gd name="connsiteY6" fmla="*/ 57150 h 276225"/>
                <a:gd name="connsiteX7" fmla="*/ 123825 w 180975"/>
                <a:gd name="connsiteY7" fmla="*/ 0 h 276225"/>
                <a:gd name="connsiteX8" fmla="*/ 95250 w 180975"/>
                <a:gd name="connsiteY8" fmla="*/ 0 h 27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0975" h="276225">
                  <a:moveTo>
                    <a:pt x="38100" y="0"/>
                  </a:moveTo>
                  <a:lnTo>
                    <a:pt x="0" y="0"/>
                  </a:lnTo>
                  <a:lnTo>
                    <a:pt x="0" y="257175"/>
                  </a:lnTo>
                  <a:lnTo>
                    <a:pt x="123825" y="257175"/>
                  </a:lnTo>
                  <a:cubicBezTo>
                    <a:pt x="142304" y="257175"/>
                    <a:pt x="154781" y="266700"/>
                    <a:pt x="161925" y="276225"/>
                  </a:cubicBezTo>
                  <a:lnTo>
                    <a:pt x="180975" y="276225"/>
                  </a:lnTo>
                  <a:lnTo>
                    <a:pt x="180975" y="57150"/>
                  </a:lnTo>
                  <a:cubicBezTo>
                    <a:pt x="180975" y="26194"/>
                    <a:pt x="162401" y="0"/>
                    <a:pt x="123825" y="0"/>
                  </a:cubicBezTo>
                  <a:lnTo>
                    <a:pt x="95250" y="0"/>
                  </a:lnTo>
                </a:path>
              </a:pathLst>
            </a:custGeom>
            <a:noFill/>
            <a:ln w="19050" cap="rnd">
              <a:solidFill>
                <a:srgbClr val="FF62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BR" sz="1400">
                <a:solidFill>
                  <a:srgbClr val="000000"/>
                </a:solidFill>
                <a:latin typeface="Itau Display"/>
              </a:endParaRPr>
            </a:p>
          </p:txBody>
        </p:sp>
        <p:sp>
          <p:nvSpPr>
            <p:cNvPr id="20" name="Forma Livre: Forma 19">
              <a:extLst>
                <a:ext uri="{FF2B5EF4-FFF2-40B4-BE49-F238E27FC236}">
                  <a16:creationId xmlns:a16="http://schemas.microsoft.com/office/drawing/2014/main" id="{66769D82-D241-9FE3-72EF-0E06B4747256}"/>
                </a:ext>
              </a:extLst>
            </p:cNvPr>
            <p:cNvSpPr/>
            <p:nvPr/>
          </p:nvSpPr>
          <p:spPr>
            <a:xfrm>
              <a:off x="8744559" y="5989088"/>
              <a:ext cx="180975" cy="276225"/>
            </a:xfrm>
            <a:custGeom>
              <a:avLst/>
              <a:gdLst>
                <a:gd name="connsiteX0" fmla="*/ 180975 w 180975"/>
                <a:gd name="connsiteY0" fmla="*/ 0 h 276225"/>
                <a:gd name="connsiteX1" fmla="*/ 180975 w 180975"/>
                <a:gd name="connsiteY1" fmla="*/ 257175 h 276225"/>
                <a:gd name="connsiteX2" fmla="*/ 57150 w 180975"/>
                <a:gd name="connsiteY2" fmla="*/ 257175 h 276225"/>
                <a:gd name="connsiteX3" fmla="*/ 19050 w 180975"/>
                <a:gd name="connsiteY3" fmla="*/ 276225 h 276225"/>
                <a:gd name="connsiteX4" fmla="*/ 0 w 180975"/>
                <a:gd name="connsiteY4" fmla="*/ 276225 h 276225"/>
                <a:gd name="connsiteX5" fmla="*/ 0 w 180975"/>
                <a:gd name="connsiteY5" fmla="*/ 57150 h 276225"/>
                <a:gd name="connsiteX6" fmla="*/ 57150 w 180975"/>
                <a:gd name="connsiteY6" fmla="*/ 0 h 276225"/>
                <a:gd name="connsiteX7" fmla="*/ 180975 w 180975"/>
                <a:gd name="connsiteY7" fmla="*/ 0 h 27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0975" h="276225">
                  <a:moveTo>
                    <a:pt x="180975" y="0"/>
                  </a:moveTo>
                  <a:lnTo>
                    <a:pt x="180975" y="257175"/>
                  </a:lnTo>
                  <a:lnTo>
                    <a:pt x="57150" y="257175"/>
                  </a:lnTo>
                  <a:cubicBezTo>
                    <a:pt x="38671" y="257175"/>
                    <a:pt x="26194" y="262319"/>
                    <a:pt x="19050" y="276225"/>
                  </a:cubicBezTo>
                  <a:lnTo>
                    <a:pt x="0" y="276225"/>
                  </a:lnTo>
                  <a:lnTo>
                    <a:pt x="0" y="57150"/>
                  </a:lnTo>
                  <a:cubicBezTo>
                    <a:pt x="0" y="26194"/>
                    <a:pt x="18574" y="0"/>
                    <a:pt x="57150" y="0"/>
                  </a:cubicBezTo>
                  <a:lnTo>
                    <a:pt x="180975" y="0"/>
                  </a:lnTo>
                  <a:close/>
                </a:path>
              </a:pathLst>
            </a:custGeom>
            <a:noFill/>
            <a:ln w="19050" cap="rnd">
              <a:solidFill>
                <a:srgbClr val="FF62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BR" sz="1400">
                <a:solidFill>
                  <a:srgbClr val="000000"/>
                </a:solidFill>
                <a:latin typeface="Itau Display"/>
              </a:endParaRPr>
            </a:p>
          </p:txBody>
        </p:sp>
        <p:sp>
          <p:nvSpPr>
            <p:cNvPr id="21" name="Forma Livre: Forma 20">
              <a:extLst>
                <a:ext uri="{FF2B5EF4-FFF2-40B4-BE49-F238E27FC236}">
                  <a16:creationId xmlns:a16="http://schemas.microsoft.com/office/drawing/2014/main" id="{7CDD22CA-32BC-7954-3476-AB3225F2B535}"/>
                </a:ext>
              </a:extLst>
            </p:cNvPr>
            <p:cNvSpPr/>
            <p:nvPr/>
          </p:nvSpPr>
          <p:spPr>
            <a:xfrm>
              <a:off x="8715984" y="6046238"/>
              <a:ext cx="57150" cy="19050"/>
            </a:xfrm>
            <a:custGeom>
              <a:avLst/>
              <a:gdLst>
                <a:gd name="connsiteX0" fmla="*/ 0 w 57150"/>
                <a:gd name="connsiteY0" fmla="*/ 19050 h 19050"/>
                <a:gd name="connsiteX1" fmla="*/ 28575 w 57150"/>
                <a:gd name="connsiteY1" fmla="*/ 0 h 19050"/>
                <a:gd name="connsiteX2" fmla="*/ 57150 w 57150"/>
                <a:gd name="connsiteY2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150" h="19050">
                  <a:moveTo>
                    <a:pt x="0" y="19050"/>
                  </a:moveTo>
                  <a:cubicBezTo>
                    <a:pt x="6477" y="7525"/>
                    <a:pt x="16859" y="0"/>
                    <a:pt x="28575" y="0"/>
                  </a:cubicBezTo>
                  <a:cubicBezTo>
                    <a:pt x="40291" y="0"/>
                    <a:pt x="50673" y="7525"/>
                    <a:pt x="57150" y="19050"/>
                  </a:cubicBezTo>
                </a:path>
              </a:pathLst>
            </a:custGeom>
            <a:noFill/>
            <a:ln w="19050" cap="rnd">
              <a:solidFill>
                <a:srgbClr val="FF62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BR" sz="1400">
                <a:solidFill>
                  <a:srgbClr val="000000"/>
                </a:solidFill>
                <a:latin typeface="Itau Display"/>
              </a:endParaRPr>
            </a:p>
          </p:txBody>
        </p:sp>
        <p:sp>
          <p:nvSpPr>
            <p:cNvPr id="22" name="Forma Livre: Forma 21">
              <a:extLst>
                <a:ext uri="{FF2B5EF4-FFF2-40B4-BE49-F238E27FC236}">
                  <a16:creationId xmlns:a16="http://schemas.microsoft.com/office/drawing/2014/main" id="{5F0D96F5-597C-EDDF-6D96-7D6186F5D45F}"/>
                </a:ext>
              </a:extLst>
            </p:cNvPr>
            <p:cNvSpPr/>
            <p:nvPr/>
          </p:nvSpPr>
          <p:spPr>
            <a:xfrm>
              <a:off x="8715984" y="6093863"/>
              <a:ext cx="57150" cy="19050"/>
            </a:xfrm>
            <a:custGeom>
              <a:avLst/>
              <a:gdLst>
                <a:gd name="connsiteX0" fmla="*/ 0 w 57150"/>
                <a:gd name="connsiteY0" fmla="*/ 19050 h 19050"/>
                <a:gd name="connsiteX1" fmla="*/ 28575 w 57150"/>
                <a:gd name="connsiteY1" fmla="*/ 0 h 19050"/>
                <a:gd name="connsiteX2" fmla="*/ 57150 w 57150"/>
                <a:gd name="connsiteY2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150" h="19050">
                  <a:moveTo>
                    <a:pt x="0" y="19050"/>
                  </a:moveTo>
                  <a:cubicBezTo>
                    <a:pt x="6477" y="7525"/>
                    <a:pt x="16859" y="0"/>
                    <a:pt x="28575" y="0"/>
                  </a:cubicBezTo>
                  <a:cubicBezTo>
                    <a:pt x="40291" y="0"/>
                    <a:pt x="50673" y="7525"/>
                    <a:pt x="57150" y="19050"/>
                  </a:cubicBezTo>
                </a:path>
              </a:pathLst>
            </a:custGeom>
            <a:noFill/>
            <a:ln w="19050" cap="rnd">
              <a:solidFill>
                <a:srgbClr val="FF62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BR" sz="1400">
                <a:solidFill>
                  <a:srgbClr val="000000"/>
                </a:solidFill>
                <a:latin typeface="Itau Display"/>
              </a:endParaRPr>
            </a:p>
          </p:txBody>
        </p:sp>
        <p:sp>
          <p:nvSpPr>
            <p:cNvPr id="23" name="Forma Livre: Forma 22">
              <a:extLst>
                <a:ext uri="{FF2B5EF4-FFF2-40B4-BE49-F238E27FC236}">
                  <a16:creationId xmlns:a16="http://schemas.microsoft.com/office/drawing/2014/main" id="{7290C5B5-F660-9E2E-4D32-FB2B034E80DB}"/>
                </a:ext>
              </a:extLst>
            </p:cNvPr>
            <p:cNvSpPr/>
            <p:nvPr/>
          </p:nvSpPr>
          <p:spPr>
            <a:xfrm>
              <a:off x="8715984" y="6141488"/>
              <a:ext cx="57150" cy="19050"/>
            </a:xfrm>
            <a:custGeom>
              <a:avLst/>
              <a:gdLst>
                <a:gd name="connsiteX0" fmla="*/ 0 w 57150"/>
                <a:gd name="connsiteY0" fmla="*/ 19050 h 19050"/>
                <a:gd name="connsiteX1" fmla="*/ 28575 w 57150"/>
                <a:gd name="connsiteY1" fmla="*/ 0 h 19050"/>
                <a:gd name="connsiteX2" fmla="*/ 57150 w 57150"/>
                <a:gd name="connsiteY2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150" h="19050">
                  <a:moveTo>
                    <a:pt x="0" y="19050"/>
                  </a:moveTo>
                  <a:cubicBezTo>
                    <a:pt x="6477" y="7525"/>
                    <a:pt x="16859" y="0"/>
                    <a:pt x="28575" y="0"/>
                  </a:cubicBezTo>
                  <a:cubicBezTo>
                    <a:pt x="40291" y="0"/>
                    <a:pt x="50673" y="7525"/>
                    <a:pt x="57150" y="19050"/>
                  </a:cubicBezTo>
                </a:path>
              </a:pathLst>
            </a:custGeom>
            <a:noFill/>
            <a:ln w="19050" cap="rnd">
              <a:solidFill>
                <a:srgbClr val="FF62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BR" sz="1400">
                <a:solidFill>
                  <a:srgbClr val="000000"/>
                </a:solidFill>
                <a:latin typeface="Itau Display"/>
              </a:endParaRPr>
            </a:p>
          </p:txBody>
        </p:sp>
        <p:sp>
          <p:nvSpPr>
            <p:cNvPr id="24" name="Forma Livre: Forma 23">
              <a:extLst>
                <a:ext uri="{FF2B5EF4-FFF2-40B4-BE49-F238E27FC236}">
                  <a16:creationId xmlns:a16="http://schemas.microsoft.com/office/drawing/2014/main" id="{4158B834-3C42-E3EB-8B8B-2019401A36F1}"/>
                </a:ext>
              </a:extLst>
            </p:cNvPr>
            <p:cNvSpPr/>
            <p:nvPr/>
          </p:nvSpPr>
          <p:spPr>
            <a:xfrm>
              <a:off x="8715984" y="6189113"/>
              <a:ext cx="57150" cy="19050"/>
            </a:xfrm>
            <a:custGeom>
              <a:avLst/>
              <a:gdLst>
                <a:gd name="connsiteX0" fmla="*/ 0 w 57150"/>
                <a:gd name="connsiteY0" fmla="*/ 19050 h 19050"/>
                <a:gd name="connsiteX1" fmla="*/ 28575 w 57150"/>
                <a:gd name="connsiteY1" fmla="*/ 0 h 19050"/>
                <a:gd name="connsiteX2" fmla="*/ 57150 w 57150"/>
                <a:gd name="connsiteY2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150" h="19050">
                  <a:moveTo>
                    <a:pt x="0" y="19050"/>
                  </a:moveTo>
                  <a:cubicBezTo>
                    <a:pt x="6477" y="7525"/>
                    <a:pt x="16859" y="0"/>
                    <a:pt x="28575" y="0"/>
                  </a:cubicBezTo>
                  <a:cubicBezTo>
                    <a:pt x="40291" y="0"/>
                    <a:pt x="50673" y="7525"/>
                    <a:pt x="57150" y="19050"/>
                  </a:cubicBezTo>
                </a:path>
              </a:pathLst>
            </a:custGeom>
            <a:noFill/>
            <a:ln w="19050" cap="rnd">
              <a:solidFill>
                <a:srgbClr val="FF62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BR" sz="1400">
                <a:solidFill>
                  <a:srgbClr val="000000"/>
                </a:solidFill>
                <a:latin typeface="Itau Display"/>
              </a:endParaRPr>
            </a:p>
          </p:txBody>
        </p:sp>
        <p:sp>
          <p:nvSpPr>
            <p:cNvPr id="25" name="Forma Livre: Forma 24">
              <a:extLst>
                <a:ext uri="{FF2B5EF4-FFF2-40B4-BE49-F238E27FC236}">
                  <a16:creationId xmlns:a16="http://schemas.microsoft.com/office/drawing/2014/main" id="{8F100BE3-B815-2D56-E32C-3640000B816C}"/>
                </a:ext>
              </a:extLst>
            </p:cNvPr>
            <p:cNvSpPr/>
            <p:nvPr/>
          </p:nvSpPr>
          <p:spPr>
            <a:xfrm>
              <a:off x="8601684" y="5970038"/>
              <a:ext cx="57150" cy="104775"/>
            </a:xfrm>
            <a:custGeom>
              <a:avLst/>
              <a:gdLst>
                <a:gd name="connsiteX0" fmla="*/ 0 w 57150"/>
                <a:gd name="connsiteY0" fmla="*/ 9525 h 104775"/>
                <a:gd name="connsiteX1" fmla="*/ 0 w 57150"/>
                <a:gd name="connsiteY1" fmla="*/ 104775 h 104775"/>
                <a:gd name="connsiteX2" fmla="*/ 28575 w 57150"/>
                <a:gd name="connsiteY2" fmla="*/ 85725 h 104775"/>
                <a:gd name="connsiteX3" fmla="*/ 57150 w 57150"/>
                <a:gd name="connsiteY3" fmla="*/ 104775 h 104775"/>
                <a:gd name="connsiteX4" fmla="*/ 57150 w 57150"/>
                <a:gd name="connsiteY4" fmla="*/ 9525 h 104775"/>
                <a:gd name="connsiteX5" fmla="*/ 47625 w 57150"/>
                <a:gd name="connsiteY5" fmla="*/ 0 h 104775"/>
                <a:gd name="connsiteX6" fmla="*/ 9525 w 57150"/>
                <a:gd name="connsiteY6" fmla="*/ 0 h 104775"/>
                <a:gd name="connsiteX7" fmla="*/ 0 w 57150"/>
                <a:gd name="connsiteY7" fmla="*/ 9525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150" h="104775">
                  <a:moveTo>
                    <a:pt x="0" y="9525"/>
                  </a:moveTo>
                  <a:lnTo>
                    <a:pt x="0" y="104775"/>
                  </a:lnTo>
                  <a:lnTo>
                    <a:pt x="28575" y="85725"/>
                  </a:lnTo>
                  <a:lnTo>
                    <a:pt x="57150" y="104775"/>
                  </a:lnTo>
                  <a:lnTo>
                    <a:pt x="57150" y="9525"/>
                  </a:lnTo>
                  <a:cubicBezTo>
                    <a:pt x="57150" y="4286"/>
                    <a:pt x="52864" y="0"/>
                    <a:pt x="47625" y="0"/>
                  </a:cubicBezTo>
                  <a:lnTo>
                    <a:pt x="9525" y="0"/>
                  </a:lnTo>
                  <a:cubicBezTo>
                    <a:pt x="4286" y="0"/>
                    <a:pt x="0" y="4286"/>
                    <a:pt x="0" y="9525"/>
                  </a:cubicBezTo>
                  <a:close/>
                </a:path>
              </a:pathLst>
            </a:custGeom>
            <a:noFill/>
            <a:ln w="19050" cap="rnd">
              <a:solidFill>
                <a:srgbClr val="FF62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pt-BR" sz="1400">
                <a:solidFill>
                  <a:srgbClr val="000000"/>
                </a:solidFill>
                <a:latin typeface="Itau Display"/>
              </a:endParaRPr>
            </a:p>
          </p:txBody>
        </p:sp>
      </p:grpSp>
      <p:sp>
        <p:nvSpPr>
          <p:cNvPr id="26" name="Retângulo 25">
            <a:extLst>
              <a:ext uri="{FF2B5EF4-FFF2-40B4-BE49-F238E27FC236}">
                <a16:creationId xmlns:a16="http://schemas.microsoft.com/office/drawing/2014/main" id="{071754C0-8209-BB95-34A1-BA055D7E6770}"/>
              </a:ext>
            </a:extLst>
          </p:cNvPr>
          <p:cNvSpPr/>
          <p:nvPr/>
        </p:nvSpPr>
        <p:spPr>
          <a:xfrm>
            <a:off x="774959" y="4421590"/>
            <a:ext cx="4487707" cy="6326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pt-BR" sz="1600" spc="300" dirty="0">
                <a:solidFill>
                  <a:schemeClr val="bg1"/>
                </a:solidFill>
                <a:latin typeface="Itau Display Pro" panose="020B0503020204020204" pitchFamily="34" charset="0"/>
                <a:cs typeface="Itau Display Pro" panose="020B0503020204020204" pitchFamily="34" charset="0"/>
              </a:rPr>
              <a:t>AGOSTO/2024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Conector Reto 8"/>
          <p:cNvSpPr/>
          <p:nvPr/>
        </p:nvSpPr>
        <p:spPr>
          <a:xfrm>
            <a:off x="5913287" y="1421770"/>
            <a:ext cx="1" cy="1802085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69" name="Retângulo Arredondado 1"/>
          <p:cNvSpPr/>
          <p:nvPr/>
        </p:nvSpPr>
        <p:spPr>
          <a:xfrm rot="18900000">
            <a:off x="2017600" y="2101877"/>
            <a:ext cx="3283852" cy="3283848"/>
          </a:xfrm>
          <a:prstGeom prst="roundRect">
            <a:avLst>
              <a:gd name="adj" fmla="val 4377"/>
            </a:avLst>
          </a:prstGeom>
          <a:ln w="508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70" name="Conector Reto 13"/>
          <p:cNvSpPr/>
          <p:nvPr/>
        </p:nvSpPr>
        <p:spPr>
          <a:xfrm>
            <a:off x="5913287" y="4181553"/>
            <a:ext cx="1" cy="1802086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71" name="Retângulo Arredondado 66"/>
          <p:cNvSpPr/>
          <p:nvPr/>
        </p:nvSpPr>
        <p:spPr>
          <a:xfrm rot="18900000">
            <a:off x="1688603" y="2910885"/>
            <a:ext cx="1665839" cy="1665837"/>
          </a:xfrm>
          <a:prstGeom prst="roundRect">
            <a:avLst>
              <a:gd name="adj" fmla="val 8177"/>
            </a:avLst>
          </a:prstGeom>
          <a:ln w="508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72" name="Conector Reto 14"/>
          <p:cNvSpPr/>
          <p:nvPr/>
        </p:nvSpPr>
        <p:spPr>
          <a:xfrm flipH="1">
            <a:off x="3660927" y="1489242"/>
            <a:ext cx="1" cy="4494396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73" name="Conector Reto 37"/>
          <p:cNvSpPr/>
          <p:nvPr/>
        </p:nvSpPr>
        <p:spPr>
          <a:xfrm flipH="1">
            <a:off x="1068582" y="3734333"/>
            <a:ext cx="329787" cy="1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74" name="Conector Reto 39"/>
          <p:cNvSpPr/>
          <p:nvPr/>
        </p:nvSpPr>
        <p:spPr>
          <a:xfrm>
            <a:off x="10471449" y="3732406"/>
            <a:ext cx="464695" cy="1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  <a:miter/>
            <a:tailEnd type="triangle"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75" name="CaixaDeTexto 43"/>
          <p:cNvSpPr txBox="1"/>
          <p:nvPr/>
        </p:nvSpPr>
        <p:spPr>
          <a:xfrm>
            <a:off x="218816" y="3336567"/>
            <a:ext cx="828595" cy="738664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tIns="45720" bIns="45720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FFFFFF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pPr>
            <a:r>
              <a:rPr kumimoji="0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 Light"/>
                <a:cs typeface="Itau Text Light"/>
                <a:sym typeface="Itau Text Light"/>
              </a:rPr>
              <a:t>Não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 Light"/>
                <a:cs typeface="Itau Text Light"/>
                <a:sym typeface="Itau Text Light"/>
              </a:rPr>
              <a:t> sei</a:t>
            </a:r>
          </a:p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FFFFFF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pPr>
            <a:r>
              <a:rPr kumimoji="0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 Light"/>
                <a:cs typeface="Itau Text Light"/>
                <a:sym typeface="Itau Text Light"/>
              </a:rPr>
              <a:t>Poderia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 Light"/>
                <a:cs typeface="Itau Text Light"/>
                <a:sym typeface="Itau Text Light"/>
              </a:rPr>
              <a:t> ser</a:t>
            </a:r>
          </a:p>
        </p:txBody>
      </p:sp>
      <p:sp>
        <p:nvSpPr>
          <p:cNvPr id="376" name="CaixaDeTexto 44"/>
          <p:cNvSpPr txBox="1"/>
          <p:nvPr/>
        </p:nvSpPr>
        <p:spPr>
          <a:xfrm>
            <a:off x="10988371" y="3336567"/>
            <a:ext cx="1010213" cy="523220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45720" bIns="45720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FFFFFF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pPr>
            <a:r>
              <a:rPr kumimoji="0" sz="14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 Light"/>
                <a:cs typeface="Itau Text Light"/>
                <a:sym typeface="Itau Text Light"/>
              </a:rPr>
              <a:t>Sei</a:t>
            </a:r>
          </a:p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FFFFFF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pPr>
            <a:r>
              <a:rPr kumimoji="0" sz="14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 Light"/>
                <a:cs typeface="Itau Text Light"/>
                <a:sym typeface="Itau Text Light"/>
              </a:rPr>
              <a:t>Deveria ser</a:t>
            </a:r>
          </a:p>
        </p:txBody>
      </p:sp>
      <p:sp>
        <p:nvSpPr>
          <p:cNvPr id="377" name="CaixaDeTexto 45"/>
          <p:cNvSpPr txBox="1"/>
          <p:nvPr/>
        </p:nvSpPr>
        <p:spPr>
          <a:xfrm rot="18900000">
            <a:off x="1907679" y="2351149"/>
            <a:ext cx="760144" cy="307777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45720" bIns="45720">
            <a:spAutoFit/>
          </a:bodyPr>
          <a:lstStyle>
            <a:lvl1pPr>
              <a:defRPr sz="2800">
                <a:solidFill>
                  <a:srgbClr val="FFFFFF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 Light"/>
                <a:cs typeface="Itau Text Light"/>
                <a:sym typeface="Itau Text Light"/>
              </a:rPr>
              <a:t>Divergir</a:t>
            </a:r>
          </a:p>
        </p:txBody>
      </p:sp>
      <p:sp>
        <p:nvSpPr>
          <p:cNvPr id="378" name="CaixaDeTexto 46"/>
          <p:cNvSpPr txBox="1"/>
          <p:nvPr/>
        </p:nvSpPr>
        <p:spPr>
          <a:xfrm rot="2700000">
            <a:off x="4550680" y="2371755"/>
            <a:ext cx="949300" cy="307777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>
              <a:defRPr sz="2800">
                <a:solidFill>
                  <a:srgbClr val="FFFFFF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 Light"/>
                <a:cs typeface="Itau Text Light"/>
                <a:sym typeface="Itau Text Light"/>
              </a:rPr>
              <a:t>Convergir</a:t>
            </a:r>
          </a:p>
        </p:txBody>
      </p:sp>
      <p:sp>
        <p:nvSpPr>
          <p:cNvPr id="379" name="Conector Reto 51"/>
          <p:cNvSpPr/>
          <p:nvPr/>
        </p:nvSpPr>
        <p:spPr>
          <a:xfrm flipH="1">
            <a:off x="4650278" y="2521307"/>
            <a:ext cx="1" cy="2425307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80" name="Conector Reto 52"/>
          <p:cNvSpPr/>
          <p:nvPr/>
        </p:nvSpPr>
        <p:spPr>
          <a:xfrm>
            <a:off x="5144954" y="2965751"/>
            <a:ext cx="1" cy="1486188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81" name="Conector Reto 58"/>
          <p:cNvSpPr/>
          <p:nvPr/>
        </p:nvSpPr>
        <p:spPr>
          <a:xfrm flipH="1">
            <a:off x="4140613" y="2046883"/>
            <a:ext cx="1" cy="3394407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82" name="Conector Reto 67"/>
          <p:cNvSpPr/>
          <p:nvPr/>
        </p:nvSpPr>
        <p:spPr>
          <a:xfrm flipH="1">
            <a:off x="2511858" y="2666516"/>
            <a:ext cx="1" cy="2160575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83" name="CaixaDeTexto 71"/>
          <p:cNvSpPr txBox="1"/>
          <p:nvPr/>
        </p:nvSpPr>
        <p:spPr>
          <a:xfrm>
            <a:off x="1499649" y="3578278"/>
            <a:ext cx="943325" cy="430887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Questionar o briefing</a:t>
            </a:r>
          </a:p>
        </p:txBody>
      </p:sp>
      <p:sp>
        <p:nvSpPr>
          <p:cNvPr id="384" name="CaixaDeTexto 72"/>
          <p:cNvSpPr txBox="1"/>
          <p:nvPr/>
        </p:nvSpPr>
        <p:spPr>
          <a:xfrm>
            <a:off x="2662225" y="2245267"/>
            <a:ext cx="1128355" cy="600164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Conduzir pesquisas primárias</a:t>
            </a:r>
          </a:p>
        </p:txBody>
      </p:sp>
      <p:sp>
        <p:nvSpPr>
          <p:cNvPr id="385" name="CaixaDeTexto 73"/>
          <p:cNvSpPr txBox="1"/>
          <p:nvPr/>
        </p:nvSpPr>
        <p:spPr>
          <a:xfrm>
            <a:off x="2662225" y="4586478"/>
            <a:ext cx="1128355" cy="600164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Conduzir pesquisas secundárias</a:t>
            </a:r>
          </a:p>
        </p:txBody>
      </p:sp>
      <p:sp>
        <p:nvSpPr>
          <p:cNvPr id="386" name="Retângulo Arredondado 103"/>
          <p:cNvSpPr/>
          <p:nvPr/>
        </p:nvSpPr>
        <p:spPr>
          <a:xfrm rot="18900000">
            <a:off x="6563475" y="2101877"/>
            <a:ext cx="3283852" cy="3283848"/>
          </a:xfrm>
          <a:prstGeom prst="roundRect">
            <a:avLst>
              <a:gd name="adj" fmla="val 4377"/>
            </a:avLst>
          </a:prstGeom>
          <a:ln w="508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87" name="Retângulo Arredondado 104"/>
          <p:cNvSpPr/>
          <p:nvPr/>
        </p:nvSpPr>
        <p:spPr>
          <a:xfrm rot="18900000">
            <a:off x="6234478" y="2910885"/>
            <a:ext cx="1665839" cy="1665837"/>
          </a:xfrm>
          <a:prstGeom prst="roundRect">
            <a:avLst>
              <a:gd name="adj" fmla="val 8177"/>
            </a:avLst>
          </a:prstGeom>
          <a:ln w="508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88" name="Conector Reto 105"/>
          <p:cNvSpPr/>
          <p:nvPr/>
        </p:nvSpPr>
        <p:spPr>
          <a:xfrm flipH="1">
            <a:off x="8206802" y="1489242"/>
            <a:ext cx="1" cy="4494396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89" name="CaixaDeTexto 106"/>
          <p:cNvSpPr txBox="1"/>
          <p:nvPr/>
        </p:nvSpPr>
        <p:spPr>
          <a:xfrm rot="18900000">
            <a:off x="6453554" y="2351149"/>
            <a:ext cx="760144" cy="307777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45720" bIns="45720">
            <a:spAutoFit/>
          </a:bodyPr>
          <a:lstStyle>
            <a:lvl1pPr>
              <a:defRPr sz="2800">
                <a:solidFill>
                  <a:srgbClr val="FFFFFF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 Light"/>
                <a:cs typeface="Itau Text Light"/>
                <a:sym typeface="Itau Text Light"/>
              </a:rPr>
              <a:t>Divergir</a:t>
            </a:r>
          </a:p>
        </p:txBody>
      </p:sp>
      <p:sp>
        <p:nvSpPr>
          <p:cNvPr id="390" name="CaixaDeTexto 107"/>
          <p:cNvSpPr txBox="1"/>
          <p:nvPr/>
        </p:nvSpPr>
        <p:spPr>
          <a:xfrm rot="2700000">
            <a:off x="9096556" y="2371755"/>
            <a:ext cx="949300" cy="307777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>
              <a:defRPr sz="2800">
                <a:solidFill>
                  <a:srgbClr val="FFFFFF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 Light"/>
                <a:cs typeface="Itau Text Light"/>
                <a:sym typeface="Itau Text Light"/>
              </a:rPr>
              <a:t>Convergir</a:t>
            </a:r>
          </a:p>
        </p:txBody>
      </p:sp>
      <p:sp>
        <p:nvSpPr>
          <p:cNvPr id="391" name="Conector Reto 108"/>
          <p:cNvSpPr/>
          <p:nvPr/>
        </p:nvSpPr>
        <p:spPr>
          <a:xfrm>
            <a:off x="9196153" y="2521307"/>
            <a:ext cx="1" cy="2425307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92" name="Conector Reto 109"/>
          <p:cNvSpPr/>
          <p:nvPr/>
        </p:nvSpPr>
        <p:spPr>
          <a:xfrm>
            <a:off x="9690829" y="2965751"/>
            <a:ext cx="1" cy="1486188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93" name="Conector Reto 110"/>
          <p:cNvSpPr/>
          <p:nvPr/>
        </p:nvSpPr>
        <p:spPr>
          <a:xfrm>
            <a:off x="8686487" y="2046883"/>
            <a:ext cx="1" cy="3394407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94" name="CaixaDeTexto 111"/>
          <p:cNvSpPr txBox="1"/>
          <p:nvPr/>
        </p:nvSpPr>
        <p:spPr>
          <a:xfrm rot="16200000">
            <a:off x="6327692" y="3655223"/>
            <a:ext cx="4259910" cy="276999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4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Prototipar, Testar e Analisar</a:t>
            </a:r>
          </a:p>
        </p:txBody>
      </p:sp>
      <p:sp>
        <p:nvSpPr>
          <p:cNvPr id="395" name="CaixaDeTexto 112"/>
          <p:cNvSpPr txBox="1"/>
          <p:nvPr/>
        </p:nvSpPr>
        <p:spPr>
          <a:xfrm rot="16200000">
            <a:off x="6822368" y="3655223"/>
            <a:ext cx="4259910" cy="276999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4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Aprender, Iterar e Repetir</a:t>
            </a:r>
          </a:p>
        </p:txBody>
      </p:sp>
      <p:sp>
        <p:nvSpPr>
          <p:cNvPr id="396" name="CaixaDeTexto 113"/>
          <p:cNvSpPr txBox="1"/>
          <p:nvPr/>
        </p:nvSpPr>
        <p:spPr>
          <a:xfrm rot="16200000">
            <a:off x="8690015" y="3508881"/>
            <a:ext cx="1490084" cy="461665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4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Implementar, Iterar e Repetir</a:t>
            </a:r>
          </a:p>
        </p:txBody>
      </p:sp>
      <p:sp>
        <p:nvSpPr>
          <p:cNvPr id="397" name="CaixaDeTexto 114"/>
          <p:cNvSpPr txBox="1"/>
          <p:nvPr/>
        </p:nvSpPr>
        <p:spPr>
          <a:xfrm rot="16200000">
            <a:off x="7811720" y="3597190"/>
            <a:ext cx="4259910" cy="276999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4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Lançamento</a:t>
            </a:r>
          </a:p>
        </p:txBody>
      </p:sp>
      <p:sp>
        <p:nvSpPr>
          <p:cNvPr id="398" name="Conector Reto 115"/>
          <p:cNvSpPr/>
          <p:nvPr/>
        </p:nvSpPr>
        <p:spPr>
          <a:xfrm>
            <a:off x="7057733" y="2666516"/>
            <a:ext cx="1" cy="2160575"/>
          </a:xfrm>
          <a:prstGeom prst="line">
            <a:avLst/>
          </a:prstGeom>
          <a:ln w="12700">
            <a:solidFill>
              <a:srgbClr val="FFFFFF"/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99" name="CaixaDeTexto 116"/>
          <p:cNvSpPr txBox="1"/>
          <p:nvPr/>
        </p:nvSpPr>
        <p:spPr>
          <a:xfrm>
            <a:off x="7097907" y="3459073"/>
            <a:ext cx="931884" cy="600164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Avaliar as primeiras ideias</a:t>
            </a:r>
          </a:p>
        </p:txBody>
      </p:sp>
      <p:sp>
        <p:nvSpPr>
          <p:cNvPr id="400" name="CaixaDeTexto 117"/>
          <p:cNvSpPr txBox="1"/>
          <p:nvPr/>
        </p:nvSpPr>
        <p:spPr>
          <a:xfrm>
            <a:off x="5986532" y="3578278"/>
            <a:ext cx="1128355" cy="261610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Idear</a:t>
            </a:r>
          </a:p>
        </p:txBody>
      </p:sp>
      <p:sp>
        <p:nvSpPr>
          <p:cNvPr id="401" name="CaixaDeTexto 118"/>
          <p:cNvSpPr txBox="1"/>
          <p:nvPr/>
        </p:nvSpPr>
        <p:spPr>
          <a:xfrm>
            <a:off x="7208100" y="2304262"/>
            <a:ext cx="1128355" cy="600164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Definir ideias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OKRs e 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Hipóteses</a:t>
            </a:r>
          </a:p>
        </p:txBody>
      </p:sp>
      <p:sp>
        <p:nvSpPr>
          <p:cNvPr id="402" name="Colchete Esquerdo 89"/>
          <p:cNvSpPr/>
          <p:nvPr/>
        </p:nvSpPr>
        <p:spPr>
          <a:xfrm rot="5400000">
            <a:off x="3497596" y="-893389"/>
            <a:ext cx="161067" cy="443170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cubicBezTo>
                  <a:pt x="9671" y="21600"/>
                  <a:pt x="0" y="21571"/>
                  <a:pt x="0" y="21535"/>
                </a:cubicBezTo>
                <a:lnTo>
                  <a:pt x="0" y="65"/>
                </a:lnTo>
                <a:cubicBezTo>
                  <a:pt x="0" y="29"/>
                  <a:pt x="9671" y="0"/>
                  <a:pt x="21600" y="0"/>
                </a:cubicBezTo>
              </a:path>
            </a:pathLst>
          </a:custGeom>
          <a:ln w="508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403" name="CaixaDeTexto 90"/>
          <p:cNvSpPr txBox="1"/>
          <p:nvPr/>
        </p:nvSpPr>
        <p:spPr>
          <a:xfrm>
            <a:off x="2440303" y="1136017"/>
            <a:ext cx="2185214" cy="24622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45720" bIns="45720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1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pPr>
            <a:r>
              <a:rPr kumimoji="0" sz="10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DESENVOLVENDO AS COISAS </a:t>
            </a:r>
            <a:r>
              <a:rPr kumimoji="0" sz="1000" b="1" i="0" u="sng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CERTAS</a:t>
            </a:r>
            <a:r>
              <a:rPr kumimoji="0" sz="10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 </a:t>
            </a:r>
          </a:p>
        </p:txBody>
      </p:sp>
      <p:sp>
        <p:nvSpPr>
          <p:cNvPr id="404" name="Colchete Esquerdo 91"/>
          <p:cNvSpPr/>
          <p:nvPr/>
        </p:nvSpPr>
        <p:spPr>
          <a:xfrm rot="5400000">
            <a:off x="8134912" y="-893389"/>
            <a:ext cx="161067" cy="443170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cubicBezTo>
                  <a:pt x="9671" y="21600"/>
                  <a:pt x="0" y="21571"/>
                  <a:pt x="0" y="21535"/>
                </a:cubicBezTo>
                <a:lnTo>
                  <a:pt x="0" y="65"/>
                </a:lnTo>
                <a:cubicBezTo>
                  <a:pt x="0" y="29"/>
                  <a:pt x="9671" y="0"/>
                  <a:pt x="21600" y="0"/>
                </a:cubicBezTo>
              </a:path>
            </a:pathLst>
          </a:custGeom>
          <a:ln w="508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405" name="CaixaDeTexto 92"/>
          <p:cNvSpPr txBox="1"/>
          <p:nvPr/>
        </p:nvSpPr>
        <p:spPr>
          <a:xfrm>
            <a:off x="6703090" y="1136017"/>
            <a:ext cx="2669320" cy="24622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45720" bIns="45720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1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pPr>
            <a:r>
              <a:rPr kumimoji="0" sz="10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DESENVOLVENDO AS COISAS </a:t>
            </a:r>
            <a:r>
              <a:rPr kumimoji="0" sz="1000" b="1" i="0" u="sng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CORRETAMENTE</a:t>
            </a:r>
            <a:r>
              <a:rPr kumimoji="0" sz="10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 </a:t>
            </a:r>
          </a:p>
        </p:txBody>
      </p:sp>
      <p:sp>
        <p:nvSpPr>
          <p:cNvPr id="406" name="CaixaDeTexto 61"/>
          <p:cNvSpPr txBox="1"/>
          <p:nvPr/>
        </p:nvSpPr>
        <p:spPr>
          <a:xfrm>
            <a:off x="7208100" y="4634506"/>
            <a:ext cx="1128355" cy="600164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Definir ideias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OKRs e 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Hipóteses</a:t>
            </a:r>
          </a:p>
        </p:txBody>
      </p:sp>
      <p:sp>
        <p:nvSpPr>
          <p:cNvPr id="407" name="CaixaDeTexto 69"/>
          <p:cNvSpPr txBox="1"/>
          <p:nvPr/>
        </p:nvSpPr>
        <p:spPr>
          <a:xfrm rot="16200000">
            <a:off x="1781818" y="3655223"/>
            <a:ext cx="4259909" cy="276999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4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Construir temas e agrupamentos de informação </a:t>
            </a:r>
          </a:p>
        </p:txBody>
      </p:sp>
      <p:sp>
        <p:nvSpPr>
          <p:cNvPr id="408" name="CaixaDeTexto 74"/>
          <p:cNvSpPr txBox="1"/>
          <p:nvPr/>
        </p:nvSpPr>
        <p:spPr>
          <a:xfrm rot="16200000">
            <a:off x="2276493" y="3655223"/>
            <a:ext cx="4259910" cy="276999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4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Encontrar Insights</a:t>
            </a:r>
          </a:p>
        </p:txBody>
      </p:sp>
      <p:sp>
        <p:nvSpPr>
          <p:cNvPr id="409" name="CaixaDeTexto 75"/>
          <p:cNvSpPr txBox="1"/>
          <p:nvPr/>
        </p:nvSpPr>
        <p:spPr>
          <a:xfrm rot="16200000">
            <a:off x="2754151" y="3517920"/>
            <a:ext cx="4259910" cy="461665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Deduzir áreas 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de oportunidade</a:t>
            </a:r>
          </a:p>
        </p:txBody>
      </p:sp>
      <p:sp>
        <p:nvSpPr>
          <p:cNvPr id="410" name="CaixaDeTexto 76"/>
          <p:cNvSpPr txBox="1"/>
          <p:nvPr/>
        </p:nvSpPr>
        <p:spPr>
          <a:xfrm rot="16200000">
            <a:off x="3265845" y="3610253"/>
            <a:ext cx="4259910" cy="276999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4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Criar CPs</a:t>
            </a:r>
          </a:p>
        </p:txBody>
      </p:sp>
      <p:sp>
        <p:nvSpPr>
          <p:cNvPr id="411" name="CaixaDeTexto 77"/>
          <p:cNvSpPr txBox="1"/>
          <p:nvPr/>
        </p:nvSpPr>
        <p:spPr>
          <a:xfrm>
            <a:off x="2534202" y="3459073"/>
            <a:ext cx="971500" cy="600164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Definir áreas de pesquisa e métodos</a:t>
            </a:r>
          </a:p>
        </p:txBody>
      </p:sp>
      <p:grpSp>
        <p:nvGrpSpPr>
          <p:cNvPr id="425" name="Agrupar 2"/>
          <p:cNvGrpSpPr/>
          <p:nvPr/>
        </p:nvGrpSpPr>
        <p:grpSpPr>
          <a:xfrm>
            <a:off x="1739285" y="5984735"/>
            <a:ext cx="8367086" cy="659566"/>
            <a:chOff x="0" y="-1"/>
            <a:chExt cx="16734169" cy="1319131"/>
          </a:xfrm>
        </p:grpSpPr>
        <p:grpSp>
          <p:nvGrpSpPr>
            <p:cNvPr id="422" name="Agrupar 93"/>
            <p:cNvGrpSpPr/>
            <p:nvPr/>
          </p:nvGrpSpPr>
          <p:grpSpPr>
            <a:xfrm>
              <a:off x="0" y="-1"/>
              <a:ext cx="16734169" cy="1319131"/>
              <a:chOff x="0" y="0"/>
              <a:chExt cx="16734168" cy="1319129"/>
            </a:xfrm>
          </p:grpSpPr>
          <p:sp>
            <p:nvSpPr>
              <p:cNvPr id="412" name="Conector Reto 94"/>
              <p:cNvSpPr/>
              <p:nvPr/>
            </p:nvSpPr>
            <p:spPr>
              <a:xfrm flipH="1" flipV="1">
                <a:off x="0" y="732972"/>
                <a:ext cx="3357799" cy="1"/>
              </a:xfrm>
              <a:prstGeom prst="line">
                <a:avLst/>
              </a:prstGeom>
              <a:noFill/>
              <a:ln w="50800" cap="flat">
                <a:solidFill>
                  <a:schemeClr val="bg1">
                    <a:lumMod val="85000"/>
                  </a:schemeClr>
                </a:solidFill>
                <a:prstDash val="solid"/>
                <a:miter lim="800000"/>
              </a:ln>
              <a:effectLst/>
            </p:spPr>
            <p:txBody>
              <a:bodyPr wrap="square" lIns="45720" tIns="45720" rIns="45720" bIns="45720" numCol="1" anchor="t">
                <a:noAutofit/>
              </a:bodyPr>
              <a:lstStyle/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FF6200"/>
                  </a:solidFill>
                  <a:effectLst/>
                  <a:uLnTx/>
                  <a:uFillTx/>
                  <a:latin typeface="Calibri"/>
                  <a:cs typeface="Calibri"/>
                  <a:sym typeface="Calibri"/>
                </a:endParaRPr>
              </a:p>
            </p:txBody>
          </p:sp>
          <p:sp>
            <p:nvSpPr>
              <p:cNvPr id="413" name="Conector Reto 95"/>
              <p:cNvSpPr/>
              <p:nvPr/>
            </p:nvSpPr>
            <p:spPr>
              <a:xfrm flipH="1" flipV="1">
                <a:off x="4287187" y="732972"/>
                <a:ext cx="3357800" cy="1"/>
              </a:xfrm>
              <a:prstGeom prst="line">
                <a:avLst/>
              </a:prstGeom>
              <a:noFill/>
              <a:ln w="50800" cap="flat">
                <a:solidFill>
                  <a:schemeClr val="bg1">
                    <a:lumMod val="85000"/>
                  </a:schemeClr>
                </a:solidFill>
                <a:prstDash val="solid"/>
                <a:miter lim="800000"/>
              </a:ln>
              <a:effectLst/>
            </p:spPr>
            <p:txBody>
              <a:bodyPr wrap="square" lIns="45720" tIns="45720" rIns="45720" bIns="45720" numCol="1" anchor="t">
                <a:noAutofit/>
              </a:bodyPr>
              <a:lstStyle/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FF6200"/>
                  </a:solidFill>
                  <a:effectLst/>
                  <a:uLnTx/>
                  <a:uFillTx/>
                  <a:latin typeface="Calibri"/>
                  <a:cs typeface="Calibri"/>
                  <a:sym typeface="Calibri"/>
                </a:endParaRPr>
              </a:p>
            </p:txBody>
          </p:sp>
          <p:sp>
            <p:nvSpPr>
              <p:cNvPr id="414" name="Conector Reto 96"/>
              <p:cNvSpPr/>
              <p:nvPr/>
            </p:nvSpPr>
            <p:spPr>
              <a:xfrm flipH="1" flipV="1">
                <a:off x="9089182" y="732972"/>
                <a:ext cx="3357799" cy="1"/>
              </a:xfrm>
              <a:prstGeom prst="line">
                <a:avLst/>
              </a:prstGeom>
              <a:noFill/>
              <a:ln w="50800" cap="flat">
                <a:solidFill>
                  <a:schemeClr val="bg1">
                    <a:lumMod val="85000"/>
                  </a:schemeClr>
                </a:solidFill>
                <a:prstDash val="solid"/>
                <a:miter lim="800000"/>
              </a:ln>
              <a:effectLst/>
            </p:spPr>
            <p:txBody>
              <a:bodyPr wrap="square" lIns="45720" tIns="45720" rIns="45720" bIns="45720" numCol="1" anchor="t">
                <a:noAutofit/>
              </a:bodyPr>
              <a:lstStyle/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FF6200"/>
                  </a:solidFill>
                  <a:effectLst/>
                  <a:uLnTx/>
                  <a:uFillTx/>
                  <a:latin typeface="Calibri"/>
                  <a:cs typeface="Calibri"/>
                  <a:sym typeface="Calibri"/>
                </a:endParaRPr>
              </a:p>
            </p:txBody>
          </p:sp>
          <p:sp>
            <p:nvSpPr>
              <p:cNvPr id="415" name="Conector Reto 97"/>
              <p:cNvSpPr/>
              <p:nvPr/>
            </p:nvSpPr>
            <p:spPr>
              <a:xfrm flipH="1" flipV="1">
                <a:off x="13376369" y="732972"/>
                <a:ext cx="3357799" cy="1"/>
              </a:xfrm>
              <a:prstGeom prst="line">
                <a:avLst/>
              </a:prstGeom>
              <a:noFill/>
              <a:ln w="50800" cap="flat">
                <a:solidFill>
                  <a:schemeClr val="bg1">
                    <a:lumMod val="85000"/>
                  </a:schemeClr>
                </a:solidFill>
                <a:prstDash val="solid"/>
                <a:miter lim="800000"/>
              </a:ln>
              <a:effectLst/>
            </p:spPr>
            <p:txBody>
              <a:bodyPr wrap="square" lIns="45720" tIns="45720" rIns="45720" bIns="45720" numCol="1" anchor="t">
                <a:noAutofit/>
              </a:bodyPr>
              <a:lstStyle/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FF6200"/>
                  </a:solidFill>
                  <a:effectLst/>
                  <a:uLnTx/>
                  <a:uFillTx/>
                  <a:latin typeface="Calibri"/>
                  <a:cs typeface="Calibri"/>
                  <a:sym typeface="Calibri"/>
                </a:endParaRPr>
              </a:p>
            </p:txBody>
          </p:sp>
          <p:sp>
            <p:nvSpPr>
              <p:cNvPr id="416" name="CaixaDeTexto 98"/>
              <p:cNvSpPr txBox="1"/>
              <p:nvPr/>
            </p:nvSpPr>
            <p:spPr>
              <a:xfrm>
                <a:off x="853992" y="0"/>
                <a:ext cx="1649810" cy="553997"/>
              </a:xfrm>
              <a:prstGeom prst="rect">
                <a:avLst/>
              </a:prstGeom>
              <a:noFill/>
              <a:ln w="254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20" tIns="45720" rIns="45720" bIns="45720" numCol="1" anchor="t">
                <a:spAutoFit/>
              </a:bodyPr>
              <a:lstStyle>
                <a:lvl1pPr algn="ctr">
                  <a:defRPr sz="2400" b="1">
                    <a:solidFill>
                      <a:srgbClr val="FFFFFF"/>
                    </a:solidFill>
                    <a:latin typeface="Itau Display"/>
                    <a:ea typeface="Itau Display"/>
                    <a:cs typeface="Itau Display"/>
                    <a:sym typeface="Itau Display"/>
                  </a:defRPr>
                </a:lvl1pPr>
              </a:lstStyle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200" b="1" i="0" u="none" strike="noStrike" kern="0" cap="none" spc="0" normalizeH="0" baseline="0" noProof="0">
                    <a:ln>
                      <a:noFill/>
                    </a:ln>
                    <a:solidFill>
                      <a:srgbClr val="FF6200"/>
                    </a:solidFill>
                    <a:effectLst/>
                    <a:uLnTx/>
                    <a:uFillTx/>
                    <a:latin typeface="Itau Display"/>
                    <a:cs typeface="Itau Display"/>
                    <a:sym typeface="Itau Display"/>
                  </a:rPr>
                  <a:t>DESCOBRIR</a:t>
                </a:r>
              </a:p>
            </p:txBody>
          </p:sp>
          <p:sp>
            <p:nvSpPr>
              <p:cNvPr id="417" name="CaixaDeTexto 99"/>
              <p:cNvSpPr txBox="1"/>
              <p:nvPr/>
            </p:nvSpPr>
            <p:spPr>
              <a:xfrm>
                <a:off x="5343159" y="0"/>
                <a:ext cx="1245854" cy="553997"/>
              </a:xfrm>
              <a:prstGeom prst="rect">
                <a:avLst/>
              </a:prstGeom>
              <a:noFill/>
              <a:ln w="254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20" tIns="45720" rIns="45720" bIns="45720" numCol="1" anchor="t">
                <a:spAutoFit/>
              </a:bodyPr>
              <a:lstStyle>
                <a:lvl1pPr algn="ctr">
                  <a:defRPr sz="2400" b="1">
                    <a:solidFill>
                      <a:srgbClr val="FFFFFF"/>
                    </a:solidFill>
                    <a:latin typeface="Itau Display"/>
                    <a:ea typeface="Itau Display"/>
                    <a:cs typeface="Itau Display"/>
                    <a:sym typeface="Itau Display"/>
                  </a:defRPr>
                </a:lvl1pPr>
              </a:lstStyle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200" b="1" i="0" u="none" strike="noStrike" kern="0" cap="none" spc="0" normalizeH="0" baseline="0" noProof="0">
                    <a:ln>
                      <a:noFill/>
                    </a:ln>
                    <a:solidFill>
                      <a:srgbClr val="FF6200"/>
                    </a:solidFill>
                    <a:effectLst/>
                    <a:uLnTx/>
                    <a:uFillTx/>
                    <a:latin typeface="Itau Display"/>
                    <a:cs typeface="Itau Display"/>
                    <a:sym typeface="Itau Display"/>
                  </a:rPr>
                  <a:t>DEFINIR</a:t>
                </a:r>
              </a:p>
            </p:txBody>
          </p:sp>
          <p:sp>
            <p:nvSpPr>
              <p:cNvPr id="418" name="CaixaDeTexto 102"/>
              <p:cNvSpPr txBox="1"/>
              <p:nvPr/>
            </p:nvSpPr>
            <p:spPr>
              <a:xfrm>
                <a:off x="950812" y="826688"/>
                <a:ext cx="1091966" cy="492441"/>
              </a:xfrm>
              <a:prstGeom prst="rect">
                <a:avLst/>
              </a:prstGeom>
              <a:noFill/>
              <a:ln w="254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20" tIns="45720" rIns="45720" bIns="45720" numCol="1" anchor="t">
                <a:spAutoFit/>
              </a:bodyPr>
              <a:lstStyle>
                <a:lvl1pPr>
                  <a:defRPr sz="2000">
                    <a:solidFill>
                      <a:srgbClr val="FFFFFF"/>
                    </a:solidFill>
                    <a:latin typeface="Itau Text Light"/>
                    <a:ea typeface="Itau Text Light"/>
                    <a:cs typeface="Itau Text Light"/>
                    <a:sym typeface="Itau Text Light"/>
                  </a:defRPr>
                </a:lvl1pPr>
              </a:lstStyle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FF6200"/>
                    </a:solidFill>
                    <a:effectLst/>
                    <a:uLnTx/>
                    <a:uFillTx/>
                    <a:latin typeface="Itau Text Light"/>
                    <a:cs typeface="Itau Text Light"/>
                    <a:sym typeface="Itau Text Light"/>
                  </a:rPr>
                  <a:t>Pesquisa</a:t>
                </a:r>
              </a:p>
            </p:txBody>
          </p:sp>
          <p:sp>
            <p:nvSpPr>
              <p:cNvPr id="419" name="CaixaDeTexto 120"/>
              <p:cNvSpPr txBox="1"/>
              <p:nvPr/>
            </p:nvSpPr>
            <p:spPr>
              <a:xfrm>
                <a:off x="5313805" y="826688"/>
                <a:ext cx="938078" cy="492441"/>
              </a:xfrm>
              <a:prstGeom prst="rect">
                <a:avLst/>
              </a:prstGeom>
              <a:noFill/>
              <a:ln w="254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20" tIns="45720" rIns="45720" bIns="45720" numCol="1" anchor="t">
                <a:spAutoFit/>
              </a:bodyPr>
              <a:lstStyle>
                <a:lvl1pPr>
                  <a:defRPr sz="2000">
                    <a:solidFill>
                      <a:srgbClr val="FFFFFF"/>
                    </a:solidFill>
                    <a:latin typeface="Itau Text Light"/>
                    <a:ea typeface="Itau Text Light"/>
                    <a:cs typeface="Itau Text Light"/>
                    <a:sym typeface="Itau Text Light"/>
                  </a:defRPr>
                </a:lvl1pPr>
              </a:lstStyle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FF6200"/>
                    </a:solidFill>
                    <a:effectLst/>
                    <a:uLnTx/>
                    <a:uFillTx/>
                    <a:latin typeface="Itau Text Light"/>
                    <a:cs typeface="Itau Text Light"/>
                    <a:sym typeface="Itau Text Light"/>
                  </a:rPr>
                  <a:t>Síntese</a:t>
                </a:r>
              </a:p>
            </p:txBody>
          </p:sp>
          <p:sp>
            <p:nvSpPr>
              <p:cNvPr id="420" name="CaixaDeTexto 121"/>
              <p:cNvSpPr txBox="1"/>
              <p:nvPr/>
            </p:nvSpPr>
            <p:spPr>
              <a:xfrm>
                <a:off x="10094812" y="826688"/>
                <a:ext cx="998992" cy="492441"/>
              </a:xfrm>
              <a:prstGeom prst="rect">
                <a:avLst/>
              </a:prstGeom>
              <a:noFill/>
              <a:ln w="254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20" tIns="45720" rIns="45720" bIns="45720" numCol="1" anchor="t">
                <a:spAutoFit/>
              </a:bodyPr>
              <a:lstStyle>
                <a:lvl1pPr>
                  <a:defRPr sz="2000">
                    <a:solidFill>
                      <a:srgbClr val="FFFFFF"/>
                    </a:solidFill>
                    <a:latin typeface="Itau Text Light"/>
                    <a:ea typeface="Itau Text Light"/>
                    <a:cs typeface="Itau Text Light"/>
                    <a:sym typeface="Itau Text Light"/>
                  </a:defRPr>
                </a:lvl1pPr>
              </a:lstStyle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FF6200"/>
                    </a:solidFill>
                    <a:effectLst/>
                    <a:uLnTx/>
                    <a:uFillTx/>
                    <a:latin typeface="Itau Text Light"/>
                    <a:cs typeface="Itau Text Light"/>
                    <a:sym typeface="Itau Text Light"/>
                  </a:rPr>
                  <a:t>Ideação</a:t>
                </a:r>
              </a:p>
            </p:txBody>
          </p:sp>
          <p:sp>
            <p:nvSpPr>
              <p:cNvPr id="421" name="CaixaDeTexto 122"/>
              <p:cNvSpPr txBox="1"/>
              <p:nvPr/>
            </p:nvSpPr>
            <p:spPr>
              <a:xfrm>
                <a:off x="14031417" y="826688"/>
                <a:ext cx="1816524" cy="492441"/>
              </a:xfrm>
              <a:prstGeom prst="rect">
                <a:avLst/>
              </a:prstGeom>
              <a:noFill/>
              <a:ln w="254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20" tIns="45720" rIns="45720" bIns="45720" numCol="1" anchor="t">
                <a:spAutoFit/>
              </a:bodyPr>
              <a:lstStyle>
                <a:lvl1pPr>
                  <a:defRPr sz="2000">
                    <a:solidFill>
                      <a:srgbClr val="FFFFFF"/>
                    </a:solidFill>
                    <a:latin typeface="Itau Text Light"/>
                    <a:ea typeface="Itau Text Light"/>
                    <a:cs typeface="Itau Text Light"/>
                    <a:sym typeface="Itau Text Light"/>
                  </a:defRPr>
                </a:lvl1pPr>
              </a:lstStyle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FF6200"/>
                    </a:solidFill>
                    <a:effectLst/>
                    <a:uLnTx/>
                    <a:uFillTx/>
                    <a:latin typeface="Itau Text Light"/>
                    <a:cs typeface="Itau Text Light"/>
                    <a:sym typeface="Itau Text Light"/>
                  </a:rPr>
                  <a:t>Implementação</a:t>
                </a:r>
              </a:p>
            </p:txBody>
          </p:sp>
        </p:grpSp>
        <p:sp>
          <p:nvSpPr>
            <p:cNvPr id="423" name="CaixaDeTexto 62"/>
            <p:cNvSpPr txBox="1"/>
            <p:nvPr/>
          </p:nvSpPr>
          <p:spPr>
            <a:xfrm>
              <a:off x="10076226" y="1"/>
              <a:ext cx="1383712" cy="553998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45720" tIns="45720" rIns="45720" bIns="45720" numCol="1" anchor="t">
              <a:spAutoFit/>
            </a:bodyPr>
            <a:lstStyle>
              <a:lvl1pPr algn="ctr">
                <a:defRPr sz="2400" b="1">
                  <a:solidFill>
                    <a:srgbClr val="FFFFFF"/>
                  </a:solidFill>
                  <a:latin typeface="Itau Display"/>
                  <a:ea typeface="Itau Display"/>
                  <a:cs typeface="Itau Display"/>
                  <a:sym typeface="Itau Display"/>
                </a:defRPr>
              </a:lvl1pPr>
            </a:lstStyle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200" b="1" i="0" u="none" strike="noStrike" kern="0" cap="none" spc="0" normalizeH="0" baseline="0" noProof="0">
                  <a:ln>
                    <a:noFill/>
                  </a:ln>
                  <a:solidFill>
                    <a:srgbClr val="FF6200"/>
                  </a:solidFill>
                  <a:effectLst/>
                  <a:uLnTx/>
                  <a:uFillTx/>
                  <a:latin typeface="Itau Display"/>
                  <a:cs typeface="Itau Display"/>
                  <a:sym typeface="Itau Display"/>
                </a:rPr>
                <a:t>ESBOÇAR</a:t>
              </a:r>
            </a:p>
          </p:txBody>
        </p:sp>
        <p:sp>
          <p:nvSpPr>
            <p:cNvPr id="424" name="CaixaDeTexto 63"/>
            <p:cNvSpPr txBox="1"/>
            <p:nvPr/>
          </p:nvSpPr>
          <p:spPr>
            <a:xfrm>
              <a:off x="14558171" y="1"/>
              <a:ext cx="1146468" cy="553998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45720" tIns="45720" rIns="45720" bIns="45720" numCol="1" anchor="t">
              <a:spAutoFit/>
            </a:bodyPr>
            <a:lstStyle>
              <a:lvl1pPr algn="ctr">
                <a:defRPr sz="2400" b="1">
                  <a:solidFill>
                    <a:srgbClr val="FFFFFF"/>
                  </a:solidFill>
                  <a:latin typeface="Itau Display"/>
                  <a:ea typeface="Itau Display"/>
                  <a:cs typeface="Itau Display"/>
                  <a:sym typeface="Itau Display"/>
                </a:defRPr>
              </a:lvl1pPr>
            </a:lstStyle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200" b="1" i="0" u="none" strike="noStrike" kern="0" cap="none" spc="0" normalizeH="0" baseline="0" noProof="0">
                  <a:ln>
                    <a:noFill/>
                  </a:ln>
                  <a:solidFill>
                    <a:srgbClr val="FF6200"/>
                  </a:solidFill>
                  <a:effectLst/>
                  <a:uLnTx/>
                  <a:uFillTx/>
                  <a:latin typeface="Itau Display"/>
                  <a:cs typeface="Itau Display"/>
                  <a:sym typeface="Itau Display"/>
                </a:rPr>
                <a:t>TESTAR</a:t>
              </a:r>
            </a:p>
          </p:txBody>
        </p:sp>
      </p:grpSp>
      <p:sp>
        <p:nvSpPr>
          <p:cNvPr id="2" name="Retângulo 4">
            <a:extLst>
              <a:ext uri="{FF2B5EF4-FFF2-40B4-BE49-F238E27FC236}">
                <a16:creationId xmlns:a16="http://schemas.microsoft.com/office/drawing/2014/main" id="{11A677E8-EE67-7DE7-3089-7B03E8CF8632}"/>
              </a:ext>
            </a:extLst>
          </p:cNvPr>
          <p:cNvSpPr/>
          <p:nvPr/>
        </p:nvSpPr>
        <p:spPr>
          <a:xfrm>
            <a:off x="207799" y="1025847"/>
            <a:ext cx="11797200" cy="5688000"/>
          </a:xfrm>
          <a:prstGeom prst="rect">
            <a:avLst/>
          </a:prstGeom>
          <a:solidFill>
            <a:schemeClr val="bg1">
              <a:lumMod val="95000"/>
              <a:alpha val="85000"/>
            </a:schemeClr>
          </a:solidFill>
          <a:ln w="12700">
            <a:miter lim="400000"/>
          </a:ln>
        </p:spPr>
        <p:txBody>
          <a:bodyPr tIns="45720" bIns="45720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" name="Forma Livre 10">
            <a:extLst>
              <a:ext uri="{FF2B5EF4-FFF2-40B4-BE49-F238E27FC236}">
                <a16:creationId xmlns:a16="http://schemas.microsoft.com/office/drawing/2014/main" id="{5635FF0D-FAD7-6F47-6721-E1A82C0F6D38}"/>
              </a:ext>
            </a:extLst>
          </p:cNvPr>
          <p:cNvSpPr/>
          <p:nvPr/>
        </p:nvSpPr>
        <p:spPr>
          <a:xfrm>
            <a:off x="1225742" y="1631288"/>
            <a:ext cx="9774622" cy="398154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198" extrusionOk="0">
                <a:moveTo>
                  <a:pt x="0" y="10619"/>
                </a:moveTo>
                <a:cubicBezTo>
                  <a:pt x="804" y="10430"/>
                  <a:pt x="1608" y="10241"/>
                  <a:pt x="2125" y="9360"/>
                </a:cubicBezTo>
                <a:cubicBezTo>
                  <a:pt x="2642" y="8478"/>
                  <a:pt x="2810" y="5023"/>
                  <a:pt x="3101" y="5331"/>
                </a:cubicBezTo>
                <a:cubicBezTo>
                  <a:pt x="3391" y="5639"/>
                  <a:pt x="3629" y="9430"/>
                  <a:pt x="3867" y="11206"/>
                </a:cubicBezTo>
                <a:cubicBezTo>
                  <a:pt x="4105" y="12983"/>
                  <a:pt x="4314" y="14564"/>
                  <a:pt x="4529" y="15991"/>
                </a:cubicBezTo>
                <a:cubicBezTo>
                  <a:pt x="4744" y="17418"/>
                  <a:pt x="5185" y="18901"/>
                  <a:pt x="5156" y="19768"/>
                </a:cubicBezTo>
                <a:cubicBezTo>
                  <a:pt x="5127" y="20635"/>
                  <a:pt x="4616" y="21251"/>
                  <a:pt x="4355" y="21195"/>
                </a:cubicBezTo>
                <a:cubicBezTo>
                  <a:pt x="4094" y="21139"/>
                  <a:pt x="3629" y="20524"/>
                  <a:pt x="3588" y="19432"/>
                </a:cubicBezTo>
                <a:cubicBezTo>
                  <a:pt x="3548" y="18341"/>
                  <a:pt x="3797" y="17180"/>
                  <a:pt x="4111" y="14648"/>
                </a:cubicBezTo>
                <a:cubicBezTo>
                  <a:pt x="4425" y="12116"/>
                  <a:pt x="5261" y="6660"/>
                  <a:pt x="5470" y="4240"/>
                </a:cubicBezTo>
                <a:cubicBezTo>
                  <a:pt x="5679" y="1819"/>
                  <a:pt x="5621" y="602"/>
                  <a:pt x="5365" y="127"/>
                </a:cubicBezTo>
                <a:cubicBezTo>
                  <a:pt x="5110" y="-349"/>
                  <a:pt x="4192" y="616"/>
                  <a:pt x="3937" y="1386"/>
                </a:cubicBezTo>
                <a:cubicBezTo>
                  <a:pt x="3681" y="2155"/>
                  <a:pt x="3699" y="3386"/>
                  <a:pt x="3832" y="4743"/>
                </a:cubicBezTo>
                <a:cubicBezTo>
                  <a:pt x="3966" y="6100"/>
                  <a:pt x="4343" y="8129"/>
                  <a:pt x="4738" y="9528"/>
                </a:cubicBezTo>
                <a:cubicBezTo>
                  <a:pt x="5133" y="10927"/>
                  <a:pt x="5795" y="12452"/>
                  <a:pt x="6201" y="13137"/>
                </a:cubicBezTo>
                <a:cubicBezTo>
                  <a:pt x="6608" y="13823"/>
                  <a:pt x="6799" y="13697"/>
                  <a:pt x="7177" y="13641"/>
                </a:cubicBezTo>
                <a:cubicBezTo>
                  <a:pt x="7554" y="13585"/>
                  <a:pt x="8205" y="13571"/>
                  <a:pt x="8466" y="12801"/>
                </a:cubicBezTo>
                <a:cubicBezTo>
                  <a:pt x="8727" y="12032"/>
                  <a:pt x="8837" y="9975"/>
                  <a:pt x="8745" y="9024"/>
                </a:cubicBezTo>
                <a:cubicBezTo>
                  <a:pt x="8652" y="8073"/>
                  <a:pt x="8199" y="7345"/>
                  <a:pt x="7908" y="7093"/>
                </a:cubicBezTo>
                <a:cubicBezTo>
                  <a:pt x="7618" y="6842"/>
                  <a:pt x="7154" y="7038"/>
                  <a:pt x="7003" y="7513"/>
                </a:cubicBezTo>
                <a:cubicBezTo>
                  <a:pt x="6852" y="7989"/>
                  <a:pt x="6933" y="9262"/>
                  <a:pt x="7003" y="9947"/>
                </a:cubicBezTo>
                <a:cubicBezTo>
                  <a:pt x="7072" y="10633"/>
                  <a:pt x="7113" y="11206"/>
                  <a:pt x="7421" y="11626"/>
                </a:cubicBezTo>
                <a:cubicBezTo>
                  <a:pt x="7728" y="12046"/>
                  <a:pt x="8402" y="12466"/>
                  <a:pt x="8849" y="12466"/>
                </a:cubicBezTo>
                <a:cubicBezTo>
                  <a:pt x="9296" y="12466"/>
                  <a:pt x="9720" y="11976"/>
                  <a:pt x="10103" y="11626"/>
                </a:cubicBezTo>
                <a:cubicBezTo>
                  <a:pt x="10486" y="11276"/>
                  <a:pt x="10864" y="10871"/>
                  <a:pt x="11148" y="10367"/>
                </a:cubicBezTo>
                <a:cubicBezTo>
                  <a:pt x="11433" y="9863"/>
                  <a:pt x="11572" y="9556"/>
                  <a:pt x="11810" y="8604"/>
                </a:cubicBezTo>
                <a:cubicBezTo>
                  <a:pt x="12048" y="7653"/>
                  <a:pt x="12333" y="5359"/>
                  <a:pt x="12577" y="4659"/>
                </a:cubicBezTo>
                <a:cubicBezTo>
                  <a:pt x="12821" y="3960"/>
                  <a:pt x="13146" y="3848"/>
                  <a:pt x="13274" y="4407"/>
                </a:cubicBezTo>
                <a:cubicBezTo>
                  <a:pt x="13401" y="4967"/>
                  <a:pt x="13355" y="6044"/>
                  <a:pt x="13343" y="8017"/>
                </a:cubicBezTo>
                <a:cubicBezTo>
                  <a:pt x="13332" y="9989"/>
                  <a:pt x="13483" y="15403"/>
                  <a:pt x="13204" y="16243"/>
                </a:cubicBezTo>
                <a:cubicBezTo>
                  <a:pt x="12925" y="17082"/>
                  <a:pt x="11973" y="14354"/>
                  <a:pt x="11671" y="13053"/>
                </a:cubicBezTo>
                <a:cubicBezTo>
                  <a:pt x="11369" y="11752"/>
                  <a:pt x="11270" y="9849"/>
                  <a:pt x="11392" y="8436"/>
                </a:cubicBezTo>
                <a:cubicBezTo>
                  <a:pt x="11514" y="7024"/>
                  <a:pt x="12124" y="4981"/>
                  <a:pt x="12403" y="4575"/>
                </a:cubicBezTo>
                <a:cubicBezTo>
                  <a:pt x="12681" y="4170"/>
                  <a:pt x="12983" y="4547"/>
                  <a:pt x="13065" y="6002"/>
                </a:cubicBezTo>
                <a:cubicBezTo>
                  <a:pt x="13146" y="7457"/>
                  <a:pt x="13059" y="12074"/>
                  <a:pt x="12890" y="13305"/>
                </a:cubicBezTo>
                <a:cubicBezTo>
                  <a:pt x="12722" y="14536"/>
                  <a:pt x="12246" y="13878"/>
                  <a:pt x="12054" y="13389"/>
                </a:cubicBezTo>
                <a:cubicBezTo>
                  <a:pt x="11863" y="12899"/>
                  <a:pt x="11694" y="11318"/>
                  <a:pt x="11741" y="10367"/>
                </a:cubicBezTo>
                <a:cubicBezTo>
                  <a:pt x="11787" y="9416"/>
                  <a:pt x="12031" y="7933"/>
                  <a:pt x="12333" y="7681"/>
                </a:cubicBezTo>
                <a:cubicBezTo>
                  <a:pt x="12635" y="7429"/>
                  <a:pt x="13245" y="8409"/>
                  <a:pt x="13552" y="8856"/>
                </a:cubicBezTo>
                <a:cubicBezTo>
                  <a:pt x="13860" y="9304"/>
                  <a:pt x="13906" y="9500"/>
                  <a:pt x="14179" y="10367"/>
                </a:cubicBezTo>
                <a:cubicBezTo>
                  <a:pt x="14452" y="11234"/>
                  <a:pt x="15010" y="12731"/>
                  <a:pt x="15190" y="14060"/>
                </a:cubicBezTo>
                <a:cubicBezTo>
                  <a:pt x="15370" y="15389"/>
                  <a:pt x="15335" y="17404"/>
                  <a:pt x="15259" y="18341"/>
                </a:cubicBezTo>
                <a:cubicBezTo>
                  <a:pt x="15184" y="19278"/>
                  <a:pt x="14940" y="19698"/>
                  <a:pt x="14737" y="19684"/>
                </a:cubicBezTo>
                <a:cubicBezTo>
                  <a:pt x="14534" y="19670"/>
                  <a:pt x="14081" y="19083"/>
                  <a:pt x="14040" y="18257"/>
                </a:cubicBezTo>
                <a:cubicBezTo>
                  <a:pt x="13999" y="17432"/>
                  <a:pt x="14272" y="15725"/>
                  <a:pt x="14493" y="14732"/>
                </a:cubicBezTo>
                <a:cubicBezTo>
                  <a:pt x="14714" y="13739"/>
                  <a:pt x="15050" y="13697"/>
                  <a:pt x="15364" y="12298"/>
                </a:cubicBezTo>
                <a:cubicBezTo>
                  <a:pt x="15677" y="10899"/>
                  <a:pt x="15956" y="7611"/>
                  <a:pt x="16374" y="6338"/>
                </a:cubicBezTo>
                <a:cubicBezTo>
                  <a:pt x="16792" y="5065"/>
                  <a:pt x="17477" y="4701"/>
                  <a:pt x="17872" y="4659"/>
                </a:cubicBezTo>
                <a:cubicBezTo>
                  <a:pt x="18267" y="4617"/>
                  <a:pt x="18563" y="5065"/>
                  <a:pt x="18743" y="6086"/>
                </a:cubicBezTo>
                <a:cubicBezTo>
                  <a:pt x="18923" y="7107"/>
                  <a:pt x="19005" y="9122"/>
                  <a:pt x="18952" y="10787"/>
                </a:cubicBezTo>
                <a:cubicBezTo>
                  <a:pt x="18900" y="12452"/>
                  <a:pt x="18703" y="14900"/>
                  <a:pt x="18430" y="16075"/>
                </a:cubicBezTo>
                <a:cubicBezTo>
                  <a:pt x="18157" y="17250"/>
                  <a:pt x="17675" y="17921"/>
                  <a:pt x="17315" y="17838"/>
                </a:cubicBezTo>
                <a:cubicBezTo>
                  <a:pt x="16955" y="17754"/>
                  <a:pt x="16467" y="16844"/>
                  <a:pt x="16270" y="15571"/>
                </a:cubicBezTo>
                <a:cubicBezTo>
                  <a:pt x="16072" y="14298"/>
                  <a:pt x="15997" y="11724"/>
                  <a:pt x="16130" y="10199"/>
                </a:cubicBezTo>
                <a:cubicBezTo>
                  <a:pt x="16264" y="8674"/>
                  <a:pt x="16705" y="6982"/>
                  <a:pt x="17071" y="6422"/>
                </a:cubicBezTo>
                <a:cubicBezTo>
                  <a:pt x="17437" y="5862"/>
                  <a:pt x="18064" y="6450"/>
                  <a:pt x="18325" y="6842"/>
                </a:cubicBezTo>
                <a:cubicBezTo>
                  <a:pt x="18586" y="7233"/>
                  <a:pt x="18656" y="7625"/>
                  <a:pt x="18639" y="8772"/>
                </a:cubicBezTo>
                <a:cubicBezTo>
                  <a:pt x="18621" y="9919"/>
                  <a:pt x="18401" y="12619"/>
                  <a:pt x="18221" y="13725"/>
                </a:cubicBezTo>
                <a:cubicBezTo>
                  <a:pt x="18041" y="14830"/>
                  <a:pt x="17779" y="15263"/>
                  <a:pt x="17559" y="15403"/>
                </a:cubicBezTo>
                <a:cubicBezTo>
                  <a:pt x="17338" y="15543"/>
                  <a:pt x="17077" y="15207"/>
                  <a:pt x="16897" y="14564"/>
                </a:cubicBezTo>
                <a:cubicBezTo>
                  <a:pt x="16717" y="13920"/>
                  <a:pt x="16502" y="12466"/>
                  <a:pt x="16479" y="11542"/>
                </a:cubicBezTo>
                <a:cubicBezTo>
                  <a:pt x="16455" y="10619"/>
                  <a:pt x="16630" y="9528"/>
                  <a:pt x="16757" y="9024"/>
                </a:cubicBezTo>
                <a:cubicBezTo>
                  <a:pt x="16885" y="8520"/>
                  <a:pt x="17042" y="8548"/>
                  <a:pt x="17245" y="8520"/>
                </a:cubicBezTo>
                <a:cubicBezTo>
                  <a:pt x="17448" y="8492"/>
                  <a:pt x="17774" y="8492"/>
                  <a:pt x="17977" y="8856"/>
                </a:cubicBezTo>
                <a:cubicBezTo>
                  <a:pt x="18180" y="9220"/>
                  <a:pt x="18221" y="10227"/>
                  <a:pt x="18465" y="10703"/>
                </a:cubicBezTo>
                <a:cubicBezTo>
                  <a:pt x="18708" y="11178"/>
                  <a:pt x="19132" y="11598"/>
                  <a:pt x="19440" y="11710"/>
                </a:cubicBezTo>
                <a:cubicBezTo>
                  <a:pt x="19748" y="11822"/>
                  <a:pt x="20079" y="11682"/>
                  <a:pt x="20311" y="11374"/>
                </a:cubicBezTo>
                <a:cubicBezTo>
                  <a:pt x="20543" y="11067"/>
                  <a:pt x="20735" y="10563"/>
                  <a:pt x="20834" y="9863"/>
                </a:cubicBezTo>
                <a:cubicBezTo>
                  <a:pt x="20932" y="9164"/>
                  <a:pt x="21002" y="7877"/>
                  <a:pt x="20903" y="7177"/>
                </a:cubicBezTo>
                <a:cubicBezTo>
                  <a:pt x="20805" y="6478"/>
                  <a:pt x="20462" y="5862"/>
                  <a:pt x="20241" y="5667"/>
                </a:cubicBezTo>
                <a:cubicBezTo>
                  <a:pt x="20021" y="5471"/>
                  <a:pt x="19719" y="5736"/>
                  <a:pt x="19579" y="6002"/>
                </a:cubicBezTo>
                <a:cubicBezTo>
                  <a:pt x="19440" y="6268"/>
                  <a:pt x="19428" y="6702"/>
                  <a:pt x="19405" y="7261"/>
                </a:cubicBezTo>
                <a:cubicBezTo>
                  <a:pt x="19382" y="7821"/>
                  <a:pt x="19370" y="8800"/>
                  <a:pt x="19440" y="9360"/>
                </a:cubicBezTo>
                <a:cubicBezTo>
                  <a:pt x="19510" y="9919"/>
                  <a:pt x="19701" y="10381"/>
                  <a:pt x="19823" y="10619"/>
                </a:cubicBezTo>
                <a:cubicBezTo>
                  <a:pt x="19945" y="10857"/>
                  <a:pt x="20073" y="10787"/>
                  <a:pt x="20172" y="10787"/>
                </a:cubicBezTo>
                <a:cubicBezTo>
                  <a:pt x="20270" y="10787"/>
                  <a:pt x="20323" y="10899"/>
                  <a:pt x="20415" y="10619"/>
                </a:cubicBezTo>
                <a:cubicBezTo>
                  <a:pt x="20508" y="10339"/>
                  <a:pt x="20717" y="9640"/>
                  <a:pt x="20729" y="9108"/>
                </a:cubicBezTo>
                <a:cubicBezTo>
                  <a:pt x="20741" y="8576"/>
                  <a:pt x="20613" y="7667"/>
                  <a:pt x="20485" y="7429"/>
                </a:cubicBezTo>
                <a:cubicBezTo>
                  <a:pt x="20357" y="7191"/>
                  <a:pt x="20061" y="7499"/>
                  <a:pt x="19963" y="7681"/>
                </a:cubicBezTo>
                <a:cubicBezTo>
                  <a:pt x="19864" y="7863"/>
                  <a:pt x="19864" y="8185"/>
                  <a:pt x="19893" y="8520"/>
                </a:cubicBezTo>
                <a:cubicBezTo>
                  <a:pt x="19922" y="8856"/>
                  <a:pt x="20032" y="9360"/>
                  <a:pt x="20137" y="9696"/>
                </a:cubicBezTo>
                <a:cubicBezTo>
                  <a:pt x="20241" y="10031"/>
                  <a:pt x="20375" y="10339"/>
                  <a:pt x="20520" y="10535"/>
                </a:cubicBezTo>
                <a:cubicBezTo>
                  <a:pt x="20665" y="10731"/>
                  <a:pt x="20828" y="10843"/>
                  <a:pt x="21008" y="10871"/>
                </a:cubicBezTo>
                <a:cubicBezTo>
                  <a:pt x="21188" y="10899"/>
                  <a:pt x="21394" y="10801"/>
                  <a:pt x="21600" y="10703"/>
                </a:cubicBezTo>
              </a:path>
            </a:pathLst>
          </a:custGeom>
          <a:ln w="114300">
            <a:solidFill>
              <a:schemeClr val="tx1">
                <a:lumMod val="50000"/>
                <a:lumOff val="50000"/>
              </a:schemeClr>
            </a:solidFill>
            <a:miter/>
            <a:tailEnd type="triangle"/>
          </a:ln>
        </p:spPr>
        <p:txBody>
          <a:bodyPr tIns="45720" bIns="45720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4" name="CaixaDeTexto 70">
            <a:extLst>
              <a:ext uri="{FF2B5EF4-FFF2-40B4-BE49-F238E27FC236}">
                <a16:creationId xmlns:a16="http://schemas.microsoft.com/office/drawing/2014/main" id="{C3AAF158-CF2C-1ACD-0E24-CBAF9CAA59F0}"/>
              </a:ext>
            </a:extLst>
          </p:cNvPr>
          <p:cNvSpPr txBox="1"/>
          <p:nvPr/>
        </p:nvSpPr>
        <p:spPr>
          <a:xfrm>
            <a:off x="3478653" y="6190174"/>
            <a:ext cx="4572085" cy="24622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45720" bIns="45720">
            <a:spAutoFit/>
          </a:bodyPr>
          <a:lstStyle>
            <a:lvl1pPr>
              <a:defRPr sz="2000" b="1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-     LEMBRE-SE: ESSE NÃO É UM PROCESSO LINEAR, MAS SIM ITERATIVO     -</a:t>
            </a:r>
          </a:p>
        </p:txBody>
      </p:sp>
      <p:sp>
        <p:nvSpPr>
          <p:cNvPr id="5" name="Retângulo 65">
            <a:extLst>
              <a:ext uri="{FF2B5EF4-FFF2-40B4-BE49-F238E27FC236}">
                <a16:creationId xmlns:a16="http://schemas.microsoft.com/office/drawing/2014/main" id="{5DD765DA-647C-E0A6-0628-0F422A05CAD1}"/>
              </a:ext>
            </a:extLst>
          </p:cNvPr>
          <p:cNvSpPr/>
          <p:nvPr/>
        </p:nvSpPr>
        <p:spPr>
          <a:xfrm>
            <a:off x="2662225" y="5880483"/>
            <a:ext cx="6422952" cy="630926"/>
          </a:xfrm>
          <a:prstGeom prst="rect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miter/>
          </a:ln>
        </p:spPr>
        <p:txBody>
          <a:bodyPr tIns="45720" bIns="45720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6" name="a partir dos estudos realizados na fase de discovery, iniciamos a design sprint, na qual ideamos naquilo que acreditamos ser desejável para o cliente e viável ao negócio.…">
            <a:extLst>
              <a:ext uri="{FF2B5EF4-FFF2-40B4-BE49-F238E27FC236}">
                <a16:creationId xmlns:a16="http://schemas.microsoft.com/office/drawing/2014/main" id="{034A1A3C-13C6-8A44-867F-AED08988CE8D}"/>
              </a:ext>
            </a:extLst>
          </p:cNvPr>
          <p:cNvSpPr txBox="1"/>
          <p:nvPr/>
        </p:nvSpPr>
        <p:spPr>
          <a:xfrm>
            <a:off x="898927" y="715801"/>
            <a:ext cx="5038515" cy="297517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>
            <a:spAutoFit/>
          </a:bodyPr>
          <a:lstStyle>
            <a:lvl1pPr defTabSz="825500">
              <a:defRPr sz="3200">
                <a:solidFill>
                  <a:srgbClr val="FFFFFF"/>
                </a:solidFill>
                <a:latin typeface="Itau Display Light"/>
                <a:ea typeface="Itau Display Light"/>
                <a:cs typeface="Itau Display Light"/>
                <a:sym typeface="Itau Display Light"/>
              </a:defRPr>
            </a:lvl1pPr>
          </a:lstStyle>
          <a:p>
            <a:pPr marL="0" marR="0" lvl="0" indent="0" algn="l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Light"/>
              </a:rPr>
              <a:t>passo</a:t>
            </a:r>
            <a:r>
              <a:rPr kumimoji="0" sz="16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Light"/>
              </a:rPr>
              <a:t> a </a:t>
            </a:r>
            <a:r>
              <a:rPr kumimoji="0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Light"/>
              </a:rPr>
              <a:t>passo</a:t>
            </a:r>
            <a:r>
              <a:rPr kumimoji="0" sz="16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Light"/>
              </a:rPr>
              <a:t> do </a:t>
            </a:r>
            <a:r>
              <a:rPr kumimoji="0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Light"/>
              </a:rPr>
              <a:t>ponto</a:t>
            </a:r>
            <a:r>
              <a:rPr kumimoji="0" sz="16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Light"/>
              </a:rPr>
              <a:t> A para o B</a:t>
            </a:r>
          </a:p>
        </p:txBody>
      </p:sp>
      <p:sp>
        <p:nvSpPr>
          <p:cNvPr id="7" name="a partir dos estudos realizados na fase de discovery, iniciamos a design sprint, na qual ideamos naquilo que acreditamos ser desejável para o cliente e viável ao negócio.…">
            <a:extLst>
              <a:ext uri="{FF2B5EF4-FFF2-40B4-BE49-F238E27FC236}">
                <a16:creationId xmlns:a16="http://schemas.microsoft.com/office/drawing/2014/main" id="{40C80451-D610-B7DD-D9A3-BF42FB19A0E2}"/>
              </a:ext>
            </a:extLst>
          </p:cNvPr>
          <p:cNvSpPr txBox="1"/>
          <p:nvPr/>
        </p:nvSpPr>
        <p:spPr>
          <a:xfrm>
            <a:off x="891443" y="273975"/>
            <a:ext cx="7032208" cy="420628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>
            <a:spAutoFit/>
          </a:bodyPr>
          <a:lstStyle>
            <a:lvl1pPr defTabSz="825500">
              <a:defRPr sz="3200">
                <a:solidFill>
                  <a:srgbClr val="FFFFFF"/>
                </a:solidFill>
                <a:latin typeface="Itau Display Bold"/>
                <a:ea typeface="Itau Display Bold"/>
                <a:cs typeface="Itau Display Bold"/>
                <a:sym typeface="Itau Display Bold"/>
              </a:defRPr>
            </a:lvl1pPr>
          </a:lstStyle>
          <a:p>
            <a:pPr marL="0" marR="0" lvl="0" indent="0" algn="l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sz="2400" b="1" kern="0" dirty="0" err="1">
                <a:solidFill>
                  <a:srgbClr val="FF62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seguir</a:t>
            </a:r>
            <a:r>
              <a:rPr sz="2400" b="1" kern="0" dirty="0">
                <a:solidFill>
                  <a:srgbClr val="FF62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sz="2400" b="1" kern="0" dirty="0" err="1">
                <a:solidFill>
                  <a:srgbClr val="FF62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elas</a:t>
            </a:r>
            <a:r>
              <a:rPr sz="2400" b="1" kern="0" dirty="0">
                <a:solidFill>
                  <a:srgbClr val="FF62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sz="2400" b="1" kern="0" dirty="0" err="1">
                <a:solidFill>
                  <a:srgbClr val="FF62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tapas</a:t>
            </a:r>
            <a:r>
              <a:rPr sz="2400" b="1" kern="0" dirty="0">
                <a:solidFill>
                  <a:srgbClr val="FF62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do double diamond</a:t>
            </a:r>
          </a:p>
        </p:txBody>
      </p:sp>
      <p:sp>
        <p:nvSpPr>
          <p:cNvPr id="8" name="1">
            <a:extLst>
              <a:ext uri="{FF2B5EF4-FFF2-40B4-BE49-F238E27FC236}">
                <a16:creationId xmlns:a16="http://schemas.microsoft.com/office/drawing/2014/main" id="{69820B3F-A229-110E-948E-DBB55745B325}"/>
              </a:ext>
            </a:extLst>
          </p:cNvPr>
          <p:cNvSpPr/>
          <p:nvPr/>
        </p:nvSpPr>
        <p:spPr>
          <a:xfrm>
            <a:off x="341384" y="301085"/>
            <a:ext cx="432000" cy="432000"/>
          </a:xfrm>
          <a:prstGeom prst="ellipse">
            <a:avLst/>
          </a:prstGeom>
          <a:solidFill>
            <a:srgbClr val="FF6200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/>
          <a:lstStyle>
            <a:lvl1pPr algn="ctr">
              <a:defRPr sz="2900">
                <a:solidFill>
                  <a:srgbClr val="EC7000"/>
                </a:solidFill>
                <a:latin typeface="Itau Display Bold"/>
                <a:ea typeface="Itau Display Bold"/>
                <a:cs typeface="Itau Display Bold"/>
                <a:sym typeface="Itau Display Bold"/>
              </a:defRPr>
            </a:lvl1pPr>
          </a:lstStyle>
          <a:p>
            <a:pPr hangingPunct="0"/>
            <a:r>
              <a:rPr lang="pt-BR" sz="1600" b="1" kern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3</a:t>
            </a:r>
            <a:endParaRPr sz="1600" b="1" kern="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9" name="Retângulo 4">
            <a:extLst>
              <a:ext uri="{FF2B5EF4-FFF2-40B4-BE49-F238E27FC236}">
                <a16:creationId xmlns:a16="http://schemas.microsoft.com/office/drawing/2014/main" id="{100590AD-78EB-718A-5DCD-B1D509FDCA20}"/>
              </a:ext>
            </a:extLst>
          </p:cNvPr>
          <p:cNvSpPr/>
          <p:nvPr/>
        </p:nvSpPr>
        <p:spPr>
          <a:xfrm>
            <a:off x="218816" y="1042295"/>
            <a:ext cx="11797200" cy="5652000"/>
          </a:xfrm>
          <a:prstGeom prst="rect">
            <a:avLst/>
          </a:prstGeom>
          <a:solidFill>
            <a:schemeClr val="bg1">
              <a:lumMod val="85000"/>
              <a:alpha val="85000"/>
            </a:schemeClr>
          </a:solidFill>
          <a:ln w="12700">
            <a:miter lim="400000"/>
          </a:ln>
        </p:spPr>
        <p:txBody>
          <a:bodyPr tIns="45720" bIns="45720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10" name="a partir dos estudos realizados na fase de discovery, iniciamos a design sprint, na qual ideamos naquilo que acreditamos ser desejável para o cliente e viável ao negócio.…">
            <a:extLst>
              <a:ext uri="{FF2B5EF4-FFF2-40B4-BE49-F238E27FC236}">
                <a16:creationId xmlns:a16="http://schemas.microsoft.com/office/drawing/2014/main" id="{A45A59EA-9F6F-0E82-EDA2-07813B66F8BA}"/>
              </a:ext>
            </a:extLst>
          </p:cNvPr>
          <p:cNvSpPr txBox="1"/>
          <p:nvPr/>
        </p:nvSpPr>
        <p:spPr>
          <a:xfrm>
            <a:off x="2205697" y="1844063"/>
            <a:ext cx="7821567" cy="3228513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>
            <a:spAutoFit/>
          </a:bodyPr>
          <a:lstStyle>
            <a:lvl1pPr defTabSz="825500">
              <a:defRPr sz="3200">
                <a:solidFill>
                  <a:srgbClr val="FFFFFF"/>
                </a:solidFill>
                <a:latin typeface="Itau Display Bold"/>
                <a:ea typeface="Itau Display Bold"/>
                <a:cs typeface="Itau Display Bold"/>
                <a:sym typeface="Itau Display Bold"/>
              </a:defRPr>
            </a:lvl1pPr>
          </a:lstStyle>
          <a:p>
            <a:pPr marL="0" marR="0" lvl="0" indent="0" algn="l" defTabSz="412750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1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Itau Text Light" panose="020B0403020204020203" pitchFamily="34" charset="0"/>
                <a:cs typeface="Itau Text Light" panose="020B0403020204020203" pitchFamily="34" charset="0"/>
                <a:sym typeface="Itau Display Bold"/>
              </a:rPr>
              <a:t>Estamos acostumados a querer controlar os resultados, desejamos previsibilidade. Contudo, no mundo imprevisível que vivemos isso passa a ser um grande desafio. A metodologia de Design se molda a esse contexto volátil e complexo e ao invés de buscar a entrega perfeita, o processo de design é na verdade sobre priorizar e testar o melhor palpite possível para errar o quanto antes, aprender e continuar se reinventando ao longo do tempo.</a:t>
            </a:r>
            <a:endParaRPr kumimoji="0" sz="2000" b="0" i="1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  <a:latin typeface="Itau Text Light" panose="020B0403020204020203" pitchFamily="34" charset="0"/>
              <a:cs typeface="Itau Text Light" panose="020B0403020204020203" pitchFamily="34" charset="0"/>
              <a:sym typeface="Itau Display Bold"/>
            </a:endParaRPr>
          </a:p>
        </p:txBody>
      </p:sp>
      <p:grpSp>
        <p:nvGrpSpPr>
          <p:cNvPr id="11" name="Agrupar 10">
            <a:extLst>
              <a:ext uri="{FF2B5EF4-FFF2-40B4-BE49-F238E27FC236}">
                <a16:creationId xmlns:a16="http://schemas.microsoft.com/office/drawing/2014/main" id="{AF34279A-1D95-B4CA-4030-046D5654C2E4}"/>
              </a:ext>
            </a:extLst>
          </p:cNvPr>
          <p:cNvGrpSpPr/>
          <p:nvPr/>
        </p:nvGrpSpPr>
        <p:grpSpPr>
          <a:xfrm>
            <a:off x="771799" y="3047627"/>
            <a:ext cx="774861" cy="774862"/>
            <a:chOff x="1543598" y="6860928"/>
            <a:chExt cx="784048" cy="784049"/>
          </a:xfrm>
        </p:grpSpPr>
        <p:sp>
          <p:nvSpPr>
            <p:cNvPr id="12" name="Retângulo Arredondado">
              <a:extLst>
                <a:ext uri="{FF2B5EF4-FFF2-40B4-BE49-F238E27FC236}">
                  <a16:creationId xmlns:a16="http://schemas.microsoft.com/office/drawing/2014/main" id="{8EE7D2E5-D4FD-C36A-D937-4F4FA2F5D6DA}"/>
                </a:ext>
              </a:extLst>
            </p:cNvPr>
            <p:cNvSpPr/>
            <p:nvPr/>
          </p:nvSpPr>
          <p:spPr>
            <a:xfrm rot="18900000">
              <a:off x="1543598" y="6860928"/>
              <a:ext cx="784048" cy="784049"/>
            </a:xfrm>
            <a:prstGeom prst="roundRect">
              <a:avLst>
                <a:gd name="adj" fmla="val 15000"/>
              </a:avLst>
            </a:prstGeom>
            <a:noFill/>
            <a:ln w="25400">
              <a:solidFill>
                <a:srgbClr val="FF6200"/>
              </a:solidFill>
              <a:miter/>
            </a:ln>
          </p:spPr>
          <p:txBody>
            <a:bodyPr tIns="45720" bIns="4572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Calibri"/>
                <a:sym typeface="Calibri"/>
              </a:endParaRPr>
            </a:p>
          </p:txBody>
        </p:sp>
        <p:pic>
          <p:nvPicPr>
            <p:cNvPr id="13" name="Imagem 12">
              <a:extLst>
                <a:ext uri="{FF2B5EF4-FFF2-40B4-BE49-F238E27FC236}">
                  <a16:creationId xmlns:a16="http://schemas.microsoft.com/office/drawing/2014/main" id="{8E210168-0F6F-5F4B-8242-7700C42E9F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689705" y="7002068"/>
              <a:ext cx="482600" cy="52070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14" name="a partir dos estudos realizados na fase de discovery, iniciamos a design sprint, na qual ideamos naquilo que acreditamos ser desejável para o cliente e viável ao negócio.…">
            <a:extLst>
              <a:ext uri="{FF2B5EF4-FFF2-40B4-BE49-F238E27FC236}">
                <a16:creationId xmlns:a16="http://schemas.microsoft.com/office/drawing/2014/main" id="{C1AD3780-696D-7802-22A2-39703B4DA146}"/>
              </a:ext>
            </a:extLst>
          </p:cNvPr>
          <p:cNvSpPr txBox="1"/>
          <p:nvPr/>
        </p:nvSpPr>
        <p:spPr>
          <a:xfrm>
            <a:off x="2221596" y="1435210"/>
            <a:ext cx="4098787" cy="359073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5400" tIns="25400" rIns="25400" bIns="25400">
            <a:spAutoFit/>
          </a:bodyPr>
          <a:lstStyle>
            <a:lvl1pPr defTabSz="825500">
              <a:defRPr sz="3200">
                <a:solidFill>
                  <a:srgbClr val="FFFFFF"/>
                </a:solidFill>
                <a:latin typeface="Itau Display Bold"/>
                <a:ea typeface="Itau Display Bold"/>
                <a:cs typeface="Itau Display Bold"/>
                <a:sym typeface="Itau Display Bold"/>
              </a:defRPr>
            </a:lvl1pPr>
          </a:lstStyle>
          <a:p>
            <a:pPr marL="0" marR="0" lvl="0" indent="0" algn="l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0" cap="none" spc="0" normalizeH="0" baseline="0" noProof="0" dirty="0" err="1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Itau Display Bold"/>
                <a:cs typeface="Itau Display Bold"/>
                <a:sym typeface="Itau Display Bold"/>
              </a:rPr>
              <a:t>Fail</a:t>
            </a:r>
            <a:r>
              <a:rPr kumimoji="0" lang="pt-BR" sz="20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Itau Display Bold"/>
                <a:cs typeface="Itau Display Bold"/>
                <a:sym typeface="Itau Display Bold"/>
              </a:rPr>
              <a:t> </a:t>
            </a:r>
            <a:r>
              <a:rPr kumimoji="0" lang="pt-BR" sz="2000" b="1" i="0" u="none" strike="noStrike" kern="0" cap="none" spc="0" normalizeH="0" baseline="0" noProof="0" dirty="0" err="1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Itau Display Bold"/>
                <a:cs typeface="Itau Display Bold"/>
                <a:sym typeface="Itau Display Bold"/>
              </a:rPr>
              <a:t>Fast</a:t>
            </a:r>
            <a:r>
              <a:rPr kumimoji="0" lang="pt-BR" sz="20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Itau Display Bold"/>
                <a:cs typeface="Itau Display Bold"/>
                <a:sym typeface="Itau Display Bold"/>
              </a:rPr>
              <a:t> + Always Beta</a:t>
            </a:r>
            <a:endParaRPr kumimoji="0" sz="2000" b="1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  <a:latin typeface="Itau Display Bold"/>
              <a:cs typeface="Itau Display Bold"/>
              <a:sym typeface="Itau Display Bold"/>
            </a:endParaRPr>
          </a:p>
        </p:txBody>
      </p:sp>
    </p:spTree>
    <p:extLst>
      <p:ext uri="{BB962C8B-B14F-4D97-AF65-F5344CB8AC3E}">
        <p14:creationId xmlns:p14="http://schemas.microsoft.com/office/powerpoint/2010/main" val="355802083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Conector Reto 8"/>
          <p:cNvSpPr/>
          <p:nvPr/>
        </p:nvSpPr>
        <p:spPr>
          <a:xfrm>
            <a:off x="5913287" y="1421770"/>
            <a:ext cx="1" cy="1802085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69" name="Retângulo Arredondado 1"/>
          <p:cNvSpPr/>
          <p:nvPr/>
        </p:nvSpPr>
        <p:spPr>
          <a:xfrm rot="18900000">
            <a:off x="2017600" y="2101877"/>
            <a:ext cx="3283852" cy="3283848"/>
          </a:xfrm>
          <a:prstGeom prst="roundRect">
            <a:avLst>
              <a:gd name="adj" fmla="val 4377"/>
            </a:avLst>
          </a:prstGeom>
          <a:ln w="508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70" name="Conector Reto 13"/>
          <p:cNvSpPr/>
          <p:nvPr/>
        </p:nvSpPr>
        <p:spPr>
          <a:xfrm>
            <a:off x="5913287" y="4181553"/>
            <a:ext cx="1" cy="1802086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71" name="Retângulo Arredondado 66"/>
          <p:cNvSpPr/>
          <p:nvPr/>
        </p:nvSpPr>
        <p:spPr>
          <a:xfrm rot="18900000">
            <a:off x="1688603" y="2910885"/>
            <a:ext cx="1665839" cy="1665837"/>
          </a:xfrm>
          <a:prstGeom prst="roundRect">
            <a:avLst>
              <a:gd name="adj" fmla="val 8177"/>
            </a:avLst>
          </a:prstGeom>
          <a:ln w="508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72" name="Conector Reto 14"/>
          <p:cNvSpPr/>
          <p:nvPr/>
        </p:nvSpPr>
        <p:spPr>
          <a:xfrm flipH="1">
            <a:off x="3660927" y="1489242"/>
            <a:ext cx="1" cy="4494396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73" name="Conector Reto 37"/>
          <p:cNvSpPr/>
          <p:nvPr/>
        </p:nvSpPr>
        <p:spPr>
          <a:xfrm flipH="1">
            <a:off x="1068582" y="3734333"/>
            <a:ext cx="329787" cy="1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74" name="Conector Reto 39"/>
          <p:cNvSpPr/>
          <p:nvPr/>
        </p:nvSpPr>
        <p:spPr>
          <a:xfrm>
            <a:off x="10471449" y="3732406"/>
            <a:ext cx="464695" cy="1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  <a:miter/>
            <a:tailEnd type="triangle"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75" name="CaixaDeTexto 43"/>
          <p:cNvSpPr txBox="1"/>
          <p:nvPr/>
        </p:nvSpPr>
        <p:spPr>
          <a:xfrm>
            <a:off x="218816" y="3336567"/>
            <a:ext cx="828595" cy="738664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tIns="45720" bIns="45720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FFFFFF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pPr>
            <a:r>
              <a:rPr kumimoji="0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 Light"/>
                <a:cs typeface="Itau Text Light"/>
                <a:sym typeface="Itau Text Light"/>
              </a:rPr>
              <a:t>Não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 Light"/>
                <a:cs typeface="Itau Text Light"/>
                <a:sym typeface="Itau Text Light"/>
              </a:rPr>
              <a:t> sei</a:t>
            </a:r>
          </a:p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FFFFFF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pPr>
            <a:r>
              <a:rPr kumimoji="0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 Light"/>
                <a:cs typeface="Itau Text Light"/>
                <a:sym typeface="Itau Text Light"/>
              </a:rPr>
              <a:t>Poderia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 Light"/>
                <a:cs typeface="Itau Text Light"/>
                <a:sym typeface="Itau Text Light"/>
              </a:rPr>
              <a:t> ser</a:t>
            </a:r>
          </a:p>
        </p:txBody>
      </p:sp>
      <p:sp>
        <p:nvSpPr>
          <p:cNvPr id="376" name="CaixaDeTexto 44"/>
          <p:cNvSpPr txBox="1"/>
          <p:nvPr/>
        </p:nvSpPr>
        <p:spPr>
          <a:xfrm>
            <a:off x="10988371" y="3336567"/>
            <a:ext cx="1010213" cy="523220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45720" bIns="45720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FFFFFF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pPr>
            <a:r>
              <a:rPr kumimoji="0" sz="14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 Light"/>
                <a:cs typeface="Itau Text Light"/>
                <a:sym typeface="Itau Text Light"/>
              </a:rPr>
              <a:t>Sei</a:t>
            </a:r>
          </a:p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FFFFFF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pPr>
            <a:r>
              <a:rPr kumimoji="0" sz="14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 Light"/>
                <a:cs typeface="Itau Text Light"/>
                <a:sym typeface="Itau Text Light"/>
              </a:rPr>
              <a:t>Deveria ser</a:t>
            </a:r>
          </a:p>
        </p:txBody>
      </p:sp>
      <p:sp>
        <p:nvSpPr>
          <p:cNvPr id="377" name="CaixaDeTexto 45"/>
          <p:cNvSpPr txBox="1"/>
          <p:nvPr/>
        </p:nvSpPr>
        <p:spPr>
          <a:xfrm rot="18900000">
            <a:off x="1907679" y="2351149"/>
            <a:ext cx="760144" cy="307777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45720" bIns="45720">
            <a:spAutoFit/>
          </a:bodyPr>
          <a:lstStyle>
            <a:lvl1pPr>
              <a:defRPr sz="2800">
                <a:solidFill>
                  <a:srgbClr val="FFFFFF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 Light"/>
                <a:cs typeface="Itau Text Light"/>
                <a:sym typeface="Itau Text Light"/>
              </a:rPr>
              <a:t>Divergir</a:t>
            </a:r>
          </a:p>
        </p:txBody>
      </p:sp>
      <p:sp>
        <p:nvSpPr>
          <p:cNvPr id="378" name="CaixaDeTexto 46"/>
          <p:cNvSpPr txBox="1"/>
          <p:nvPr/>
        </p:nvSpPr>
        <p:spPr>
          <a:xfrm rot="2700000">
            <a:off x="4550680" y="2371755"/>
            <a:ext cx="949300" cy="307777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>
              <a:defRPr sz="2800">
                <a:solidFill>
                  <a:srgbClr val="FFFFFF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 Light"/>
                <a:cs typeface="Itau Text Light"/>
                <a:sym typeface="Itau Text Light"/>
              </a:rPr>
              <a:t>Convergir</a:t>
            </a:r>
          </a:p>
        </p:txBody>
      </p:sp>
      <p:sp>
        <p:nvSpPr>
          <p:cNvPr id="379" name="Conector Reto 51"/>
          <p:cNvSpPr/>
          <p:nvPr/>
        </p:nvSpPr>
        <p:spPr>
          <a:xfrm flipH="1">
            <a:off x="4650278" y="2521307"/>
            <a:ext cx="1" cy="2425307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80" name="Conector Reto 52"/>
          <p:cNvSpPr/>
          <p:nvPr/>
        </p:nvSpPr>
        <p:spPr>
          <a:xfrm>
            <a:off x="5144954" y="2965751"/>
            <a:ext cx="1" cy="1486188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81" name="Conector Reto 58"/>
          <p:cNvSpPr/>
          <p:nvPr/>
        </p:nvSpPr>
        <p:spPr>
          <a:xfrm flipH="1">
            <a:off x="4140613" y="2046883"/>
            <a:ext cx="1" cy="3394407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82" name="Conector Reto 67"/>
          <p:cNvSpPr/>
          <p:nvPr/>
        </p:nvSpPr>
        <p:spPr>
          <a:xfrm flipH="1">
            <a:off x="2511858" y="2666516"/>
            <a:ext cx="1" cy="2160575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83" name="CaixaDeTexto 71"/>
          <p:cNvSpPr txBox="1"/>
          <p:nvPr/>
        </p:nvSpPr>
        <p:spPr>
          <a:xfrm>
            <a:off x="1499649" y="3578278"/>
            <a:ext cx="943325" cy="430887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Questionar o briefing</a:t>
            </a:r>
          </a:p>
        </p:txBody>
      </p:sp>
      <p:sp>
        <p:nvSpPr>
          <p:cNvPr id="384" name="CaixaDeTexto 72"/>
          <p:cNvSpPr txBox="1"/>
          <p:nvPr/>
        </p:nvSpPr>
        <p:spPr>
          <a:xfrm>
            <a:off x="2662225" y="2245267"/>
            <a:ext cx="1128355" cy="600164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Conduzir pesquisas primárias</a:t>
            </a:r>
          </a:p>
        </p:txBody>
      </p:sp>
      <p:sp>
        <p:nvSpPr>
          <p:cNvPr id="385" name="CaixaDeTexto 73"/>
          <p:cNvSpPr txBox="1"/>
          <p:nvPr/>
        </p:nvSpPr>
        <p:spPr>
          <a:xfrm>
            <a:off x="2662225" y="4586478"/>
            <a:ext cx="1128355" cy="600164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Conduzir pesquisas secundárias</a:t>
            </a:r>
          </a:p>
        </p:txBody>
      </p:sp>
      <p:sp>
        <p:nvSpPr>
          <p:cNvPr id="386" name="Retângulo Arredondado 103"/>
          <p:cNvSpPr/>
          <p:nvPr/>
        </p:nvSpPr>
        <p:spPr>
          <a:xfrm rot="18900000">
            <a:off x="6563475" y="2101877"/>
            <a:ext cx="3283852" cy="3283848"/>
          </a:xfrm>
          <a:prstGeom prst="roundRect">
            <a:avLst>
              <a:gd name="adj" fmla="val 4377"/>
            </a:avLst>
          </a:prstGeom>
          <a:ln w="508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87" name="Retângulo Arredondado 104"/>
          <p:cNvSpPr/>
          <p:nvPr/>
        </p:nvSpPr>
        <p:spPr>
          <a:xfrm rot="18900000">
            <a:off x="6234478" y="2910885"/>
            <a:ext cx="1665839" cy="1665837"/>
          </a:xfrm>
          <a:prstGeom prst="roundRect">
            <a:avLst>
              <a:gd name="adj" fmla="val 8177"/>
            </a:avLst>
          </a:prstGeom>
          <a:ln w="508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88" name="Conector Reto 105"/>
          <p:cNvSpPr/>
          <p:nvPr/>
        </p:nvSpPr>
        <p:spPr>
          <a:xfrm flipH="1">
            <a:off x="8206802" y="1489242"/>
            <a:ext cx="1" cy="4494396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89" name="CaixaDeTexto 106"/>
          <p:cNvSpPr txBox="1"/>
          <p:nvPr/>
        </p:nvSpPr>
        <p:spPr>
          <a:xfrm rot="18900000">
            <a:off x="6453554" y="2351149"/>
            <a:ext cx="760144" cy="307777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45720" bIns="45720">
            <a:spAutoFit/>
          </a:bodyPr>
          <a:lstStyle>
            <a:lvl1pPr>
              <a:defRPr sz="2800">
                <a:solidFill>
                  <a:srgbClr val="FFFFFF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 Light"/>
                <a:cs typeface="Itau Text Light"/>
                <a:sym typeface="Itau Text Light"/>
              </a:rPr>
              <a:t>Divergir</a:t>
            </a:r>
          </a:p>
        </p:txBody>
      </p:sp>
      <p:sp>
        <p:nvSpPr>
          <p:cNvPr id="390" name="CaixaDeTexto 107"/>
          <p:cNvSpPr txBox="1"/>
          <p:nvPr/>
        </p:nvSpPr>
        <p:spPr>
          <a:xfrm rot="2700000">
            <a:off x="9096556" y="2371755"/>
            <a:ext cx="949300" cy="307777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>
              <a:defRPr sz="2800">
                <a:solidFill>
                  <a:srgbClr val="FFFFFF"/>
                </a:solidFill>
                <a:latin typeface="Itau Text Light"/>
                <a:ea typeface="Itau Text Light"/>
                <a:cs typeface="Itau Text Light"/>
                <a:sym typeface="Itau Text Light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 Light"/>
                <a:cs typeface="Itau Text Light"/>
                <a:sym typeface="Itau Text Light"/>
              </a:rPr>
              <a:t>Convergir</a:t>
            </a:r>
          </a:p>
        </p:txBody>
      </p:sp>
      <p:sp>
        <p:nvSpPr>
          <p:cNvPr id="391" name="Conector Reto 108"/>
          <p:cNvSpPr/>
          <p:nvPr/>
        </p:nvSpPr>
        <p:spPr>
          <a:xfrm>
            <a:off x="9196153" y="2521307"/>
            <a:ext cx="1" cy="2425307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92" name="Conector Reto 109"/>
          <p:cNvSpPr/>
          <p:nvPr/>
        </p:nvSpPr>
        <p:spPr>
          <a:xfrm>
            <a:off x="9690829" y="2965751"/>
            <a:ext cx="1" cy="1486188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93" name="Conector Reto 110"/>
          <p:cNvSpPr/>
          <p:nvPr/>
        </p:nvSpPr>
        <p:spPr>
          <a:xfrm>
            <a:off x="8686487" y="2046883"/>
            <a:ext cx="1" cy="3394407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94" name="CaixaDeTexto 111"/>
          <p:cNvSpPr txBox="1"/>
          <p:nvPr/>
        </p:nvSpPr>
        <p:spPr>
          <a:xfrm rot="16200000">
            <a:off x="6327692" y="3655223"/>
            <a:ext cx="4259910" cy="276999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4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Prototipar, Testar e Analisar</a:t>
            </a:r>
          </a:p>
        </p:txBody>
      </p:sp>
      <p:sp>
        <p:nvSpPr>
          <p:cNvPr id="395" name="CaixaDeTexto 112"/>
          <p:cNvSpPr txBox="1"/>
          <p:nvPr/>
        </p:nvSpPr>
        <p:spPr>
          <a:xfrm rot="16200000">
            <a:off x="6822368" y="3655223"/>
            <a:ext cx="4259910" cy="276999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4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Aprender, Iterar e Repetir</a:t>
            </a:r>
          </a:p>
        </p:txBody>
      </p:sp>
      <p:sp>
        <p:nvSpPr>
          <p:cNvPr id="396" name="CaixaDeTexto 113"/>
          <p:cNvSpPr txBox="1"/>
          <p:nvPr/>
        </p:nvSpPr>
        <p:spPr>
          <a:xfrm rot="16200000">
            <a:off x="8690015" y="3508881"/>
            <a:ext cx="1490084" cy="461665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4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Implementar, Iterar e Repetir</a:t>
            </a:r>
          </a:p>
        </p:txBody>
      </p:sp>
      <p:sp>
        <p:nvSpPr>
          <p:cNvPr id="397" name="CaixaDeTexto 114"/>
          <p:cNvSpPr txBox="1"/>
          <p:nvPr/>
        </p:nvSpPr>
        <p:spPr>
          <a:xfrm rot="16200000">
            <a:off x="7811720" y="3597190"/>
            <a:ext cx="4259910" cy="276999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4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Lançamento</a:t>
            </a:r>
          </a:p>
        </p:txBody>
      </p:sp>
      <p:sp>
        <p:nvSpPr>
          <p:cNvPr id="398" name="Conector Reto 115"/>
          <p:cNvSpPr/>
          <p:nvPr/>
        </p:nvSpPr>
        <p:spPr>
          <a:xfrm>
            <a:off x="7057733" y="2666516"/>
            <a:ext cx="1" cy="2160575"/>
          </a:xfrm>
          <a:prstGeom prst="line">
            <a:avLst/>
          </a:prstGeom>
          <a:ln w="12700">
            <a:solidFill>
              <a:srgbClr val="FFFFFF"/>
            </a:solidFill>
            <a:miter/>
          </a:ln>
        </p:spPr>
        <p:txBody>
          <a:bodyPr tIns="45720" bIns="45720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99" name="CaixaDeTexto 116"/>
          <p:cNvSpPr txBox="1"/>
          <p:nvPr/>
        </p:nvSpPr>
        <p:spPr>
          <a:xfrm>
            <a:off x="7097907" y="3459073"/>
            <a:ext cx="931884" cy="600164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Avaliar as primeiras ideias</a:t>
            </a:r>
          </a:p>
        </p:txBody>
      </p:sp>
      <p:sp>
        <p:nvSpPr>
          <p:cNvPr id="400" name="CaixaDeTexto 117"/>
          <p:cNvSpPr txBox="1"/>
          <p:nvPr/>
        </p:nvSpPr>
        <p:spPr>
          <a:xfrm>
            <a:off x="5986532" y="3578278"/>
            <a:ext cx="1128355" cy="261610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Idear</a:t>
            </a:r>
          </a:p>
        </p:txBody>
      </p:sp>
      <p:sp>
        <p:nvSpPr>
          <p:cNvPr id="401" name="CaixaDeTexto 118"/>
          <p:cNvSpPr txBox="1"/>
          <p:nvPr/>
        </p:nvSpPr>
        <p:spPr>
          <a:xfrm>
            <a:off x="7208100" y="2304262"/>
            <a:ext cx="1128355" cy="600164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Definir ideias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OKRs e 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Hipóteses</a:t>
            </a:r>
          </a:p>
        </p:txBody>
      </p:sp>
      <p:sp>
        <p:nvSpPr>
          <p:cNvPr id="402" name="Colchete Esquerdo 89"/>
          <p:cNvSpPr/>
          <p:nvPr/>
        </p:nvSpPr>
        <p:spPr>
          <a:xfrm rot="5400000">
            <a:off x="3497596" y="-893389"/>
            <a:ext cx="161067" cy="443170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cubicBezTo>
                  <a:pt x="9671" y="21600"/>
                  <a:pt x="0" y="21571"/>
                  <a:pt x="0" y="21535"/>
                </a:cubicBezTo>
                <a:lnTo>
                  <a:pt x="0" y="65"/>
                </a:lnTo>
                <a:cubicBezTo>
                  <a:pt x="0" y="29"/>
                  <a:pt x="9671" y="0"/>
                  <a:pt x="21600" y="0"/>
                </a:cubicBezTo>
              </a:path>
            </a:pathLst>
          </a:custGeom>
          <a:ln w="508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403" name="CaixaDeTexto 90"/>
          <p:cNvSpPr txBox="1"/>
          <p:nvPr/>
        </p:nvSpPr>
        <p:spPr>
          <a:xfrm>
            <a:off x="2440303" y="1136017"/>
            <a:ext cx="2185214" cy="24622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45720" bIns="45720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1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pPr>
            <a:r>
              <a:rPr kumimoji="0" sz="10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DESENVOLVENDO AS COISAS </a:t>
            </a:r>
            <a:r>
              <a:rPr kumimoji="0" sz="1000" b="1" i="0" u="sng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CERTAS</a:t>
            </a:r>
            <a:r>
              <a:rPr kumimoji="0" sz="10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 </a:t>
            </a:r>
          </a:p>
        </p:txBody>
      </p:sp>
      <p:sp>
        <p:nvSpPr>
          <p:cNvPr id="404" name="Colchete Esquerdo 91"/>
          <p:cNvSpPr/>
          <p:nvPr/>
        </p:nvSpPr>
        <p:spPr>
          <a:xfrm rot="5400000">
            <a:off x="8134912" y="-893389"/>
            <a:ext cx="161067" cy="443170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cubicBezTo>
                  <a:pt x="9671" y="21600"/>
                  <a:pt x="0" y="21571"/>
                  <a:pt x="0" y="21535"/>
                </a:cubicBezTo>
                <a:lnTo>
                  <a:pt x="0" y="65"/>
                </a:lnTo>
                <a:cubicBezTo>
                  <a:pt x="0" y="29"/>
                  <a:pt x="9671" y="0"/>
                  <a:pt x="21600" y="0"/>
                </a:cubicBezTo>
              </a:path>
            </a:pathLst>
          </a:custGeom>
          <a:ln w="50800">
            <a:solidFill>
              <a:schemeClr val="bg1">
                <a:lumMod val="85000"/>
              </a:schemeClr>
            </a:solidFill>
            <a:miter/>
          </a:ln>
        </p:spPr>
        <p:txBody>
          <a:bodyPr tIns="45720" bIns="45720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405" name="CaixaDeTexto 92"/>
          <p:cNvSpPr txBox="1"/>
          <p:nvPr/>
        </p:nvSpPr>
        <p:spPr>
          <a:xfrm>
            <a:off x="6703090" y="1136017"/>
            <a:ext cx="2669320" cy="24622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45720" bIns="45720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1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pPr>
            <a:r>
              <a:rPr kumimoji="0" sz="10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DESENVOLVENDO AS COISAS </a:t>
            </a:r>
            <a:r>
              <a:rPr kumimoji="0" sz="1000" b="1" i="0" u="sng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CORRETAMENTE</a:t>
            </a:r>
            <a:r>
              <a:rPr kumimoji="0" sz="10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 </a:t>
            </a:r>
          </a:p>
        </p:txBody>
      </p:sp>
      <p:sp>
        <p:nvSpPr>
          <p:cNvPr id="406" name="CaixaDeTexto 61"/>
          <p:cNvSpPr txBox="1"/>
          <p:nvPr/>
        </p:nvSpPr>
        <p:spPr>
          <a:xfrm>
            <a:off x="7208100" y="4634506"/>
            <a:ext cx="1128355" cy="600164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Definir ideias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OKRs e 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Hipóteses</a:t>
            </a:r>
          </a:p>
        </p:txBody>
      </p:sp>
      <p:sp>
        <p:nvSpPr>
          <p:cNvPr id="407" name="CaixaDeTexto 69"/>
          <p:cNvSpPr txBox="1"/>
          <p:nvPr/>
        </p:nvSpPr>
        <p:spPr>
          <a:xfrm rot="16200000">
            <a:off x="1781818" y="3655223"/>
            <a:ext cx="4259909" cy="276999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4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Construir temas e agrupamentos de informação </a:t>
            </a:r>
          </a:p>
        </p:txBody>
      </p:sp>
      <p:sp>
        <p:nvSpPr>
          <p:cNvPr id="408" name="CaixaDeTexto 74"/>
          <p:cNvSpPr txBox="1"/>
          <p:nvPr/>
        </p:nvSpPr>
        <p:spPr>
          <a:xfrm rot="16200000">
            <a:off x="2276493" y="3655223"/>
            <a:ext cx="4259910" cy="276999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4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Encontrar Insights</a:t>
            </a:r>
          </a:p>
        </p:txBody>
      </p:sp>
      <p:sp>
        <p:nvSpPr>
          <p:cNvPr id="409" name="CaixaDeTexto 75"/>
          <p:cNvSpPr txBox="1"/>
          <p:nvPr/>
        </p:nvSpPr>
        <p:spPr>
          <a:xfrm rot="16200000">
            <a:off x="2754151" y="3517920"/>
            <a:ext cx="4259910" cy="461665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Deduzir áreas 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de oportunidade</a:t>
            </a:r>
          </a:p>
        </p:txBody>
      </p:sp>
      <p:sp>
        <p:nvSpPr>
          <p:cNvPr id="410" name="CaixaDeTexto 76"/>
          <p:cNvSpPr txBox="1"/>
          <p:nvPr/>
        </p:nvSpPr>
        <p:spPr>
          <a:xfrm rot="16200000">
            <a:off x="3265845" y="3610253"/>
            <a:ext cx="4259910" cy="276999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4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Criar CPs</a:t>
            </a:r>
          </a:p>
        </p:txBody>
      </p:sp>
      <p:sp>
        <p:nvSpPr>
          <p:cNvPr id="411" name="CaixaDeTexto 77"/>
          <p:cNvSpPr txBox="1"/>
          <p:nvPr/>
        </p:nvSpPr>
        <p:spPr>
          <a:xfrm>
            <a:off x="2534202" y="3459073"/>
            <a:ext cx="971500" cy="600164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>
            <a:spAutoFit/>
          </a:bodyPr>
          <a:lstStyle>
            <a:lvl1pPr algn="ctr">
              <a:defRPr sz="2200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Definir áreas de pesquisa e métodos</a:t>
            </a:r>
          </a:p>
        </p:txBody>
      </p:sp>
      <p:grpSp>
        <p:nvGrpSpPr>
          <p:cNvPr id="425" name="Agrupar 2"/>
          <p:cNvGrpSpPr/>
          <p:nvPr/>
        </p:nvGrpSpPr>
        <p:grpSpPr>
          <a:xfrm>
            <a:off x="1739285" y="5984735"/>
            <a:ext cx="8367086" cy="659566"/>
            <a:chOff x="0" y="-1"/>
            <a:chExt cx="16734169" cy="1319131"/>
          </a:xfrm>
        </p:grpSpPr>
        <p:grpSp>
          <p:nvGrpSpPr>
            <p:cNvPr id="422" name="Agrupar 93"/>
            <p:cNvGrpSpPr/>
            <p:nvPr/>
          </p:nvGrpSpPr>
          <p:grpSpPr>
            <a:xfrm>
              <a:off x="0" y="-1"/>
              <a:ext cx="16734169" cy="1319131"/>
              <a:chOff x="0" y="0"/>
              <a:chExt cx="16734168" cy="1319129"/>
            </a:xfrm>
          </p:grpSpPr>
          <p:sp>
            <p:nvSpPr>
              <p:cNvPr id="412" name="Conector Reto 94"/>
              <p:cNvSpPr/>
              <p:nvPr/>
            </p:nvSpPr>
            <p:spPr>
              <a:xfrm flipH="1" flipV="1">
                <a:off x="0" y="732972"/>
                <a:ext cx="3357799" cy="1"/>
              </a:xfrm>
              <a:prstGeom prst="line">
                <a:avLst/>
              </a:prstGeom>
              <a:noFill/>
              <a:ln w="50800" cap="flat">
                <a:solidFill>
                  <a:schemeClr val="bg1">
                    <a:lumMod val="85000"/>
                  </a:schemeClr>
                </a:solidFill>
                <a:prstDash val="solid"/>
                <a:miter lim="800000"/>
              </a:ln>
              <a:effectLst/>
            </p:spPr>
            <p:txBody>
              <a:bodyPr wrap="square" lIns="45720" tIns="45720" rIns="45720" bIns="45720" numCol="1" anchor="t">
                <a:noAutofit/>
              </a:bodyPr>
              <a:lstStyle/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FF6200"/>
                  </a:solidFill>
                  <a:effectLst/>
                  <a:uLnTx/>
                  <a:uFillTx/>
                  <a:latin typeface="Calibri"/>
                  <a:cs typeface="Calibri"/>
                  <a:sym typeface="Calibri"/>
                </a:endParaRPr>
              </a:p>
            </p:txBody>
          </p:sp>
          <p:sp>
            <p:nvSpPr>
              <p:cNvPr id="413" name="Conector Reto 95"/>
              <p:cNvSpPr/>
              <p:nvPr/>
            </p:nvSpPr>
            <p:spPr>
              <a:xfrm flipH="1" flipV="1">
                <a:off x="4287187" y="732972"/>
                <a:ext cx="3357800" cy="1"/>
              </a:xfrm>
              <a:prstGeom prst="line">
                <a:avLst/>
              </a:prstGeom>
              <a:noFill/>
              <a:ln w="50800" cap="flat">
                <a:solidFill>
                  <a:schemeClr val="bg1">
                    <a:lumMod val="85000"/>
                  </a:schemeClr>
                </a:solidFill>
                <a:prstDash val="solid"/>
                <a:miter lim="800000"/>
              </a:ln>
              <a:effectLst/>
            </p:spPr>
            <p:txBody>
              <a:bodyPr wrap="square" lIns="45720" tIns="45720" rIns="45720" bIns="45720" numCol="1" anchor="t">
                <a:noAutofit/>
              </a:bodyPr>
              <a:lstStyle/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FF6200"/>
                  </a:solidFill>
                  <a:effectLst/>
                  <a:uLnTx/>
                  <a:uFillTx/>
                  <a:latin typeface="Calibri"/>
                  <a:cs typeface="Calibri"/>
                  <a:sym typeface="Calibri"/>
                </a:endParaRPr>
              </a:p>
            </p:txBody>
          </p:sp>
          <p:sp>
            <p:nvSpPr>
              <p:cNvPr id="414" name="Conector Reto 96"/>
              <p:cNvSpPr/>
              <p:nvPr/>
            </p:nvSpPr>
            <p:spPr>
              <a:xfrm flipH="1" flipV="1">
                <a:off x="9089182" y="732972"/>
                <a:ext cx="3357799" cy="1"/>
              </a:xfrm>
              <a:prstGeom prst="line">
                <a:avLst/>
              </a:prstGeom>
              <a:noFill/>
              <a:ln w="50800" cap="flat">
                <a:solidFill>
                  <a:schemeClr val="bg1">
                    <a:lumMod val="85000"/>
                  </a:schemeClr>
                </a:solidFill>
                <a:prstDash val="solid"/>
                <a:miter lim="800000"/>
              </a:ln>
              <a:effectLst/>
            </p:spPr>
            <p:txBody>
              <a:bodyPr wrap="square" lIns="45720" tIns="45720" rIns="45720" bIns="45720" numCol="1" anchor="t">
                <a:noAutofit/>
              </a:bodyPr>
              <a:lstStyle/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FF6200"/>
                  </a:solidFill>
                  <a:effectLst/>
                  <a:uLnTx/>
                  <a:uFillTx/>
                  <a:latin typeface="Calibri"/>
                  <a:cs typeface="Calibri"/>
                  <a:sym typeface="Calibri"/>
                </a:endParaRPr>
              </a:p>
            </p:txBody>
          </p:sp>
          <p:sp>
            <p:nvSpPr>
              <p:cNvPr id="415" name="Conector Reto 97"/>
              <p:cNvSpPr/>
              <p:nvPr/>
            </p:nvSpPr>
            <p:spPr>
              <a:xfrm flipH="1" flipV="1">
                <a:off x="13376369" y="732972"/>
                <a:ext cx="3357799" cy="1"/>
              </a:xfrm>
              <a:prstGeom prst="line">
                <a:avLst/>
              </a:prstGeom>
              <a:noFill/>
              <a:ln w="50800" cap="flat">
                <a:solidFill>
                  <a:schemeClr val="bg1">
                    <a:lumMod val="85000"/>
                  </a:schemeClr>
                </a:solidFill>
                <a:prstDash val="solid"/>
                <a:miter lim="800000"/>
              </a:ln>
              <a:effectLst/>
            </p:spPr>
            <p:txBody>
              <a:bodyPr wrap="square" lIns="45720" tIns="45720" rIns="45720" bIns="45720" numCol="1" anchor="t">
                <a:noAutofit/>
              </a:bodyPr>
              <a:lstStyle/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FF6200"/>
                  </a:solidFill>
                  <a:effectLst/>
                  <a:uLnTx/>
                  <a:uFillTx/>
                  <a:latin typeface="Calibri"/>
                  <a:cs typeface="Calibri"/>
                  <a:sym typeface="Calibri"/>
                </a:endParaRPr>
              </a:p>
            </p:txBody>
          </p:sp>
          <p:sp>
            <p:nvSpPr>
              <p:cNvPr id="416" name="CaixaDeTexto 98"/>
              <p:cNvSpPr txBox="1"/>
              <p:nvPr/>
            </p:nvSpPr>
            <p:spPr>
              <a:xfrm>
                <a:off x="853992" y="0"/>
                <a:ext cx="1649810" cy="553997"/>
              </a:xfrm>
              <a:prstGeom prst="rect">
                <a:avLst/>
              </a:prstGeom>
              <a:noFill/>
              <a:ln w="254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20" tIns="45720" rIns="45720" bIns="45720" numCol="1" anchor="t">
                <a:spAutoFit/>
              </a:bodyPr>
              <a:lstStyle>
                <a:lvl1pPr algn="ctr">
                  <a:defRPr sz="2400" b="1">
                    <a:solidFill>
                      <a:srgbClr val="FFFFFF"/>
                    </a:solidFill>
                    <a:latin typeface="Itau Display"/>
                    <a:ea typeface="Itau Display"/>
                    <a:cs typeface="Itau Display"/>
                    <a:sym typeface="Itau Display"/>
                  </a:defRPr>
                </a:lvl1pPr>
              </a:lstStyle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200" b="1" i="0" u="none" strike="noStrike" kern="0" cap="none" spc="0" normalizeH="0" baseline="0" noProof="0">
                    <a:ln>
                      <a:noFill/>
                    </a:ln>
                    <a:solidFill>
                      <a:srgbClr val="FF6200"/>
                    </a:solidFill>
                    <a:effectLst/>
                    <a:uLnTx/>
                    <a:uFillTx/>
                    <a:latin typeface="Itau Display"/>
                    <a:cs typeface="Itau Display"/>
                    <a:sym typeface="Itau Display"/>
                  </a:rPr>
                  <a:t>DESCOBRIR</a:t>
                </a:r>
              </a:p>
            </p:txBody>
          </p:sp>
          <p:sp>
            <p:nvSpPr>
              <p:cNvPr id="417" name="CaixaDeTexto 99"/>
              <p:cNvSpPr txBox="1"/>
              <p:nvPr/>
            </p:nvSpPr>
            <p:spPr>
              <a:xfrm>
                <a:off x="5343159" y="0"/>
                <a:ext cx="1245854" cy="553997"/>
              </a:xfrm>
              <a:prstGeom prst="rect">
                <a:avLst/>
              </a:prstGeom>
              <a:noFill/>
              <a:ln w="254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20" tIns="45720" rIns="45720" bIns="45720" numCol="1" anchor="t">
                <a:spAutoFit/>
              </a:bodyPr>
              <a:lstStyle>
                <a:lvl1pPr algn="ctr">
                  <a:defRPr sz="2400" b="1">
                    <a:solidFill>
                      <a:srgbClr val="FFFFFF"/>
                    </a:solidFill>
                    <a:latin typeface="Itau Display"/>
                    <a:ea typeface="Itau Display"/>
                    <a:cs typeface="Itau Display"/>
                    <a:sym typeface="Itau Display"/>
                  </a:defRPr>
                </a:lvl1pPr>
              </a:lstStyle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200" b="1" i="0" u="none" strike="noStrike" kern="0" cap="none" spc="0" normalizeH="0" baseline="0" noProof="0">
                    <a:ln>
                      <a:noFill/>
                    </a:ln>
                    <a:solidFill>
                      <a:srgbClr val="FF6200"/>
                    </a:solidFill>
                    <a:effectLst/>
                    <a:uLnTx/>
                    <a:uFillTx/>
                    <a:latin typeface="Itau Display"/>
                    <a:cs typeface="Itau Display"/>
                    <a:sym typeface="Itau Display"/>
                  </a:rPr>
                  <a:t>DEFINIR</a:t>
                </a:r>
              </a:p>
            </p:txBody>
          </p:sp>
          <p:sp>
            <p:nvSpPr>
              <p:cNvPr id="418" name="CaixaDeTexto 102"/>
              <p:cNvSpPr txBox="1"/>
              <p:nvPr/>
            </p:nvSpPr>
            <p:spPr>
              <a:xfrm>
                <a:off x="950812" y="826688"/>
                <a:ext cx="1091966" cy="492441"/>
              </a:xfrm>
              <a:prstGeom prst="rect">
                <a:avLst/>
              </a:prstGeom>
              <a:noFill/>
              <a:ln w="254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20" tIns="45720" rIns="45720" bIns="45720" numCol="1" anchor="t">
                <a:spAutoFit/>
              </a:bodyPr>
              <a:lstStyle>
                <a:lvl1pPr>
                  <a:defRPr sz="2000">
                    <a:solidFill>
                      <a:srgbClr val="FFFFFF"/>
                    </a:solidFill>
                    <a:latin typeface="Itau Text Light"/>
                    <a:ea typeface="Itau Text Light"/>
                    <a:cs typeface="Itau Text Light"/>
                    <a:sym typeface="Itau Text Light"/>
                  </a:defRPr>
                </a:lvl1pPr>
              </a:lstStyle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FF6200"/>
                    </a:solidFill>
                    <a:effectLst/>
                    <a:uLnTx/>
                    <a:uFillTx/>
                    <a:latin typeface="Itau Text Light"/>
                    <a:cs typeface="Itau Text Light"/>
                    <a:sym typeface="Itau Text Light"/>
                  </a:rPr>
                  <a:t>Pesquisa</a:t>
                </a:r>
              </a:p>
            </p:txBody>
          </p:sp>
          <p:sp>
            <p:nvSpPr>
              <p:cNvPr id="419" name="CaixaDeTexto 120"/>
              <p:cNvSpPr txBox="1"/>
              <p:nvPr/>
            </p:nvSpPr>
            <p:spPr>
              <a:xfrm>
                <a:off x="5313805" y="826688"/>
                <a:ext cx="938078" cy="492441"/>
              </a:xfrm>
              <a:prstGeom prst="rect">
                <a:avLst/>
              </a:prstGeom>
              <a:noFill/>
              <a:ln w="254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20" tIns="45720" rIns="45720" bIns="45720" numCol="1" anchor="t">
                <a:spAutoFit/>
              </a:bodyPr>
              <a:lstStyle>
                <a:lvl1pPr>
                  <a:defRPr sz="2000">
                    <a:solidFill>
                      <a:srgbClr val="FFFFFF"/>
                    </a:solidFill>
                    <a:latin typeface="Itau Text Light"/>
                    <a:ea typeface="Itau Text Light"/>
                    <a:cs typeface="Itau Text Light"/>
                    <a:sym typeface="Itau Text Light"/>
                  </a:defRPr>
                </a:lvl1pPr>
              </a:lstStyle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FF6200"/>
                    </a:solidFill>
                    <a:effectLst/>
                    <a:uLnTx/>
                    <a:uFillTx/>
                    <a:latin typeface="Itau Text Light"/>
                    <a:cs typeface="Itau Text Light"/>
                    <a:sym typeface="Itau Text Light"/>
                  </a:rPr>
                  <a:t>Síntese</a:t>
                </a:r>
              </a:p>
            </p:txBody>
          </p:sp>
          <p:sp>
            <p:nvSpPr>
              <p:cNvPr id="420" name="CaixaDeTexto 121"/>
              <p:cNvSpPr txBox="1"/>
              <p:nvPr/>
            </p:nvSpPr>
            <p:spPr>
              <a:xfrm>
                <a:off x="10094812" y="826688"/>
                <a:ext cx="998992" cy="492441"/>
              </a:xfrm>
              <a:prstGeom prst="rect">
                <a:avLst/>
              </a:prstGeom>
              <a:noFill/>
              <a:ln w="254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20" tIns="45720" rIns="45720" bIns="45720" numCol="1" anchor="t">
                <a:spAutoFit/>
              </a:bodyPr>
              <a:lstStyle>
                <a:lvl1pPr>
                  <a:defRPr sz="2000">
                    <a:solidFill>
                      <a:srgbClr val="FFFFFF"/>
                    </a:solidFill>
                    <a:latin typeface="Itau Text Light"/>
                    <a:ea typeface="Itau Text Light"/>
                    <a:cs typeface="Itau Text Light"/>
                    <a:sym typeface="Itau Text Light"/>
                  </a:defRPr>
                </a:lvl1pPr>
              </a:lstStyle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FF6200"/>
                    </a:solidFill>
                    <a:effectLst/>
                    <a:uLnTx/>
                    <a:uFillTx/>
                    <a:latin typeface="Itau Text Light"/>
                    <a:cs typeface="Itau Text Light"/>
                    <a:sym typeface="Itau Text Light"/>
                  </a:rPr>
                  <a:t>Ideação</a:t>
                </a:r>
              </a:p>
            </p:txBody>
          </p:sp>
          <p:sp>
            <p:nvSpPr>
              <p:cNvPr id="421" name="CaixaDeTexto 122"/>
              <p:cNvSpPr txBox="1"/>
              <p:nvPr/>
            </p:nvSpPr>
            <p:spPr>
              <a:xfrm>
                <a:off x="14031417" y="826688"/>
                <a:ext cx="1816524" cy="492441"/>
              </a:xfrm>
              <a:prstGeom prst="rect">
                <a:avLst/>
              </a:prstGeom>
              <a:noFill/>
              <a:ln w="254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20" tIns="45720" rIns="45720" bIns="45720" numCol="1" anchor="t">
                <a:spAutoFit/>
              </a:bodyPr>
              <a:lstStyle>
                <a:lvl1pPr>
                  <a:defRPr sz="2000">
                    <a:solidFill>
                      <a:srgbClr val="FFFFFF"/>
                    </a:solidFill>
                    <a:latin typeface="Itau Text Light"/>
                    <a:ea typeface="Itau Text Light"/>
                    <a:cs typeface="Itau Text Light"/>
                    <a:sym typeface="Itau Text Light"/>
                  </a:defRPr>
                </a:lvl1pPr>
              </a:lstStyle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FF6200"/>
                    </a:solidFill>
                    <a:effectLst/>
                    <a:uLnTx/>
                    <a:uFillTx/>
                    <a:latin typeface="Itau Text Light"/>
                    <a:cs typeface="Itau Text Light"/>
                    <a:sym typeface="Itau Text Light"/>
                  </a:rPr>
                  <a:t>Implementação</a:t>
                </a:r>
              </a:p>
            </p:txBody>
          </p:sp>
        </p:grpSp>
        <p:sp>
          <p:nvSpPr>
            <p:cNvPr id="423" name="CaixaDeTexto 62"/>
            <p:cNvSpPr txBox="1"/>
            <p:nvPr/>
          </p:nvSpPr>
          <p:spPr>
            <a:xfrm>
              <a:off x="10076226" y="1"/>
              <a:ext cx="1383712" cy="553998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45720" tIns="45720" rIns="45720" bIns="45720" numCol="1" anchor="t">
              <a:spAutoFit/>
            </a:bodyPr>
            <a:lstStyle>
              <a:lvl1pPr algn="ctr">
                <a:defRPr sz="2400" b="1">
                  <a:solidFill>
                    <a:srgbClr val="FFFFFF"/>
                  </a:solidFill>
                  <a:latin typeface="Itau Display"/>
                  <a:ea typeface="Itau Display"/>
                  <a:cs typeface="Itau Display"/>
                  <a:sym typeface="Itau Display"/>
                </a:defRPr>
              </a:lvl1pPr>
            </a:lstStyle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200" b="1" i="0" u="none" strike="noStrike" kern="0" cap="none" spc="0" normalizeH="0" baseline="0" noProof="0">
                  <a:ln>
                    <a:noFill/>
                  </a:ln>
                  <a:solidFill>
                    <a:srgbClr val="FF6200"/>
                  </a:solidFill>
                  <a:effectLst/>
                  <a:uLnTx/>
                  <a:uFillTx/>
                  <a:latin typeface="Itau Display"/>
                  <a:cs typeface="Itau Display"/>
                  <a:sym typeface="Itau Display"/>
                </a:rPr>
                <a:t>ESBOÇAR</a:t>
              </a:r>
            </a:p>
          </p:txBody>
        </p:sp>
        <p:sp>
          <p:nvSpPr>
            <p:cNvPr id="424" name="CaixaDeTexto 63"/>
            <p:cNvSpPr txBox="1"/>
            <p:nvPr/>
          </p:nvSpPr>
          <p:spPr>
            <a:xfrm>
              <a:off x="14558171" y="1"/>
              <a:ext cx="1146468" cy="553998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45720" tIns="45720" rIns="45720" bIns="45720" numCol="1" anchor="t">
              <a:spAutoFit/>
            </a:bodyPr>
            <a:lstStyle>
              <a:lvl1pPr algn="ctr">
                <a:defRPr sz="2400" b="1">
                  <a:solidFill>
                    <a:srgbClr val="FFFFFF"/>
                  </a:solidFill>
                  <a:latin typeface="Itau Display"/>
                  <a:ea typeface="Itau Display"/>
                  <a:cs typeface="Itau Display"/>
                  <a:sym typeface="Itau Display"/>
                </a:defRPr>
              </a:lvl1pPr>
            </a:lstStyle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200" b="1" i="0" u="none" strike="noStrike" kern="0" cap="none" spc="0" normalizeH="0" baseline="0" noProof="0">
                  <a:ln>
                    <a:noFill/>
                  </a:ln>
                  <a:solidFill>
                    <a:srgbClr val="FF6200"/>
                  </a:solidFill>
                  <a:effectLst/>
                  <a:uLnTx/>
                  <a:uFillTx/>
                  <a:latin typeface="Itau Display"/>
                  <a:cs typeface="Itau Display"/>
                  <a:sym typeface="Itau Display"/>
                </a:rPr>
                <a:t>TESTAR</a:t>
              </a:r>
            </a:p>
          </p:txBody>
        </p:sp>
      </p:grpSp>
      <p:sp>
        <p:nvSpPr>
          <p:cNvPr id="2" name="Retângulo 4">
            <a:extLst>
              <a:ext uri="{FF2B5EF4-FFF2-40B4-BE49-F238E27FC236}">
                <a16:creationId xmlns:a16="http://schemas.microsoft.com/office/drawing/2014/main" id="{11A677E8-EE67-7DE7-3089-7B03E8CF8632}"/>
              </a:ext>
            </a:extLst>
          </p:cNvPr>
          <p:cNvSpPr/>
          <p:nvPr/>
        </p:nvSpPr>
        <p:spPr>
          <a:xfrm>
            <a:off x="207799" y="1025847"/>
            <a:ext cx="11797200" cy="5688000"/>
          </a:xfrm>
          <a:prstGeom prst="rect">
            <a:avLst/>
          </a:prstGeom>
          <a:solidFill>
            <a:schemeClr val="bg1">
              <a:lumMod val="95000"/>
              <a:alpha val="85000"/>
            </a:schemeClr>
          </a:solidFill>
          <a:ln w="12700">
            <a:miter lim="400000"/>
          </a:ln>
        </p:spPr>
        <p:txBody>
          <a:bodyPr tIns="45720" bIns="45720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" name="Forma Livre 10">
            <a:extLst>
              <a:ext uri="{FF2B5EF4-FFF2-40B4-BE49-F238E27FC236}">
                <a16:creationId xmlns:a16="http://schemas.microsoft.com/office/drawing/2014/main" id="{5635FF0D-FAD7-6F47-6721-E1A82C0F6D38}"/>
              </a:ext>
            </a:extLst>
          </p:cNvPr>
          <p:cNvSpPr/>
          <p:nvPr/>
        </p:nvSpPr>
        <p:spPr>
          <a:xfrm>
            <a:off x="1225742" y="1631288"/>
            <a:ext cx="9774622" cy="398154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198" extrusionOk="0">
                <a:moveTo>
                  <a:pt x="0" y="10619"/>
                </a:moveTo>
                <a:cubicBezTo>
                  <a:pt x="804" y="10430"/>
                  <a:pt x="1608" y="10241"/>
                  <a:pt x="2125" y="9360"/>
                </a:cubicBezTo>
                <a:cubicBezTo>
                  <a:pt x="2642" y="8478"/>
                  <a:pt x="2810" y="5023"/>
                  <a:pt x="3101" y="5331"/>
                </a:cubicBezTo>
                <a:cubicBezTo>
                  <a:pt x="3391" y="5639"/>
                  <a:pt x="3629" y="9430"/>
                  <a:pt x="3867" y="11206"/>
                </a:cubicBezTo>
                <a:cubicBezTo>
                  <a:pt x="4105" y="12983"/>
                  <a:pt x="4314" y="14564"/>
                  <a:pt x="4529" y="15991"/>
                </a:cubicBezTo>
                <a:cubicBezTo>
                  <a:pt x="4744" y="17418"/>
                  <a:pt x="5185" y="18901"/>
                  <a:pt x="5156" y="19768"/>
                </a:cubicBezTo>
                <a:cubicBezTo>
                  <a:pt x="5127" y="20635"/>
                  <a:pt x="4616" y="21251"/>
                  <a:pt x="4355" y="21195"/>
                </a:cubicBezTo>
                <a:cubicBezTo>
                  <a:pt x="4094" y="21139"/>
                  <a:pt x="3629" y="20524"/>
                  <a:pt x="3588" y="19432"/>
                </a:cubicBezTo>
                <a:cubicBezTo>
                  <a:pt x="3548" y="18341"/>
                  <a:pt x="3797" y="17180"/>
                  <a:pt x="4111" y="14648"/>
                </a:cubicBezTo>
                <a:cubicBezTo>
                  <a:pt x="4425" y="12116"/>
                  <a:pt x="5261" y="6660"/>
                  <a:pt x="5470" y="4240"/>
                </a:cubicBezTo>
                <a:cubicBezTo>
                  <a:pt x="5679" y="1819"/>
                  <a:pt x="5621" y="602"/>
                  <a:pt x="5365" y="127"/>
                </a:cubicBezTo>
                <a:cubicBezTo>
                  <a:pt x="5110" y="-349"/>
                  <a:pt x="4192" y="616"/>
                  <a:pt x="3937" y="1386"/>
                </a:cubicBezTo>
                <a:cubicBezTo>
                  <a:pt x="3681" y="2155"/>
                  <a:pt x="3699" y="3386"/>
                  <a:pt x="3832" y="4743"/>
                </a:cubicBezTo>
                <a:cubicBezTo>
                  <a:pt x="3966" y="6100"/>
                  <a:pt x="4343" y="8129"/>
                  <a:pt x="4738" y="9528"/>
                </a:cubicBezTo>
                <a:cubicBezTo>
                  <a:pt x="5133" y="10927"/>
                  <a:pt x="5795" y="12452"/>
                  <a:pt x="6201" y="13137"/>
                </a:cubicBezTo>
                <a:cubicBezTo>
                  <a:pt x="6608" y="13823"/>
                  <a:pt x="6799" y="13697"/>
                  <a:pt x="7177" y="13641"/>
                </a:cubicBezTo>
                <a:cubicBezTo>
                  <a:pt x="7554" y="13585"/>
                  <a:pt x="8205" y="13571"/>
                  <a:pt x="8466" y="12801"/>
                </a:cubicBezTo>
                <a:cubicBezTo>
                  <a:pt x="8727" y="12032"/>
                  <a:pt x="8837" y="9975"/>
                  <a:pt x="8745" y="9024"/>
                </a:cubicBezTo>
                <a:cubicBezTo>
                  <a:pt x="8652" y="8073"/>
                  <a:pt x="8199" y="7345"/>
                  <a:pt x="7908" y="7093"/>
                </a:cubicBezTo>
                <a:cubicBezTo>
                  <a:pt x="7618" y="6842"/>
                  <a:pt x="7154" y="7038"/>
                  <a:pt x="7003" y="7513"/>
                </a:cubicBezTo>
                <a:cubicBezTo>
                  <a:pt x="6852" y="7989"/>
                  <a:pt x="6933" y="9262"/>
                  <a:pt x="7003" y="9947"/>
                </a:cubicBezTo>
                <a:cubicBezTo>
                  <a:pt x="7072" y="10633"/>
                  <a:pt x="7113" y="11206"/>
                  <a:pt x="7421" y="11626"/>
                </a:cubicBezTo>
                <a:cubicBezTo>
                  <a:pt x="7728" y="12046"/>
                  <a:pt x="8402" y="12466"/>
                  <a:pt x="8849" y="12466"/>
                </a:cubicBezTo>
                <a:cubicBezTo>
                  <a:pt x="9296" y="12466"/>
                  <a:pt x="9720" y="11976"/>
                  <a:pt x="10103" y="11626"/>
                </a:cubicBezTo>
                <a:cubicBezTo>
                  <a:pt x="10486" y="11276"/>
                  <a:pt x="10864" y="10871"/>
                  <a:pt x="11148" y="10367"/>
                </a:cubicBezTo>
                <a:cubicBezTo>
                  <a:pt x="11433" y="9863"/>
                  <a:pt x="11572" y="9556"/>
                  <a:pt x="11810" y="8604"/>
                </a:cubicBezTo>
                <a:cubicBezTo>
                  <a:pt x="12048" y="7653"/>
                  <a:pt x="12333" y="5359"/>
                  <a:pt x="12577" y="4659"/>
                </a:cubicBezTo>
                <a:cubicBezTo>
                  <a:pt x="12821" y="3960"/>
                  <a:pt x="13146" y="3848"/>
                  <a:pt x="13274" y="4407"/>
                </a:cubicBezTo>
                <a:cubicBezTo>
                  <a:pt x="13401" y="4967"/>
                  <a:pt x="13355" y="6044"/>
                  <a:pt x="13343" y="8017"/>
                </a:cubicBezTo>
                <a:cubicBezTo>
                  <a:pt x="13332" y="9989"/>
                  <a:pt x="13483" y="15403"/>
                  <a:pt x="13204" y="16243"/>
                </a:cubicBezTo>
                <a:cubicBezTo>
                  <a:pt x="12925" y="17082"/>
                  <a:pt x="11973" y="14354"/>
                  <a:pt x="11671" y="13053"/>
                </a:cubicBezTo>
                <a:cubicBezTo>
                  <a:pt x="11369" y="11752"/>
                  <a:pt x="11270" y="9849"/>
                  <a:pt x="11392" y="8436"/>
                </a:cubicBezTo>
                <a:cubicBezTo>
                  <a:pt x="11514" y="7024"/>
                  <a:pt x="12124" y="4981"/>
                  <a:pt x="12403" y="4575"/>
                </a:cubicBezTo>
                <a:cubicBezTo>
                  <a:pt x="12681" y="4170"/>
                  <a:pt x="12983" y="4547"/>
                  <a:pt x="13065" y="6002"/>
                </a:cubicBezTo>
                <a:cubicBezTo>
                  <a:pt x="13146" y="7457"/>
                  <a:pt x="13059" y="12074"/>
                  <a:pt x="12890" y="13305"/>
                </a:cubicBezTo>
                <a:cubicBezTo>
                  <a:pt x="12722" y="14536"/>
                  <a:pt x="12246" y="13878"/>
                  <a:pt x="12054" y="13389"/>
                </a:cubicBezTo>
                <a:cubicBezTo>
                  <a:pt x="11863" y="12899"/>
                  <a:pt x="11694" y="11318"/>
                  <a:pt x="11741" y="10367"/>
                </a:cubicBezTo>
                <a:cubicBezTo>
                  <a:pt x="11787" y="9416"/>
                  <a:pt x="12031" y="7933"/>
                  <a:pt x="12333" y="7681"/>
                </a:cubicBezTo>
                <a:cubicBezTo>
                  <a:pt x="12635" y="7429"/>
                  <a:pt x="13245" y="8409"/>
                  <a:pt x="13552" y="8856"/>
                </a:cubicBezTo>
                <a:cubicBezTo>
                  <a:pt x="13860" y="9304"/>
                  <a:pt x="13906" y="9500"/>
                  <a:pt x="14179" y="10367"/>
                </a:cubicBezTo>
                <a:cubicBezTo>
                  <a:pt x="14452" y="11234"/>
                  <a:pt x="15010" y="12731"/>
                  <a:pt x="15190" y="14060"/>
                </a:cubicBezTo>
                <a:cubicBezTo>
                  <a:pt x="15370" y="15389"/>
                  <a:pt x="15335" y="17404"/>
                  <a:pt x="15259" y="18341"/>
                </a:cubicBezTo>
                <a:cubicBezTo>
                  <a:pt x="15184" y="19278"/>
                  <a:pt x="14940" y="19698"/>
                  <a:pt x="14737" y="19684"/>
                </a:cubicBezTo>
                <a:cubicBezTo>
                  <a:pt x="14534" y="19670"/>
                  <a:pt x="14081" y="19083"/>
                  <a:pt x="14040" y="18257"/>
                </a:cubicBezTo>
                <a:cubicBezTo>
                  <a:pt x="13999" y="17432"/>
                  <a:pt x="14272" y="15725"/>
                  <a:pt x="14493" y="14732"/>
                </a:cubicBezTo>
                <a:cubicBezTo>
                  <a:pt x="14714" y="13739"/>
                  <a:pt x="15050" y="13697"/>
                  <a:pt x="15364" y="12298"/>
                </a:cubicBezTo>
                <a:cubicBezTo>
                  <a:pt x="15677" y="10899"/>
                  <a:pt x="15956" y="7611"/>
                  <a:pt x="16374" y="6338"/>
                </a:cubicBezTo>
                <a:cubicBezTo>
                  <a:pt x="16792" y="5065"/>
                  <a:pt x="17477" y="4701"/>
                  <a:pt x="17872" y="4659"/>
                </a:cubicBezTo>
                <a:cubicBezTo>
                  <a:pt x="18267" y="4617"/>
                  <a:pt x="18563" y="5065"/>
                  <a:pt x="18743" y="6086"/>
                </a:cubicBezTo>
                <a:cubicBezTo>
                  <a:pt x="18923" y="7107"/>
                  <a:pt x="19005" y="9122"/>
                  <a:pt x="18952" y="10787"/>
                </a:cubicBezTo>
                <a:cubicBezTo>
                  <a:pt x="18900" y="12452"/>
                  <a:pt x="18703" y="14900"/>
                  <a:pt x="18430" y="16075"/>
                </a:cubicBezTo>
                <a:cubicBezTo>
                  <a:pt x="18157" y="17250"/>
                  <a:pt x="17675" y="17921"/>
                  <a:pt x="17315" y="17838"/>
                </a:cubicBezTo>
                <a:cubicBezTo>
                  <a:pt x="16955" y="17754"/>
                  <a:pt x="16467" y="16844"/>
                  <a:pt x="16270" y="15571"/>
                </a:cubicBezTo>
                <a:cubicBezTo>
                  <a:pt x="16072" y="14298"/>
                  <a:pt x="15997" y="11724"/>
                  <a:pt x="16130" y="10199"/>
                </a:cubicBezTo>
                <a:cubicBezTo>
                  <a:pt x="16264" y="8674"/>
                  <a:pt x="16705" y="6982"/>
                  <a:pt x="17071" y="6422"/>
                </a:cubicBezTo>
                <a:cubicBezTo>
                  <a:pt x="17437" y="5862"/>
                  <a:pt x="18064" y="6450"/>
                  <a:pt x="18325" y="6842"/>
                </a:cubicBezTo>
                <a:cubicBezTo>
                  <a:pt x="18586" y="7233"/>
                  <a:pt x="18656" y="7625"/>
                  <a:pt x="18639" y="8772"/>
                </a:cubicBezTo>
                <a:cubicBezTo>
                  <a:pt x="18621" y="9919"/>
                  <a:pt x="18401" y="12619"/>
                  <a:pt x="18221" y="13725"/>
                </a:cubicBezTo>
                <a:cubicBezTo>
                  <a:pt x="18041" y="14830"/>
                  <a:pt x="17779" y="15263"/>
                  <a:pt x="17559" y="15403"/>
                </a:cubicBezTo>
                <a:cubicBezTo>
                  <a:pt x="17338" y="15543"/>
                  <a:pt x="17077" y="15207"/>
                  <a:pt x="16897" y="14564"/>
                </a:cubicBezTo>
                <a:cubicBezTo>
                  <a:pt x="16717" y="13920"/>
                  <a:pt x="16502" y="12466"/>
                  <a:pt x="16479" y="11542"/>
                </a:cubicBezTo>
                <a:cubicBezTo>
                  <a:pt x="16455" y="10619"/>
                  <a:pt x="16630" y="9528"/>
                  <a:pt x="16757" y="9024"/>
                </a:cubicBezTo>
                <a:cubicBezTo>
                  <a:pt x="16885" y="8520"/>
                  <a:pt x="17042" y="8548"/>
                  <a:pt x="17245" y="8520"/>
                </a:cubicBezTo>
                <a:cubicBezTo>
                  <a:pt x="17448" y="8492"/>
                  <a:pt x="17774" y="8492"/>
                  <a:pt x="17977" y="8856"/>
                </a:cubicBezTo>
                <a:cubicBezTo>
                  <a:pt x="18180" y="9220"/>
                  <a:pt x="18221" y="10227"/>
                  <a:pt x="18465" y="10703"/>
                </a:cubicBezTo>
                <a:cubicBezTo>
                  <a:pt x="18708" y="11178"/>
                  <a:pt x="19132" y="11598"/>
                  <a:pt x="19440" y="11710"/>
                </a:cubicBezTo>
                <a:cubicBezTo>
                  <a:pt x="19748" y="11822"/>
                  <a:pt x="20079" y="11682"/>
                  <a:pt x="20311" y="11374"/>
                </a:cubicBezTo>
                <a:cubicBezTo>
                  <a:pt x="20543" y="11067"/>
                  <a:pt x="20735" y="10563"/>
                  <a:pt x="20834" y="9863"/>
                </a:cubicBezTo>
                <a:cubicBezTo>
                  <a:pt x="20932" y="9164"/>
                  <a:pt x="21002" y="7877"/>
                  <a:pt x="20903" y="7177"/>
                </a:cubicBezTo>
                <a:cubicBezTo>
                  <a:pt x="20805" y="6478"/>
                  <a:pt x="20462" y="5862"/>
                  <a:pt x="20241" y="5667"/>
                </a:cubicBezTo>
                <a:cubicBezTo>
                  <a:pt x="20021" y="5471"/>
                  <a:pt x="19719" y="5736"/>
                  <a:pt x="19579" y="6002"/>
                </a:cubicBezTo>
                <a:cubicBezTo>
                  <a:pt x="19440" y="6268"/>
                  <a:pt x="19428" y="6702"/>
                  <a:pt x="19405" y="7261"/>
                </a:cubicBezTo>
                <a:cubicBezTo>
                  <a:pt x="19382" y="7821"/>
                  <a:pt x="19370" y="8800"/>
                  <a:pt x="19440" y="9360"/>
                </a:cubicBezTo>
                <a:cubicBezTo>
                  <a:pt x="19510" y="9919"/>
                  <a:pt x="19701" y="10381"/>
                  <a:pt x="19823" y="10619"/>
                </a:cubicBezTo>
                <a:cubicBezTo>
                  <a:pt x="19945" y="10857"/>
                  <a:pt x="20073" y="10787"/>
                  <a:pt x="20172" y="10787"/>
                </a:cubicBezTo>
                <a:cubicBezTo>
                  <a:pt x="20270" y="10787"/>
                  <a:pt x="20323" y="10899"/>
                  <a:pt x="20415" y="10619"/>
                </a:cubicBezTo>
                <a:cubicBezTo>
                  <a:pt x="20508" y="10339"/>
                  <a:pt x="20717" y="9640"/>
                  <a:pt x="20729" y="9108"/>
                </a:cubicBezTo>
                <a:cubicBezTo>
                  <a:pt x="20741" y="8576"/>
                  <a:pt x="20613" y="7667"/>
                  <a:pt x="20485" y="7429"/>
                </a:cubicBezTo>
                <a:cubicBezTo>
                  <a:pt x="20357" y="7191"/>
                  <a:pt x="20061" y="7499"/>
                  <a:pt x="19963" y="7681"/>
                </a:cubicBezTo>
                <a:cubicBezTo>
                  <a:pt x="19864" y="7863"/>
                  <a:pt x="19864" y="8185"/>
                  <a:pt x="19893" y="8520"/>
                </a:cubicBezTo>
                <a:cubicBezTo>
                  <a:pt x="19922" y="8856"/>
                  <a:pt x="20032" y="9360"/>
                  <a:pt x="20137" y="9696"/>
                </a:cubicBezTo>
                <a:cubicBezTo>
                  <a:pt x="20241" y="10031"/>
                  <a:pt x="20375" y="10339"/>
                  <a:pt x="20520" y="10535"/>
                </a:cubicBezTo>
                <a:cubicBezTo>
                  <a:pt x="20665" y="10731"/>
                  <a:pt x="20828" y="10843"/>
                  <a:pt x="21008" y="10871"/>
                </a:cubicBezTo>
                <a:cubicBezTo>
                  <a:pt x="21188" y="10899"/>
                  <a:pt x="21394" y="10801"/>
                  <a:pt x="21600" y="10703"/>
                </a:cubicBezTo>
              </a:path>
            </a:pathLst>
          </a:custGeom>
          <a:ln w="114300">
            <a:solidFill>
              <a:schemeClr val="tx1">
                <a:lumMod val="50000"/>
                <a:lumOff val="50000"/>
              </a:schemeClr>
            </a:solidFill>
            <a:miter/>
            <a:tailEnd type="triangle"/>
          </a:ln>
        </p:spPr>
        <p:txBody>
          <a:bodyPr tIns="45720" bIns="45720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4" name="CaixaDeTexto 70">
            <a:extLst>
              <a:ext uri="{FF2B5EF4-FFF2-40B4-BE49-F238E27FC236}">
                <a16:creationId xmlns:a16="http://schemas.microsoft.com/office/drawing/2014/main" id="{C3AAF158-CF2C-1ACD-0E24-CBAF9CAA59F0}"/>
              </a:ext>
            </a:extLst>
          </p:cNvPr>
          <p:cNvSpPr txBox="1"/>
          <p:nvPr/>
        </p:nvSpPr>
        <p:spPr>
          <a:xfrm>
            <a:off x="3478653" y="6190174"/>
            <a:ext cx="4572085" cy="24622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45720" bIns="45720">
            <a:spAutoFit/>
          </a:bodyPr>
          <a:lstStyle>
            <a:lvl1pPr>
              <a:defRPr sz="2000" b="1">
                <a:solidFill>
                  <a:srgbClr val="FFFFFF"/>
                </a:solidFill>
                <a:latin typeface="Itau Text"/>
                <a:ea typeface="Itau Text"/>
                <a:cs typeface="Itau Text"/>
                <a:sym typeface="Itau Text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tau Text"/>
                <a:cs typeface="Itau Text"/>
                <a:sym typeface="Itau Text"/>
              </a:rPr>
              <a:t>-     LEMBRE-SE: ESSE NÃO É UM PROCESSO LINEAR, MAS SIM ITERATIVO     -</a:t>
            </a:r>
          </a:p>
        </p:txBody>
      </p:sp>
      <p:sp>
        <p:nvSpPr>
          <p:cNvPr id="5" name="Retângulo 65">
            <a:extLst>
              <a:ext uri="{FF2B5EF4-FFF2-40B4-BE49-F238E27FC236}">
                <a16:creationId xmlns:a16="http://schemas.microsoft.com/office/drawing/2014/main" id="{5DD765DA-647C-E0A6-0628-0F422A05CAD1}"/>
              </a:ext>
            </a:extLst>
          </p:cNvPr>
          <p:cNvSpPr/>
          <p:nvPr/>
        </p:nvSpPr>
        <p:spPr>
          <a:xfrm>
            <a:off x="2662225" y="5880483"/>
            <a:ext cx="6422952" cy="630926"/>
          </a:xfrm>
          <a:prstGeom prst="rect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miter/>
          </a:ln>
        </p:spPr>
        <p:txBody>
          <a:bodyPr tIns="45720" bIns="45720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6" name="a partir dos estudos realizados na fase de discovery, iniciamos a design sprint, na qual ideamos naquilo que acreditamos ser desejável para o cliente e viável ao negócio.…">
            <a:extLst>
              <a:ext uri="{FF2B5EF4-FFF2-40B4-BE49-F238E27FC236}">
                <a16:creationId xmlns:a16="http://schemas.microsoft.com/office/drawing/2014/main" id="{034A1A3C-13C6-8A44-867F-AED08988CE8D}"/>
              </a:ext>
            </a:extLst>
          </p:cNvPr>
          <p:cNvSpPr txBox="1"/>
          <p:nvPr/>
        </p:nvSpPr>
        <p:spPr>
          <a:xfrm>
            <a:off x="898927" y="715801"/>
            <a:ext cx="5038515" cy="297517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>
            <a:spAutoFit/>
          </a:bodyPr>
          <a:lstStyle>
            <a:lvl1pPr defTabSz="825500">
              <a:defRPr sz="3200">
                <a:solidFill>
                  <a:srgbClr val="FFFFFF"/>
                </a:solidFill>
                <a:latin typeface="Itau Display Light"/>
                <a:ea typeface="Itau Display Light"/>
                <a:cs typeface="Itau Display Light"/>
                <a:sym typeface="Itau Display Light"/>
              </a:defRPr>
            </a:lvl1pPr>
          </a:lstStyle>
          <a:p>
            <a:pPr marL="0" marR="0" lvl="0" indent="0" algn="l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Light"/>
              </a:rPr>
              <a:t>passo</a:t>
            </a:r>
            <a:r>
              <a:rPr kumimoji="0" sz="16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Light"/>
              </a:rPr>
              <a:t> a </a:t>
            </a:r>
            <a:r>
              <a:rPr kumimoji="0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Light"/>
              </a:rPr>
              <a:t>passo</a:t>
            </a:r>
            <a:r>
              <a:rPr kumimoji="0" sz="16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Light"/>
              </a:rPr>
              <a:t> do </a:t>
            </a:r>
            <a:r>
              <a:rPr kumimoji="0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Light"/>
              </a:rPr>
              <a:t>ponto</a:t>
            </a:r>
            <a:r>
              <a:rPr kumimoji="0" sz="1600" b="0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Itau Display Light"/>
              </a:rPr>
              <a:t> A para o B</a:t>
            </a:r>
          </a:p>
        </p:txBody>
      </p:sp>
      <p:sp>
        <p:nvSpPr>
          <p:cNvPr id="7" name="a partir dos estudos realizados na fase de discovery, iniciamos a design sprint, na qual ideamos naquilo que acreditamos ser desejável para o cliente e viável ao negócio.…">
            <a:extLst>
              <a:ext uri="{FF2B5EF4-FFF2-40B4-BE49-F238E27FC236}">
                <a16:creationId xmlns:a16="http://schemas.microsoft.com/office/drawing/2014/main" id="{40C80451-D610-B7DD-D9A3-BF42FB19A0E2}"/>
              </a:ext>
            </a:extLst>
          </p:cNvPr>
          <p:cNvSpPr txBox="1"/>
          <p:nvPr/>
        </p:nvSpPr>
        <p:spPr>
          <a:xfrm>
            <a:off x="891443" y="273975"/>
            <a:ext cx="7032208" cy="420628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>
            <a:spAutoFit/>
          </a:bodyPr>
          <a:lstStyle>
            <a:lvl1pPr defTabSz="825500">
              <a:defRPr sz="3200">
                <a:solidFill>
                  <a:srgbClr val="FFFFFF"/>
                </a:solidFill>
                <a:latin typeface="Itau Display Bold"/>
                <a:ea typeface="Itau Display Bold"/>
                <a:cs typeface="Itau Display Bold"/>
                <a:sym typeface="Itau Display Bold"/>
              </a:defRPr>
            </a:lvl1pPr>
          </a:lstStyle>
          <a:p>
            <a:pPr marL="0" marR="0" lvl="0" indent="0" algn="l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sz="2400" b="1" kern="0" dirty="0" err="1">
                <a:solidFill>
                  <a:srgbClr val="FF62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seguir</a:t>
            </a:r>
            <a:r>
              <a:rPr sz="2400" b="1" kern="0" dirty="0">
                <a:solidFill>
                  <a:srgbClr val="FF62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sz="2400" b="1" kern="0" dirty="0" err="1">
                <a:solidFill>
                  <a:srgbClr val="FF62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elas</a:t>
            </a:r>
            <a:r>
              <a:rPr sz="2400" b="1" kern="0" dirty="0">
                <a:solidFill>
                  <a:srgbClr val="FF62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sz="2400" b="1" kern="0" dirty="0" err="1">
                <a:solidFill>
                  <a:srgbClr val="FF62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tapas</a:t>
            </a:r>
            <a:r>
              <a:rPr sz="2400" b="1" kern="0" dirty="0">
                <a:solidFill>
                  <a:srgbClr val="FF62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do double diamond</a:t>
            </a:r>
          </a:p>
        </p:txBody>
      </p:sp>
      <p:sp>
        <p:nvSpPr>
          <p:cNvPr id="8" name="1">
            <a:extLst>
              <a:ext uri="{FF2B5EF4-FFF2-40B4-BE49-F238E27FC236}">
                <a16:creationId xmlns:a16="http://schemas.microsoft.com/office/drawing/2014/main" id="{69820B3F-A229-110E-948E-DBB55745B325}"/>
              </a:ext>
            </a:extLst>
          </p:cNvPr>
          <p:cNvSpPr/>
          <p:nvPr/>
        </p:nvSpPr>
        <p:spPr>
          <a:xfrm>
            <a:off x="341384" y="301085"/>
            <a:ext cx="432000" cy="432000"/>
          </a:xfrm>
          <a:prstGeom prst="ellipse">
            <a:avLst/>
          </a:prstGeom>
          <a:solidFill>
            <a:srgbClr val="FF6200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45720" bIns="45720"/>
          <a:lstStyle>
            <a:lvl1pPr algn="ctr">
              <a:defRPr sz="2900">
                <a:solidFill>
                  <a:srgbClr val="EC7000"/>
                </a:solidFill>
                <a:latin typeface="Itau Display Bold"/>
                <a:ea typeface="Itau Display Bold"/>
                <a:cs typeface="Itau Display Bold"/>
                <a:sym typeface="Itau Display Bold"/>
              </a:defRPr>
            </a:lvl1pPr>
          </a:lstStyle>
          <a:p>
            <a:pPr hangingPunct="0"/>
            <a:r>
              <a:rPr lang="pt-BR" sz="1600" b="1" kern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3</a:t>
            </a:r>
            <a:endParaRPr sz="1600" b="1" kern="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9" name="Retângulo 4">
            <a:extLst>
              <a:ext uri="{FF2B5EF4-FFF2-40B4-BE49-F238E27FC236}">
                <a16:creationId xmlns:a16="http://schemas.microsoft.com/office/drawing/2014/main" id="{100590AD-78EB-718A-5DCD-B1D509FDCA20}"/>
              </a:ext>
            </a:extLst>
          </p:cNvPr>
          <p:cNvSpPr/>
          <p:nvPr/>
        </p:nvSpPr>
        <p:spPr>
          <a:xfrm>
            <a:off x="218816" y="1042295"/>
            <a:ext cx="11797200" cy="5652000"/>
          </a:xfrm>
          <a:prstGeom prst="rect">
            <a:avLst/>
          </a:prstGeom>
          <a:solidFill>
            <a:schemeClr val="bg1">
              <a:lumMod val="85000"/>
              <a:alpha val="85000"/>
            </a:schemeClr>
          </a:solidFill>
          <a:ln w="12700">
            <a:miter lim="400000"/>
          </a:ln>
        </p:spPr>
        <p:txBody>
          <a:bodyPr tIns="45720" bIns="45720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15" name="Oval 1">
            <a:extLst>
              <a:ext uri="{FF2B5EF4-FFF2-40B4-BE49-F238E27FC236}">
                <a16:creationId xmlns:a16="http://schemas.microsoft.com/office/drawing/2014/main" id="{619A7A7C-8915-8BBD-E08A-9344B6ADF2AB}"/>
              </a:ext>
            </a:extLst>
          </p:cNvPr>
          <p:cNvSpPr/>
          <p:nvPr/>
        </p:nvSpPr>
        <p:spPr>
          <a:xfrm>
            <a:off x="2089952" y="2322325"/>
            <a:ext cx="2527476" cy="2520000"/>
          </a:xfrm>
          <a:prstGeom prst="ellipse">
            <a:avLst/>
          </a:prstGeom>
          <a:solidFill>
            <a:srgbClr val="FFFFFF"/>
          </a:solidFill>
          <a:ln w="25400" cap="flat">
            <a:solidFill>
              <a:srgbClr val="8F53FF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20" tIns="45720" rIns="45720" bIns="45720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j-ea"/>
              <a:cs typeface="Calibri"/>
              <a:sym typeface="Calibri"/>
            </a:endParaRPr>
          </a:p>
        </p:txBody>
      </p:sp>
      <p:sp>
        <p:nvSpPr>
          <p:cNvPr id="16" name="a partir dos estudos realizados na fase de discovery, iniciamos a design sprint, na qual ideamos naquilo que acreditamos ser desejável para o cliente e viável ao negócio.…">
            <a:extLst>
              <a:ext uri="{FF2B5EF4-FFF2-40B4-BE49-F238E27FC236}">
                <a16:creationId xmlns:a16="http://schemas.microsoft.com/office/drawing/2014/main" id="{799212C8-0B3A-68DE-7DAF-6276474B49FF}"/>
              </a:ext>
            </a:extLst>
          </p:cNvPr>
          <p:cNvSpPr txBox="1"/>
          <p:nvPr/>
        </p:nvSpPr>
        <p:spPr>
          <a:xfrm>
            <a:off x="3906388" y="1544254"/>
            <a:ext cx="4098787" cy="328295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5400" tIns="25400" rIns="25400" bIns="25400">
            <a:spAutoFit/>
          </a:bodyPr>
          <a:lstStyle>
            <a:lvl1pPr defTabSz="825500">
              <a:defRPr sz="3200">
                <a:solidFill>
                  <a:srgbClr val="FFFFFF"/>
                </a:solidFill>
                <a:latin typeface="Itau Display Bold"/>
                <a:ea typeface="Itau Display Bold"/>
                <a:cs typeface="Itau Display Bold"/>
                <a:sym typeface="Itau Display Bold"/>
              </a:defRPr>
            </a:lvl1pPr>
          </a:lstStyle>
          <a:p>
            <a:pPr marL="0" marR="0" lvl="0" indent="0" algn="l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Display Bold"/>
                <a:cs typeface="Itau Display Bold"/>
                <a:sym typeface="Itau Display Bold"/>
              </a:rPr>
              <a:t>H</a:t>
            </a:r>
            <a:r>
              <a:rPr kumimoji="0" lang="pt-BR" sz="1800" b="1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 Light" panose="020B0403020204020203" pitchFamily="34" charset="0"/>
                <a:cs typeface="Itau Text Light" panose="020B0403020204020203" pitchFamily="34" charset="0"/>
                <a:sym typeface="Itau Display Bold"/>
              </a:rPr>
              <a:t>uman</a:t>
            </a:r>
            <a:r>
              <a:rPr kumimoji="0" lang="pt-BR" sz="1800" b="1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Display Bold"/>
                <a:cs typeface="Itau Display Bold"/>
                <a:sym typeface="Itau Display Bold"/>
              </a:rPr>
              <a:t> </a:t>
            </a:r>
            <a:r>
              <a:rPr kumimoji="0" lang="pt-BR" sz="1800" b="1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Display Bold"/>
                <a:cs typeface="Itau Display Bold"/>
                <a:sym typeface="Itau Display Bold"/>
              </a:rPr>
              <a:t>C</a:t>
            </a:r>
            <a:r>
              <a:rPr kumimoji="0" lang="pt-BR" sz="1800" b="1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 Light" panose="020B0403020204020203" pitchFamily="34" charset="0"/>
                <a:cs typeface="Itau Text Light" panose="020B0403020204020203" pitchFamily="34" charset="0"/>
                <a:sym typeface="Itau Display Bold"/>
              </a:rPr>
              <a:t>entered</a:t>
            </a:r>
            <a:r>
              <a:rPr kumimoji="0" lang="pt-BR" sz="1800" b="1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Display Bold"/>
                <a:cs typeface="Itau Display Bold"/>
                <a:sym typeface="Itau Display Bold"/>
              </a:rPr>
              <a:t> D</a:t>
            </a:r>
            <a:r>
              <a:rPr kumimoji="0" lang="pt-BR" sz="1800" b="1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 Light" panose="020B0403020204020203" pitchFamily="34" charset="0"/>
                <a:cs typeface="Itau Text Light" panose="020B0403020204020203" pitchFamily="34" charset="0"/>
                <a:sym typeface="Itau Display Bold"/>
              </a:rPr>
              <a:t>esign</a:t>
            </a:r>
            <a:r>
              <a:rPr kumimoji="0" lang="pt-BR" sz="1800" b="1" i="0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Display Bold"/>
                <a:cs typeface="Itau Display Bold"/>
                <a:sym typeface="Itau Display Bold"/>
              </a:rPr>
              <a:t> | HCD </a:t>
            </a:r>
            <a:r>
              <a:rPr kumimoji="0" lang="pt-BR" sz="1800" b="1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Display Bold"/>
                <a:cs typeface="Itau Display Bold"/>
                <a:sym typeface="Itau Display Bold"/>
              </a:rPr>
              <a:t>Process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Itau Display Bold"/>
              <a:cs typeface="Itau Display Bold"/>
              <a:sym typeface="Itau Display Bold"/>
            </a:endParaRPr>
          </a:p>
        </p:txBody>
      </p:sp>
      <p:sp>
        <p:nvSpPr>
          <p:cNvPr id="17" name="a partir dos estudos realizados na fase de discovery, iniciamos a design sprint, na qual ideamos naquilo que acreditamos ser desejável para o cliente e viável ao negócio.…">
            <a:extLst>
              <a:ext uri="{FF2B5EF4-FFF2-40B4-BE49-F238E27FC236}">
                <a16:creationId xmlns:a16="http://schemas.microsoft.com/office/drawing/2014/main" id="{259D955B-E0AE-7B4A-2B13-E0361D98055E}"/>
              </a:ext>
            </a:extLst>
          </p:cNvPr>
          <p:cNvSpPr txBox="1"/>
          <p:nvPr/>
        </p:nvSpPr>
        <p:spPr>
          <a:xfrm>
            <a:off x="2810547" y="3211448"/>
            <a:ext cx="1116000" cy="651460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>
            <a:spAutoFit/>
          </a:bodyPr>
          <a:lstStyle>
            <a:lvl1pPr defTabSz="825500">
              <a:defRPr sz="3200">
                <a:solidFill>
                  <a:srgbClr val="FFFFFF"/>
                </a:solidFill>
                <a:latin typeface="Itau Display Bold"/>
                <a:ea typeface="Itau Display Bold"/>
                <a:cs typeface="Itau Display Bold"/>
                <a:sym typeface="Itau Display Bold"/>
              </a:defRPr>
            </a:lvl1pPr>
          </a:lstStyle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Display Bold"/>
                <a:cs typeface="Itau Display Bold"/>
                <a:sym typeface="Itau Display Bold"/>
              </a:rPr>
              <a:t>Hear</a:t>
            </a:r>
            <a:endParaRPr kumimoji="0" lang="pt-BR" sz="2800" b="1" i="0" u="none" strike="noStrike" kern="0" cap="none" spc="0" normalizeH="0" baseline="0" noProof="0" dirty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Itau Display Bold"/>
              <a:cs typeface="Itau Display Bold"/>
              <a:sym typeface="Itau Display Bold"/>
            </a:endParaRPr>
          </a:p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1" i="1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 Light" panose="020B0403020204020203" pitchFamily="34" charset="0"/>
                <a:cs typeface="Itau Text Light" panose="020B0403020204020203" pitchFamily="34" charset="0"/>
                <a:sym typeface="Itau Display Bold"/>
              </a:rPr>
              <a:t>(ouvir)</a:t>
            </a:r>
            <a:endParaRPr kumimoji="0" sz="2800" b="1" i="1" u="none" strike="noStrike" kern="0" cap="none" spc="0" normalizeH="0" baseline="0" noProof="0" dirty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Itau Text Light" panose="020B0403020204020203" pitchFamily="34" charset="0"/>
              <a:cs typeface="Itau Text Light" panose="020B0403020204020203" pitchFamily="34" charset="0"/>
              <a:sym typeface="Itau Display Bold"/>
            </a:endParaRPr>
          </a:p>
        </p:txBody>
      </p:sp>
      <p:sp>
        <p:nvSpPr>
          <p:cNvPr id="18" name="Oval 72">
            <a:extLst>
              <a:ext uri="{FF2B5EF4-FFF2-40B4-BE49-F238E27FC236}">
                <a16:creationId xmlns:a16="http://schemas.microsoft.com/office/drawing/2014/main" id="{263B3B53-8BC9-3F9B-3465-76CBA027F649}"/>
              </a:ext>
            </a:extLst>
          </p:cNvPr>
          <p:cNvSpPr/>
          <p:nvPr/>
        </p:nvSpPr>
        <p:spPr>
          <a:xfrm>
            <a:off x="4873493" y="2322325"/>
            <a:ext cx="2527476" cy="2520000"/>
          </a:xfrm>
          <a:prstGeom prst="ellipse">
            <a:avLst/>
          </a:prstGeom>
          <a:solidFill>
            <a:srgbClr val="FFFFFF"/>
          </a:solidFill>
          <a:ln w="25400" cap="flat">
            <a:solidFill>
              <a:srgbClr val="8F53FF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20" tIns="45720" rIns="45720" bIns="45720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j-ea"/>
              <a:cs typeface="Calibri"/>
              <a:sym typeface="Calibri"/>
            </a:endParaRPr>
          </a:p>
        </p:txBody>
      </p:sp>
      <p:sp>
        <p:nvSpPr>
          <p:cNvPr id="19" name="a partir dos estudos realizados na fase de discovery, iniciamos a design sprint, na qual ideamos naquilo que acreditamos ser desejável para o cliente e viável ao negócio.…">
            <a:extLst>
              <a:ext uri="{FF2B5EF4-FFF2-40B4-BE49-F238E27FC236}">
                <a16:creationId xmlns:a16="http://schemas.microsoft.com/office/drawing/2014/main" id="{BFAF29D4-BFA0-0C5B-6DD7-95548BBDCBCF}"/>
              </a:ext>
            </a:extLst>
          </p:cNvPr>
          <p:cNvSpPr txBox="1"/>
          <p:nvPr/>
        </p:nvSpPr>
        <p:spPr>
          <a:xfrm>
            <a:off x="5594088" y="3211448"/>
            <a:ext cx="1116000" cy="651460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>
            <a:spAutoFit/>
          </a:bodyPr>
          <a:lstStyle>
            <a:lvl1pPr defTabSz="825500">
              <a:defRPr sz="3200">
                <a:solidFill>
                  <a:srgbClr val="FFFFFF"/>
                </a:solidFill>
                <a:latin typeface="Itau Display Bold"/>
                <a:ea typeface="Itau Display Bold"/>
                <a:cs typeface="Itau Display Bold"/>
                <a:sym typeface="Itau Display Bold"/>
              </a:defRPr>
            </a:lvl1pPr>
          </a:lstStyle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Display Bold"/>
                <a:cs typeface="Itau Display Bold"/>
                <a:sym typeface="Itau Display Bold"/>
              </a:rPr>
              <a:t>Create</a:t>
            </a:r>
            <a:endParaRPr kumimoji="0" lang="pt-BR" sz="2800" b="1" i="0" u="none" strike="noStrike" kern="0" cap="none" spc="0" normalizeH="0" baseline="0" noProof="0" dirty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Itau Display Bold"/>
              <a:cs typeface="Itau Display Bold"/>
              <a:sym typeface="Itau Display Bold"/>
            </a:endParaRPr>
          </a:p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1" i="1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 Light" panose="020B0403020204020203" pitchFamily="34" charset="0"/>
                <a:cs typeface="Itau Text Light" panose="020B0403020204020203" pitchFamily="34" charset="0"/>
                <a:sym typeface="Itau Display Bold"/>
              </a:rPr>
              <a:t>(criar)</a:t>
            </a:r>
            <a:endParaRPr kumimoji="0" sz="1100" b="1" i="1" u="none" strike="noStrike" kern="0" cap="none" spc="0" normalizeH="0" baseline="0" noProof="0" dirty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Itau Text Light" panose="020B0403020204020203" pitchFamily="34" charset="0"/>
              <a:cs typeface="Itau Text Light" panose="020B0403020204020203" pitchFamily="34" charset="0"/>
              <a:sym typeface="Itau Display Bold"/>
            </a:endParaRPr>
          </a:p>
        </p:txBody>
      </p:sp>
      <p:sp>
        <p:nvSpPr>
          <p:cNvPr id="20" name="Oval 74">
            <a:extLst>
              <a:ext uri="{FF2B5EF4-FFF2-40B4-BE49-F238E27FC236}">
                <a16:creationId xmlns:a16="http://schemas.microsoft.com/office/drawing/2014/main" id="{7EAC7489-167A-FF53-48A0-F9153ABE1F1E}"/>
              </a:ext>
            </a:extLst>
          </p:cNvPr>
          <p:cNvSpPr/>
          <p:nvPr/>
        </p:nvSpPr>
        <p:spPr>
          <a:xfrm>
            <a:off x="7683929" y="2322325"/>
            <a:ext cx="2527476" cy="2520000"/>
          </a:xfrm>
          <a:prstGeom prst="ellipse">
            <a:avLst/>
          </a:prstGeom>
          <a:solidFill>
            <a:srgbClr val="FFFFFF"/>
          </a:solidFill>
          <a:ln w="25400" cap="flat">
            <a:solidFill>
              <a:srgbClr val="8F53FF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20" tIns="45720" rIns="45720" bIns="45720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j-ea"/>
              <a:cs typeface="Calibri"/>
              <a:sym typeface="Calibri"/>
            </a:endParaRPr>
          </a:p>
        </p:txBody>
      </p:sp>
      <p:sp>
        <p:nvSpPr>
          <p:cNvPr id="21" name="a partir dos estudos realizados na fase de discovery, iniciamos a design sprint, na qual ideamos naquilo que acreditamos ser desejável para o cliente e viável ao negócio.…">
            <a:extLst>
              <a:ext uri="{FF2B5EF4-FFF2-40B4-BE49-F238E27FC236}">
                <a16:creationId xmlns:a16="http://schemas.microsoft.com/office/drawing/2014/main" id="{DB2D437B-1F92-2F75-3B4C-FE5DB51798A6}"/>
              </a:ext>
            </a:extLst>
          </p:cNvPr>
          <p:cNvSpPr txBox="1"/>
          <p:nvPr/>
        </p:nvSpPr>
        <p:spPr>
          <a:xfrm>
            <a:off x="8404523" y="3211448"/>
            <a:ext cx="1116000" cy="1074653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>
            <a:spAutoFit/>
          </a:bodyPr>
          <a:lstStyle>
            <a:lvl1pPr defTabSz="825500">
              <a:defRPr sz="3200">
                <a:solidFill>
                  <a:srgbClr val="FFFFFF"/>
                </a:solidFill>
                <a:latin typeface="Itau Display Bold"/>
                <a:ea typeface="Itau Display Bold"/>
                <a:cs typeface="Itau Display Bold"/>
                <a:sym typeface="Itau Display Bold"/>
              </a:defRPr>
            </a:lvl1pPr>
          </a:lstStyle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Display Bold"/>
                <a:cs typeface="Itau Display Bold"/>
                <a:sym typeface="Itau Display Bold"/>
              </a:rPr>
              <a:t>Deliver</a:t>
            </a:r>
            <a:endParaRPr kumimoji="0" lang="pt-BR" sz="2800" b="1" i="0" u="none" strike="noStrike" kern="0" cap="none" spc="0" normalizeH="0" baseline="0" noProof="0" dirty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Itau Display Bold"/>
              <a:cs typeface="Itau Display Bold"/>
              <a:sym typeface="Itau Display Bold"/>
            </a:endParaRPr>
          </a:p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1" i="1" u="none" strike="noStrike" kern="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Itau Text Light" panose="020B0403020204020203" pitchFamily="34" charset="0"/>
                <a:cs typeface="Itau Text Light" panose="020B0403020204020203" pitchFamily="34" charset="0"/>
                <a:sym typeface="Itau Display Bold"/>
              </a:rPr>
              <a:t>(entregar)</a:t>
            </a:r>
            <a:endParaRPr kumimoji="0" sz="2800" b="1" i="1" u="none" strike="noStrike" kern="0" cap="none" spc="0" normalizeH="0" baseline="0" noProof="0" dirty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Itau Text Light" panose="020B0403020204020203" pitchFamily="34" charset="0"/>
              <a:cs typeface="Itau Text Light" panose="020B0403020204020203" pitchFamily="34" charset="0"/>
              <a:sym typeface="Itau Display Bold"/>
            </a:endParaRPr>
          </a:p>
        </p:txBody>
      </p:sp>
    </p:spTree>
    <p:extLst>
      <p:ext uri="{BB962C8B-B14F-4D97-AF65-F5344CB8AC3E}">
        <p14:creationId xmlns:p14="http://schemas.microsoft.com/office/powerpoint/2010/main" val="32748122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073744D-DFC9-C44C-9455-CECD37CAD34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-15875" y="0"/>
            <a:ext cx="12207875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356F10A-0603-4D45-AB80-FEFB6D3AF5AD}"/>
              </a:ext>
            </a:extLst>
          </p:cNvPr>
          <p:cNvSpPr/>
          <p:nvPr/>
        </p:nvSpPr>
        <p:spPr>
          <a:xfrm>
            <a:off x="-31752" y="-111126"/>
            <a:ext cx="12231689" cy="6969126"/>
          </a:xfrm>
          <a:prstGeom prst="rect">
            <a:avLst/>
          </a:prstGeom>
          <a:gradFill>
            <a:gsLst>
              <a:gs pos="100000">
                <a:schemeClr val="accent2">
                  <a:lumMod val="60000"/>
                  <a:lumOff val="40000"/>
                  <a:alpha val="78000"/>
                </a:schemeClr>
              </a:gs>
              <a:gs pos="38000">
                <a:srgbClr val="957F8A">
                  <a:alpha val="90761"/>
                </a:srgbClr>
              </a:gs>
              <a:gs pos="12000">
                <a:schemeClr val="tx2">
                  <a:alpha val="77002"/>
                </a:scheme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srgbClr val="FEFFF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32E412EC-ABF0-495D-B8B1-7F42EC155BF5}"/>
              </a:ext>
            </a:extLst>
          </p:cNvPr>
          <p:cNvSpPr/>
          <p:nvPr/>
        </p:nvSpPr>
        <p:spPr>
          <a:xfrm>
            <a:off x="3502920" y="6008564"/>
            <a:ext cx="342900" cy="342900"/>
          </a:xfrm>
          <a:prstGeom prst="ellipse">
            <a:avLst/>
          </a:prstGeom>
          <a:solidFill>
            <a:schemeClr val="bg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FEFFF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D9285B7E-D443-46C5-9F96-9096071D5C5B}"/>
              </a:ext>
            </a:extLst>
          </p:cNvPr>
          <p:cNvSpPr>
            <a:spLocks/>
          </p:cNvSpPr>
          <p:nvPr/>
        </p:nvSpPr>
        <p:spPr bwMode="auto">
          <a:xfrm>
            <a:off x="-23813" y="-111126"/>
            <a:ext cx="12207875" cy="6650038"/>
          </a:xfrm>
          <a:custGeom>
            <a:avLst/>
            <a:gdLst>
              <a:gd name="T0" fmla="*/ 0 w 2912"/>
              <a:gd name="T1" fmla="*/ 604 h 1848"/>
              <a:gd name="T2" fmla="*/ 0 w 2912"/>
              <a:gd name="T3" fmla="*/ 0 h 1848"/>
              <a:gd name="T4" fmla="*/ 2912 w 2912"/>
              <a:gd name="T5" fmla="*/ 0 h 1848"/>
              <a:gd name="T6" fmla="*/ 2912 w 2912"/>
              <a:gd name="T7" fmla="*/ 1732 h 1848"/>
              <a:gd name="T8" fmla="*/ 2012 w 2912"/>
              <a:gd name="T9" fmla="*/ 1456 h 1848"/>
              <a:gd name="T10" fmla="*/ 904 w 2912"/>
              <a:gd name="T11" fmla="*/ 1812 h 1848"/>
              <a:gd name="T12" fmla="*/ 508 w 2912"/>
              <a:gd name="T13" fmla="*/ 1052 h 1848"/>
              <a:gd name="T14" fmla="*/ 0 w 2912"/>
              <a:gd name="T15" fmla="*/ 604 h 1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912" h="1848">
                <a:moveTo>
                  <a:pt x="0" y="604"/>
                </a:moveTo>
                <a:cubicBezTo>
                  <a:pt x="0" y="0"/>
                  <a:pt x="0" y="0"/>
                  <a:pt x="0" y="0"/>
                </a:cubicBezTo>
                <a:cubicBezTo>
                  <a:pt x="2912" y="0"/>
                  <a:pt x="2912" y="0"/>
                  <a:pt x="2912" y="0"/>
                </a:cubicBezTo>
                <a:cubicBezTo>
                  <a:pt x="2912" y="1732"/>
                  <a:pt x="2912" y="1732"/>
                  <a:pt x="2912" y="1732"/>
                </a:cubicBezTo>
                <a:cubicBezTo>
                  <a:pt x="2912" y="1732"/>
                  <a:pt x="2568" y="1240"/>
                  <a:pt x="2012" y="1456"/>
                </a:cubicBezTo>
                <a:cubicBezTo>
                  <a:pt x="1456" y="1672"/>
                  <a:pt x="1376" y="1848"/>
                  <a:pt x="904" y="1812"/>
                </a:cubicBezTo>
                <a:cubicBezTo>
                  <a:pt x="432" y="1776"/>
                  <a:pt x="512" y="1128"/>
                  <a:pt x="508" y="1052"/>
                </a:cubicBezTo>
                <a:cubicBezTo>
                  <a:pt x="504" y="976"/>
                  <a:pt x="520" y="528"/>
                  <a:pt x="0" y="604"/>
                </a:cubicBezTo>
                <a:close/>
              </a:path>
            </a:pathLst>
          </a:custGeom>
          <a:solidFill>
            <a:schemeClr val="bg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FEFFF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1256D3EB-B067-407B-960B-3A4CE68DA001}"/>
              </a:ext>
            </a:extLst>
          </p:cNvPr>
          <p:cNvSpPr/>
          <p:nvPr/>
        </p:nvSpPr>
        <p:spPr>
          <a:xfrm>
            <a:off x="9791700" y="723900"/>
            <a:ext cx="647700" cy="647700"/>
          </a:xfrm>
          <a:prstGeom prst="ellipse">
            <a:avLst/>
          </a:prstGeom>
          <a:solidFill>
            <a:schemeClr val="bg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FEFFF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EBB4F145-C7EB-4A15-BFDD-346314DF7519}"/>
              </a:ext>
            </a:extLst>
          </p:cNvPr>
          <p:cNvSpPr/>
          <p:nvPr/>
        </p:nvSpPr>
        <p:spPr>
          <a:xfrm>
            <a:off x="6962775" y="5429250"/>
            <a:ext cx="257175" cy="257175"/>
          </a:xfrm>
          <a:prstGeom prst="ellipse">
            <a:avLst/>
          </a:prstGeom>
          <a:solidFill>
            <a:schemeClr val="bg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FEFFF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0036258-D7A2-4859-B1FD-30F656A49393}"/>
              </a:ext>
            </a:extLst>
          </p:cNvPr>
          <p:cNvSpPr/>
          <p:nvPr/>
        </p:nvSpPr>
        <p:spPr>
          <a:xfrm>
            <a:off x="11215687" y="2888622"/>
            <a:ext cx="257175" cy="257175"/>
          </a:xfrm>
          <a:prstGeom prst="ellipse">
            <a:avLst/>
          </a:prstGeom>
          <a:solidFill>
            <a:schemeClr val="bg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FEFFF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C1EEDD9-084B-4990-A2A6-2569F426D901}"/>
              </a:ext>
            </a:extLst>
          </p:cNvPr>
          <p:cNvSpPr/>
          <p:nvPr/>
        </p:nvSpPr>
        <p:spPr>
          <a:xfrm>
            <a:off x="-257175" y="3924300"/>
            <a:ext cx="1219200" cy="1219200"/>
          </a:xfrm>
          <a:prstGeom prst="ellipse">
            <a:avLst/>
          </a:prstGeom>
          <a:solidFill>
            <a:schemeClr val="bg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FEFFF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1D4ECF1-73C0-4B6A-88D8-AD738FE3AB51}"/>
              </a:ext>
            </a:extLst>
          </p:cNvPr>
          <p:cNvSpPr/>
          <p:nvPr/>
        </p:nvSpPr>
        <p:spPr>
          <a:xfrm>
            <a:off x="2019300" y="4065484"/>
            <a:ext cx="257175" cy="257175"/>
          </a:xfrm>
          <a:prstGeom prst="ellipse">
            <a:avLst/>
          </a:prstGeom>
          <a:solidFill>
            <a:schemeClr val="bg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FEFFF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pic>
        <p:nvPicPr>
          <p:cNvPr id="20" name="Imagem 19">
            <a:extLst>
              <a:ext uri="{FF2B5EF4-FFF2-40B4-BE49-F238E27FC236}">
                <a16:creationId xmlns:a16="http://schemas.microsoft.com/office/drawing/2014/main" id="{CA8F8F6B-A1CD-8947-BF22-368AFB3C5F5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15687" y="6077126"/>
            <a:ext cx="671422" cy="581437"/>
          </a:xfrm>
          <a:prstGeom prst="rect">
            <a:avLst/>
          </a:prstGeom>
        </p:spPr>
      </p:pic>
      <p:sp>
        <p:nvSpPr>
          <p:cNvPr id="19" name="Rectangle: Rounded Corners 5">
            <a:extLst>
              <a:ext uri="{FF2B5EF4-FFF2-40B4-BE49-F238E27FC236}">
                <a16:creationId xmlns:a16="http://schemas.microsoft.com/office/drawing/2014/main" id="{FD736746-298B-D242-B935-7957252A79CE}"/>
              </a:ext>
            </a:extLst>
          </p:cNvPr>
          <p:cNvSpPr/>
          <p:nvPr/>
        </p:nvSpPr>
        <p:spPr>
          <a:xfrm>
            <a:off x="719138" y="913540"/>
            <a:ext cx="11028362" cy="5095024"/>
          </a:xfrm>
          <a:prstGeom prst="roundRect">
            <a:avLst>
              <a:gd name="adj" fmla="val 7292"/>
            </a:avLst>
          </a:prstGeom>
          <a:solidFill>
            <a:schemeClr val="bg2"/>
          </a:solidFill>
          <a:ln>
            <a:noFill/>
          </a:ln>
          <a:effectLst>
            <a:outerShdw blurRad="495300" dist="257441" dir="3000000" sx="97000" sy="97000" algn="ctr" rotWithShape="0">
              <a:prstClr val="black">
                <a:alpha val="1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2400" b="0" i="0" u="none" strike="noStrike" kern="1200" cap="none" spc="0" normalizeH="0" baseline="0" noProof="0">
              <a:ln>
                <a:noFill/>
              </a:ln>
              <a:solidFill>
                <a:srgbClr val="FEFFF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pic>
        <p:nvPicPr>
          <p:cNvPr id="4" name="Google Shape;212;p11" descr="EDM0426-242-2021: Cynefin framework e tipologia de situações - problema">
            <a:extLst>
              <a:ext uri="{FF2B5EF4-FFF2-40B4-BE49-F238E27FC236}">
                <a16:creationId xmlns:a16="http://schemas.microsoft.com/office/drawing/2014/main" id="{1A76F4C2-7BB8-9BEF-32BC-C0EFE9434863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 l="1267" t="1863" r="1617" b="2801"/>
          <a:stretch/>
        </p:blipFill>
        <p:spPr>
          <a:xfrm>
            <a:off x="5257800" y="926240"/>
            <a:ext cx="6497638" cy="5082324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Google Shape;211;p11">
            <a:extLst>
              <a:ext uri="{FF2B5EF4-FFF2-40B4-BE49-F238E27FC236}">
                <a16:creationId xmlns:a16="http://schemas.microsoft.com/office/drawing/2014/main" id="{768D6E79-FD85-732E-5323-959BB6C3E59E}"/>
              </a:ext>
            </a:extLst>
          </p:cNvPr>
          <p:cNvSpPr txBox="1"/>
          <p:nvPr/>
        </p:nvSpPr>
        <p:spPr>
          <a:xfrm>
            <a:off x="908454" y="1360480"/>
            <a:ext cx="4146686" cy="3084519"/>
          </a:xfrm>
          <a:prstGeom prst="rect">
            <a:avLst/>
          </a:prstGeom>
        </p:spPr>
        <p:txBody>
          <a:bodyPr spcFirstLastPara="1" vert="horz" lIns="91440" tIns="45720" rIns="91440" bIns="45720" rtlCol="0" anchor="b" anchorCtr="0">
            <a:normAutofit fontScale="85000" lnSpcReduction="10000"/>
          </a:bodyPr>
          <a:lstStyle/>
          <a:p>
            <a:pPr marL="0" marR="0" lvl="0" inden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ts val="2400"/>
            </a:pPr>
            <a:r>
              <a:rPr lang="en-US" sz="4000" i="1" dirty="0" err="1">
                <a:solidFill>
                  <a:srgbClr val="FF6200"/>
                </a:solidFill>
                <a:latin typeface="Montserrat-BoldItalic"/>
                <a:sym typeface="Poppins"/>
              </a:rPr>
              <a:t>Não</a:t>
            </a:r>
            <a:r>
              <a:rPr lang="en-US" sz="4000" i="1" dirty="0">
                <a:solidFill>
                  <a:srgbClr val="FF6200"/>
                </a:solidFill>
                <a:latin typeface="Montserrat-BoldItalic"/>
                <a:sym typeface="Poppins"/>
              </a:rPr>
              <a:t> é para </a:t>
            </a:r>
            <a:r>
              <a:rPr lang="en-US" sz="4000" i="1" dirty="0" err="1">
                <a:solidFill>
                  <a:srgbClr val="FF6200"/>
                </a:solidFill>
                <a:latin typeface="Montserrat-BoldItalic"/>
                <a:sym typeface="Poppins"/>
              </a:rPr>
              <a:t>tudo</a:t>
            </a:r>
            <a:r>
              <a:rPr lang="en-US" sz="4000" i="1" dirty="0">
                <a:solidFill>
                  <a:srgbClr val="FF6200"/>
                </a:solidFill>
                <a:latin typeface="Montserrat-BoldItalic"/>
                <a:sym typeface="Poppins"/>
              </a:rPr>
              <a:t> que </a:t>
            </a:r>
            <a:r>
              <a:rPr lang="en-US" sz="4000" i="1" dirty="0" err="1">
                <a:solidFill>
                  <a:srgbClr val="FF6200"/>
                </a:solidFill>
                <a:latin typeface="Montserrat-BoldItalic"/>
                <a:sym typeface="Poppins"/>
              </a:rPr>
              <a:t>utilizamos</a:t>
            </a:r>
            <a:r>
              <a:rPr lang="en-US" sz="4000" i="1" dirty="0">
                <a:solidFill>
                  <a:srgbClr val="FF6200"/>
                </a:solidFill>
                <a:latin typeface="Montserrat-BoldItalic"/>
                <a:sym typeface="Poppins"/>
              </a:rPr>
              <a:t> o </a:t>
            </a:r>
            <a:r>
              <a:rPr lang="en-US" sz="4000" b="1" i="1" dirty="0">
                <a:solidFill>
                  <a:srgbClr val="FF6200"/>
                </a:solidFill>
                <a:latin typeface="Montserrat-BoldItalic"/>
                <a:sym typeface="Poppins"/>
              </a:rPr>
              <a:t>design thinking</a:t>
            </a:r>
            <a:r>
              <a:rPr lang="en-US" sz="4000" i="1" dirty="0">
                <a:solidFill>
                  <a:srgbClr val="FF6200"/>
                </a:solidFill>
                <a:latin typeface="Montserrat-BoldItalic"/>
                <a:sym typeface="Poppins"/>
              </a:rPr>
              <a:t>...</a:t>
            </a:r>
            <a:endParaRPr lang="en-US" sz="4000" i="1" dirty="0">
              <a:solidFill>
                <a:srgbClr val="FF6200"/>
              </a:solidFill>
              <a:latin typeface="Montserrat-BoldItalic"/>
              <a:sym typeface="Calibri"/>
            </a:endParaRPr>
          </a:p>
        </p:txBody>
      </p:sp>
      <p:sp>
        <p:nvSpPr>
          <p:cNvPr id="16" name="Google Shape;213;p11">
            <a:extLst>
              <a:ext uri="{FF2B5EF4-FFF2-40B4-BE49-F238E27FC236}">
                <a16:creationId xmlns:a16="http://schemas.microsoft.com/office/drawing/2014/main" id="{660D7014-DD14-18D8-7FE5-FF48198A50F8}"/>
              </a:ext>
            </a:extLst>
          </p:cNvPr>
          <p:cNvSpPr/>
          <p:nvPr/>
        </p:nvSpPr>
        <p:spPr>
          <a:xfrm>
            <a:off x="5723623" y="3328193"/>
            <a:ext cx="1656000" cy="396000"/>
          </a:xfrm>
          <a:prstGeom prst="roundRect">
            <a:avLst>
              <a:gd name="adj" fmla="val 16667"/>
            </a:avLst>
          </a:prstGeom>
          <a:solidFill>
            <a:srgbClr val="02F901"/>
          </a:solidFill>
          <a:ln w="12700" cap="flat" cmpd="sng">
            <a:solidFill>
              <a:srgbClr val="8F53F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pt-BR" sz="1400" b="1" i="0" u="none" strike="noStrike" cap="none" dirty="0">
                <a:solidFill>
                  <a:srgbClr val="8F53FF"/>
                </a:solidFill>
                <a:latin typeface="Poppins"/>
                <a:ea typeface="Poppins"/>
                <a:cs typeface="Poppins"/>
                <a:sym typeface="Poppins"/>
              </a:rPr>
              <a:t>Design </a:t>
            </a:r>
            <a:r>
              <a:rPr lang="pt-BR" sz="1400" b="1" i="0" u="none" strike="noStrike" cap="none" dirty="0" err="1">
                <a:solidFill>
                  <a:srgbClr val="8F53FF"/>
                </a:solidFill>
                <a:latin typeface="Poppins"/>
                <a:ea typeface="Poppins"/>
                <a:cs typeface="Poppins"/>
                <a:sym typeface="Poppins"/>
              </a:rPr>
              <a:t>Thinking</a:t>
            </a:r>
            <a:endParaRPr lang="pt-BR" sz="1400" b="1" i="0" u="none" strike="noStrike" cap="none" dirty="0">
              <a:solidFill>
                <a:srgbClr val="8F53FF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</p:spTree>
    <p:extLst>
      <p:ext uri="{BB962C8B-B14F-4D97-AF65-F5344CB8AC3E}">
        <p14:creationId xmlns:p14="http://schemas.microsoft.com/office/powerpoint/2010/main" val="19704312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F37481F4-69BB-8556-0E61-DC8EDF7E68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140" t="34259" r="11423" b="25000"/>
          <a:stretch/>
        </p:blipFill>
        <p:spPr>
          <a:xfrm>
            <a:off x="204883" y="1752600"/>
            <a:ext cx="11808000" cy="3359172"/>
          </a:xfrm>
          <a:prstGeom prst="rect">
            <a:avLst/>
          </a:prstGeom>
        </p:spPr>
      </p:pic>
      <p:sp>
        <p:nvSpPr>
          <p:cNvPr id="7" name="Google Shape;181;p7">
            <a:extLst>
              <a:ext uri="{FF2B5EF4-FFF2-40B4-BE49-F238E27FC236}">
                <a16:creationId xmlns:a16="http://schemas.microsoft.com/office/drawing/2014/main" id="{8B911DDB-0AD4-01A8-4A04-A6A9A367A6DA}"/>
              </a:ext>
            </a:extLst>
          </p:cNvPr>
          <p:cNvSpPr txBox="1"/>
          <p:nvPr/>
        </p:nvSpPr>
        <p:spPr>
          <a:xfrm>
            <a:off x="482600" y="496591"/>
            <a:ext cx="10693400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defPPr>
              <a:defRPr lang="pt-BR"/>
            </a:defPPr>
            <a:lvl1pPr marR="0"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1">
                <a:solidFill>
                  <a:srgbClr val="8F53FF"/>
                </a:solidFill>
                <a:latin typeface="Poppins"/>
                <a:ea typeface="Calibri"/>
                <a:cs typeface="Poppins"/>
              </a:defRPr>
            </a:lvl1pPr>
          </a:lstStyle>
          <a:p>
            <a:r>
              <a:rPr lang="pt-BR" dirty="0">
                <a:sym typeface="Poppins"/>
              </a:rPr>
              <a:t>Vocês já tinham visto isso </a:t>
            </a:r>
            <a:r>
              <a:rPr lang="pt-BR" dirty="0" err="1">
                <a:sym typeface="Poppins"/>
              </a:rPr>
              <a:t>tangibilizado</a:t>
            </a:r>
            <a:r>
              <a:rPr lang="pt-BR" dirty="0">
                <a:sym typeface="Poppins"/>
              </a:rPr>
              <a:t>?</a:t>
            </a:r>
            <a:endParaRPr dirty="0">
              <a:sym typeface="Calibri"/>
            </a:endParaRP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30F8EDA7-0FA5-9D4C-27FC-AD10A1A02E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4874" y="5715118"/>
            <a:ext cx="586148" cy="586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Google Shape;181;p7">
            <a:extLst>
              <a:ext uri="{FF2B5EF4-FFF2-40B4-BE49-F238E27FC236}">
                <a16:creationId xmlns:a16="http://schemas.microsoft.com/office/drawing/2014/main" id="{BA064AF9-1650-81BD-638E-9BA9CAF2BC35}"/>
              </a:ext>
            </a:extLst>
          </p:cNvPr>
          <p:cNvSpPr txBox="1"/>
          <p:nvPr/>
        </p:nvSpPr>
        <p:spPr>
          <a:xfrm>
            <a:off x="673100" y="5823547"/>
            <a:ext cx="6096000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pt-BR" b="1" dirty="0">
                <a:solidFill>
                  <a:srgbClr val="FF6200"/>
                </a:solidFill>
                <a:latin typeface="Poppins"/>
                <a:ea typeface="Calibri"/>
                <a:cs typeface="Poppins"/>
                <a:sym typeface="Poppins"/>
              </a:rPr>
              <a:t>Estudo com dados </a:t>
            </a:r>
            <a:endParaRPr b="0" i="0" u="none" strike="noStrike" cap="none" dirty="0">
              <a:solidFill>
                <a:srgbClr val="FF62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5957051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oogle Shape;178;p7" descr="Nazare GIFs | Tenor">
            <a:extLst>
              <a:ext uri="{FF2B5EF4-FFF2-40B4-BE49-F238E27FC236}">
                <a16:creationId xmlns:a16="http://schemas.microsoft.com/office/drawing/2014/main" id="{0A40CFB8-1C5C-7806-1202-B9C65ADC110B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311900" y="1809750"/>
            <a:ext cx="5715000" cy="372745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Google Shape;179;p7">
            <a:extLst>
              <a:ext uri="{FF2B5EF4-FFF2-40B4-BE49-F238E27FC236}">
                <a16:creationId xmlns:a16="http://schemas.microsoft.com/office/drawing/2014/main" id="{A0CF23F5-157B-B2E9-63B7-A7B9A49D3FA6}"/>
              </a:ext>
            </a:extLst>
          </p:cNvPr>
          <p:cNvSpPr txBox="1"/>
          <p:nvPr/>
        </p:nvSpPr>
        <p:spPr>
          <a:xfrm>
            <a:off x="768928" y="2466125"/>
            <a:ext cx="4933372" cy="19257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AC401"/>
              </a:buClr>
              <a:buSzPts val="4400"/>
              <a:buFont typeface="Poppins"/>
              <a:buNone/>
            </a:pPr>
            <a:r>
              <a:rPr lang="pt-BR" sz="4400" b="1" dirty="0">
                <a:solidFill>
                  <a:srgbClr val="FF6200"/>
                </a:solidFill>
                <a:latin typeface="Poppins"/>
                <a:ea typeface="Arial"/>
                <a:cs typeface="Poppins"/>
                <a:sym typeface="Poppins"/>
              </a:rPr>
              <a:t>E o exemplo hein?!</a:t>
            </a:r>
            <a:endParaRPr sz="1400" b="0" i="0" u="none" strike="noStrike" cap="none" dirty="0">
              <a:solidFill>
                <a:srgbClr val="FF62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181;p7">
            <a:extLst>
              <a:ext uri="{FF2B5EF4-FFF2-40B4-BE49-F238E27FC236}">
                <a16:creationId xmlns:a16="http://schemas.microsoft.com/office/drawing/2014/main" id="{9F6B5F56-6FF5-222E-2A21-8D2B5B20092F}"/>
              </a:ext>
            </a:extLst>
          </p:cNvPr>
          <p:cNvSpPr txBox="1"/>
          <p:nvPr/>
        </p:nvSpPr>
        <p:spPr>
          <a:xfrm>
            <a:off x="482600" y="310634"/>
            <a:ext cx="6096000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rgbClr val="8F53FF"/>
                </a:solidFill>
                <a:latin typeface="Poppins"/>
                <a:ea typeface="Poppins"/>
                <a:cs typeface="Poppins"/>
                <a:sym typeface="Poppins"/>
              </a:rPr>
              <a:t>Momento reflexão...</a:t>
            </a:r>
            <a:endParaRPr sz="24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864116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71AF5DCD-B02D-F651-9CC5-CDF33B18AEF8}"/>
              </a:ext>
            </a:extLst>
          </p:cNvPr>
          <p:cNvSpPr/>
          <p:nvPr/>
        </p:nvSpPr>
        <p:spPr>
          <a:xfrm>
            <a:off x="0" y="0"/>
            <a:ext cx="306474" cy="6858000"/>
          </a:xfrm>
          <a:prstGeom prst="rect">
            <a:avLst/>
          </a:prstGeom>
          <a:gradFill flip="none" rotWithShape="1">
            <a:gsLst>
              <a:gs pos="0">
                <a:srgbClr val="FF7500"/>
              </a:gs>
              <a:gs pos="100000">
                <a:srgbClr val="FD9D00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11">
              <a:defRPr/>
            </a:pPr>
            <a:endParaRPr lang="pt-BR" sz="1801">
              <a:solidFill>
                <a:srgbClr val="1D4080"/>
              </a:solidFill>
              <a:latin typeface="Itau Display"/>
            </a:endParaRPr>
          </a:p>
        </p:txBody>
      </p:sp>
      <p:pic>
        <p:nvPicPr>
          <p:cNvPr id="5" name="Imagem 4" descr="Homem deitado na cama&#10;&#10;Descrição gerada automaticamente">
            <a:extLst>
              <a:ext uri="{FF2B5EF4-FFF2-40B4-BE49-F238E27FC236}">
                <a16:creationId xmlns:a16="http://schemas.microsoft.com/office/drawing/2014/main" id="{F40DC439-6B4F-D316-BFC8-D3EC6E344EB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26" b="49876"/>
          <a:stretch/>
        </p:blipFill>
        <p:spPr>
          <a:xfrm>
            <a:off x="0" y="0"/>
            <a:ext cx="12337972" cy="6858000"/>
          </a:xfrm>
          <a:prstGeom prst="rect">
            <a:avLst/>
          </a:prstGeom>
        </p:spPr>
      </p:pic>
      <p:sp>
        <p:nvSpPr>
          <p:cNvPr id="3" name="Retângulo 2">
            <a:extLst>
              <a:ext uri="{FF2B5EF4-FFF2-40B4-BE49-F238E27FC236}">
                <a16:creationId xmlns:a16="http://schemas.microsoft.com/office/drawing/2014/main" id="{50B8D23E-0ABF-96A1-BA7C-38EC6CCC96E0}"/>
              </a:ext>
            </a:extLst>
          </p:cNvPr>
          <p:cNvSpPr/>
          <p:nvPr/>
        </p:nvSpPr>
        <p:spPr>
          <a:xfrm flipH="1">
            <a:off x="0" y="0"/>
            <a:ext cx="12337972" cy="6858000"/>
          </a:xfrm>
          <a:prstGeom prst="rect">
            <a:avLst/>
          </a:prstGeom>
          <a:gradFill flip="none" rotWithShape="1">
            <a:gsLst>
              <a:gs pos="0">
                <a:srgbClr val="FF7500"/>
              </a:gs>
              <a:gs pos="100000">
                <a:srgbClr val="FD9D00">
                  <a:alpha val="70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br>
              <a:rPr lang="pt-BR" dirty="0">
                <a:solidFill>
                  <a:schemeClr val="bg1"/>
                </a:solidFill>
                <a:latin typeface="Itau Display Heavy" panose="020B0803020204020204" pitchFamily="34" charset="0"/>
                <a:cs typeface="Itau Display Heavy" panose="020B0803020204020204" pitchFamily="34" charset="0"/>
              </a:rPr>
            </a:br>
            <a:r>
              <a:rPr lang="pt-BR" sz="6600" dirty="0">
                <a:latin typeface="Itau Display Heavy" panose="020B0803020204020204" pitchFamily="34" charset="0"/>
                <a:cs typeface="Itau Display Heavy" panose="020B0803020204020204" pitchFamily="34" charset="0"/>
              </a:rPr>
              <a:t>Case Itaú</a:t>
            </a:r>
            <a:endParaRPr lang="pt-BR" dirty="0">
              <a:solidFill>
                <a:schemeClr val="bg1"/>
              </a:solidFill>
              <a:latin typeface="Itau Display Heavy" panose="020B0803020204020204" pitchFamily="34" charset="0"/>
              <a:cs typeface="Itau Display Heavy" panose="020B0803020204020204" pitchFamily="34" charset="0"/>
            </a:endParaRPr>
          </a:p>
          <a:p>
            <a:pPr algn="ctr"/>
            <a:r>
              <a:rPr lang="pt-BR" sz="2000" dirty="0">
                <a:latin typeface="Poppins" panose="00000500000000000000" pitchFamily="2" charset="0"/>
                <a:cs typeface="Poppins" panose="00000500000000000000" pitchFamily="2" charset="0"/>
              </a:rPr>
              <a:t>Experiência do cliente na captura e recuperação de conteúdos</a:t>
            </a:r>
            <a:endParaRPr kumimoji="0" lang="pt-BR" sz="2000" b="0" i="0" u="none" strike="noStrike" kern="1200" cap="none" spc="0" normalizeH="0" baseline="0" noProof="0" dirty="0">
              <a:ln>
                <a:noFill/>
              </a:ln>
              <a:solidFill>
                <a:srgbClr val="1D408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8377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1" name="Gráfico 100">
            <a:extLst>
              <a:ext uri="{FF2B5EF4-FFF2-40B4-BE49-F238E27FC236}">
                <a16:creationId xmlns:a16="http://schemas.microsoft.com/office/drawing/2014/main" id="{A864EB82-FD67-742B-DE0D-A9A386E866C2}"/>
              </a:ext>
            </a:extLst>
          </p:cNvPr>
          <p:cNvGraphicFramePr/>
          <p:nvPr/>
        </p:nvGraphicFramePr>
        <p:xfrm>
          <a:off x="4076700" y="4174512"/>
          <a:ext cx="3801254" cy="13535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7" name="Gráfico 96">
            <a:extLst>
              <a:ext uri="{FF2B5EF4-FFF2-40B4-BE49-F238E27FC236}">
                <a16:creationId xmlns:a16="http://schemas.microsoft.com/office/drawing/2014/main" id="{FD7608DB-BDF6-40BF-EC18-CB26639FF3B4}"/>
              </a:ext>
            </a:extLst>
          </p:cNvPr>
          <p:cNvGraphicFramePr/>
          <p:nvPr/>
        </p:nvGraphicFramePr>
        <p:xfrm>
          <a:off x="4076700" y="5473340"/>
          <a:ext cx="3928902" cy="13402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9" name="Gráfico 98">
            <a:extLst>
              <a:ext uri="{FF2B5EF4-FFF2-40B4-BE49-F238E27FC236}">
                <a16:creationId xmlns:a16="http://schemas.microsoft.com/office/drawing/2014/main" id="{D787DAD6-46A2-D1E7-7C0B-C745E24CDF15}"/>
              </a:ext>
            </a:extLst>
          </p:cNvPr>
          <p:cNvGraphicFramePr/>
          <p:nvPr/>
        </p:nvGraphicFramePr>
        <p:xfrm>
          <a:off x="8339311" y="5625868"/>
          <a:ext cx="3104261" cy="11877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6744CA5B-0C7B-4F36-B26D-F683376970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6700" y="274091"/>
            <a:ext cx="8054090" cy="564265"/>
          </a:xfrm>
        </p:spPr>
        <p:txBody>
          <a:bodyPr>
            <a:normAutofit/>
          </a:bodyPr>
          <a:lstStyle/>
          <a:p>
            <a:r>
              <a:rPr lang="pt-BR" sz="2000"/>
              <a:t>_clientes PF</a:t>
            </a:r>
          </a:p>
        </p:txBody>
      </p:sp>
      <p:sp>
        <p:nvSpPr>
          <p:cNvPr id="9" name="Retângulo: Cantos Arredondados 8">
            <a:extLst>
              <a:ext uri="{FF2B5EF4-FFF2-40B4-BE49-F238E27FC236}">
                <a16:creationId xmlns:a16="http://schemas.microsoft.com/office/drawing/2014/main" id="{C879B301-E552-4897-8BF6-92066CD7A64D}"/>
              </a:ext>
            </a:extLst>
          </p:cNvPr>
          <p:cNvSpPr/>
          <p:nvPr/>
        </p:nvSpPr>
        <p:spPr>
          <a:xfrm>
            <a:off x="103238" y="2108938"/>
            <a:ext cx="1595532" cy="952657"/>
          </a:xfrm>
          <a:prstGeom prst="roundRect">
            <a:avLst/>
          </a:prstGeom>
          <a:gradFill>
            <a:gsLst>
              <a:gs pos="100000">
                <a:srgbClr val="FF6600"/>
              </a:gs>
              <a:gs pos="0">
                <a:srgbClr val="FFA600"/>
              </a:gs>
            </a:gsLst>
            <a:lin ang="1800000" scaled="0"/>
          </a:gradFill>
          <a:ln w="38100" cap="flat" cmpd="sng" algn="ctr">
            <a:solidFill>
              <a:srgbClr val="FFFFFF"/>
            </a:solidFill>
            <a:prstDash val="solid"/>
            <a:miter lim="800000"/>
          </a:ln>
          <a:effectLst>
            <a:outerShdw blurRad="50800" dist="38100" dir="2700000" algn="tl" rotWithShape="0">
              <a:schemeClr val="accent2">
                <a:lumMod val="50000"/>
                <a:alpha val="60000"/>
              </a:scheme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ctr" defTabSz="932973" rtl="0" eaLnBrk="1" fontAlgn="base" latinLnBrk="0" hangingPunct="1">
              <a:lnSpc>
                <a:spcPct val="100000"/>
              </a:lnSpc>
              <a:spcBef>
                <a:spcPts val="1225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 Pro App XBold" panose="020B0803020204020204" pitchFamily="34" charset="0"/>
                <a:ea typeface="+mn-ea"/>
                <a:cs typeface="Itau Display Pro App XBold" panose="020B0803020204020204" pitchFamily="34" charset="0"/>
              </a:rPr>
              <a:t>+67MM</a:t>
            </a:r>
            <a:r>
              <a:rPr kumimoji="0" lang="pt-BR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 Pro App XBold" panose="020B0803020204020204" pitchFamily="34" charset="0"/>
                <a:ea typeface="+mn-ea"/>
                <a:cs typeface="Itau Display Pro App XBold" panose="020B0803020204020204" pitchFamily="34" charset="0"/>
              </a:rPr>
              <a:t> </a:t>
            </a:r>
          </a:p>
          <a:p>
            <a:pPr marL="0" marR="0" lvl="1" indent="0" algn="ctr" defTabSz="932973" rtl="0" eaLnBrk="1" fontAlgn="base" latinLnBrk="0" hangingPunct="1">
              <a:lnSpc>
                <a:spcPct val="100000"/>
              </a:lnSpc>
              <a:spcBef>
                <a:spcPts val="1225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 Pro App XBold" panose="020B0803020204020204" pitchFamily="34" charset="0"/>
                <a:ea typeface="+mn-ea"/>
                <a:cs typeface="Itau Display Pro App XBold" panose="020B0803020204020204" pitchFamily="34" charset="0"/>
              </a:rPr>
              <a:t>clientes PF</a:t>
            </a:r>
          </a:p>
        </p:txBody>
      </p:sp>
      <p:sp>
        <p:nvSpPr>
          <p:cNvPr id="3" name="Retângulo: Cantos Arredondados 2">
            <a:extLst>
              <a:ext uri="{FF2B5EF4-FFF2-40B4-BE49-F238E27FC236}">
                <a16:creationId xmlns:a16="http://schemas.microsoft.com/office/drawing/2014/main" id="{48660BE0-21F4-8C36-0BAC-05CF6895255C}"/>
              </a:ext>
            </a:extLst>
          </p:cNvPr>
          <p:cNvSpPr/>
          <p:nvPr/>
        </p:nvSpPr>
        <p:spPr>
          <a:xfrm>
            <a:off x="1808994" y="2110329"/>
            <a:ext cx="1595532" cy="952657"/>
          </a:xfrm>
          <a:prstGeom prst="roundRect">
            <a:avLst/>
          </a:prstGeom>
          <a:gradFill>
            <a:gsLst>
              <a:gs pos="100000">
                <a:srgbClr val="114585"/>
              </a:gs>
              <a:gs pos="0">
                <a:srgbClr val="0070C0"/>
              </a:gs>
            </a:gsLst>
            <a:lin ang="1800000" scaled="0"/>
          </a:gradFill>
          <a:ln w="38100" cap="flat" cmpd="sng" algn="ctr">
            <a:solidFill>
              <a:srgbClr val="FFFFFF"/>
            </a:solidFill>
            <a:prstDash val="solid"/>
            <a:miter lim="800000"/>
          </a:ln>
          <a:effectLst>
            <a:outerShdw blurRad="50800" dist="38100" dir="2700000" algn="tl" rotWithShape="0">
              <a:schemeClr val="accent2">
                <a:lumMod val="50000"/>
                <a:alpha val="60000"/>
              </a:scheme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ctr" defTabSz="932973" rtl="0" eaLnBrk="1" fontAlgn="base" latinLnBrk="0" hangingPunct="1">
              <a:lnSpc>
                <a:spcPct val="100000"/>
              </a:lnSpc>
              <a:spcBef>
                <a:spcPts val="1225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 Pro App XBold" panose="020B0803020204020204" pitchFamily="34" charset="0"/>
                <a:ea typeface="+mn-ea"/>
                <a:cs typeface="Itau Display Pro App XBold" panose="020B0803020204020204" pitchFamily="34" charset="0"/>
              </a:rPr>
              <a:t>+2MM</a:t>
            </a:r>
            <a:r>
              <a:rPr kumimoji="0" lang="pt-BR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 Pro App XBold" panose="020B0803020204020204" pitchFamily="34" charset="0"/>
                <a:ea typeface="+mn-ea"/>
                <a:cs typeface="Itau Display Pro App XBold" panose="020B0803020204020204" pitchFamily="34" charset="0"/>
              </a:rPr>
              <a:t> </a:t>
            </a:r>
          </a:p>
          <a:p>
            <a:pPr marL="0" marR="0" lvl="1" indent="0" algn="ctr" defTabSz="932973" rtl="0" eaLnBrk="1" fontAlgn="base" latinLnBrk="0" hangingPunct="1">
              <a:lnSpc>
                <a:spcPct val="100000"/>
              </a:lnSpc>
              <a:spcBef>
                <a:spcPts val="1225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 Pro App XBold" panose="020B0803020204020204" pitchFamily="34" charset="0"/>
                <a:ea typeface="+mn-ea"/>
                <a:cs typeface="Itau Display Pro App XBold" panose="020B0803020204020204" pitchFamily="34" charset="0"/>
              </a:rPr>
              <a:t>clientes PJ</a:t>
            </a:r>
          </a:p>
        </p:txBody>
      </p:sp>
      <p:sp>
        <p:nvSpPr>
          <p:cNvPr id="4" name="Elipse 3">
            <a:extLst>
              <a:ext uri="{FF2B5EF4-FFF2-40B4-BE49-F238E27FC236}">
                <a16:creationId xmlns:a16="http://schemas.microsoft.com/office/drawing/2014/main" id="{41CCA0B8-8ACB-18E9-D750-25C800E9E91A}"/>
              </a:ext>
            </a:extLst>
          </p:cNvPr>
          <p:cNvSpPr/>
          <p:nvPr/>
        </p:nvSpPr>
        <p:spPr>
          <a:xfrm>
            <a:off x="-949070" y="5585012"/>
            <a:ext cx="3520373" cy="882629"/>
          </a:xfrm>
          <a:prstGeom prst="ellipse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1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5" name="Agrupar 4">
            <a:extLst>
              <a:ext uri="{FF2B5EF4-FFF2-40B4-BE49-F238E27FC236}">
                <a16:creationId xmlns:a16="http://schemas.microsoft.com/office/drawing/2014/main" id="{F8467F57-DDA3-924A-97DB-34FF646263AB}"/>
              </a:ext>
            </a:extLst>
          </p:cNvPr>
          <p:cNvGrpSpPr>
            <a:grpSpLocks noChangeAspect="1"/>
          </p:cNvGrpSpPr>
          <p:nvPr/>
        </p:nvGrpSpPr>
        <p:grpSpPr>
          <a:xfrm>
            <a:off x="492469" y="3267021"/>
            <a:ext cx="2236663" cy="2761868"/>
            <a:chOff x="4163529" y="972975"/>
            <a:chExt cx="4337326" cy="5355804"/>
          </a:xfrm>
        </p:grpSpPr>
        <p:grpSp>
          <p:nvGrpSpPr>
            <p:cNvPr id="6" name="Gráfico 19">
              <a:extLst>
                <a:ext uri="{FF2B5EF4-FFF2-40B4-BE49-F238E27FC236}">
                  <a16:creationId xmlns:a16="http://schemas.microsoft.com/office/drawing/2014/main" id="{7AB8AD67-2183-3948-1FE3-5F8C4A23C79B}"/>
                </a:ext>
              </a:extLst>
            </p:cNvPr>
            <p:cNvGrpSpPr/>
            <p:nvPr/>
          </p:nvGrpSpPr>
          <p:grpSpPr>
            <a:xfrm>
              <a:off x="4163529" y="972975"/>
              <a:ext cx="4337326" cy="5302350"/>
              <a:chOff x="6035969" y="1065245"/>
              <a:chExt cx="987098" cy="1206721"/>
            </a:xfrm>
          </p:grpSpPr>
          <p:grpSp>
            <p:nvGrpSpPr>
              <p:cNvPr id="49" name="Gráfico 19">
                <a:extLst>
                  <a:ext uri="{FF2B5EF4-FFF2-40B4-BE49-F238E27FC236}">
                    <a16:creationId xmlns:a16="http://schemas.microsoft.com/office/drawing/2014/main" id="{D9B8B97D-2A98-710C-FF02-9D16E2C7324B}"/>
                  </a:ext>
                </a:extLst>
              </p:cNvPr>
              <p:cNvGrpSpPr/>
              <p:nvPr/>
            </p:nvGrpSpPr>
            <p:grpSpPr>
              <a:xfrm>
                <a:off x="6375741" y="1065245"/>
                <a:ext cx="460287" cy="876395"/>
                <a:chOff x="6375741" y="1065245"/>
                <a:chExt cx="460287" cy="876395"/>
              </a:xfrm>
            </p:grpSpPr>
            <p:sp>
              <p:nvSpPr>
                <p:cNvPr id="58" name="Forma Livre: Forma 57">
                  <a:extLst>
                    <a:ext uri="{FF2B5EF4-FFF2-40B4-BE49-F238E27FC236}">
                      <a16:creationId xmlns:a16="http://schemas.microsoft.com/office/drawing/2014/main" id="{32369C4D-AB2D-3743-5F3A-7A650A0D23AD}"/>
                    </a:ext>
                  </a:extLst>
                </p:cNvPr>
                <p:cNvSpPr/>
                <p:nvPr/>
              </p:nvSpPr>
              <p:spPr>
                <a:xfrm>
                  <a:off x="6375741" y="1069816"/>
                  <a:ext cx="456886" cy="861631"/>
                </a:xfrm>
                <a:custGeom>
                  <a:avLst/>
                  <a:gdLst>
                    <a:gd name="connsiteX0" fmla="*/ 325 w 456886"/>
                    <a:gd name="connsiteY0" fmla="*/ 603695 h 861631"/>
                    <a:gd name="connsiteX1" fmla="*/ 248356 w 456886"/>
                    <a:gd name="connsiteY1" fmla="*/ 0 h 861631"/>
                    <a:gd name="connsiteX2" fmla="*/ 420949 w 456886"/>
                    <a:gd name="connsiteY2" fmla="*/ 581501 h 861631"/>
                    <a:gd name="connsiteX3" fmla="*/ 152630 w 456886"/>
                    <a:gd name="connsiteY3" fmla="*/ 861632 h 861631"/>
                    <a:gd name="connsiteX4" fmla="*/ 325 w 456886"/>
                    <a:gd name="connsiteY4" fmla="*/ 603695 h 861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56886" h="861631">
                      <a:moveTo>
                        <a:pt x="325" y="603695"/>
                      </a:moveTo>
                      <a:cubicBezTo>
                        <a:pt x="325" y="603695"/>
                        <a:pt x="-19392" y="160592"/>
                        <a:pt x="248356" y="0"/>
                      </a:cubicBezTo>
                      <a:cubicBezTo>
                        <a:pt x="574016" y="186690"/>
                        <a:pt x="420949" y="581501"/>
                        <a:pt x="420949" y="581501"/>
                      </a:cubicBezTo>
                      <a:lnTo>
                        <a:pt x="152630" y="861632"/>
                      </a:lnTo>
                      <a:lnTo>
                        <a:pt x="325" y="603695"/>
                      </a:lnTo>
                      <a:close/>
                    </a:path>
                  </a:pathLst>
                </a:custGeom>
                <a:solidFill>
                  <a:srgbClr val="0070C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9" name="Forma Livre: Forma 58">
                  <a:extLst>
                    <a:ext uri="{FF2B5EF4-FFF2-40B4-BE49-F238E27FC236}">
                      <a16:creationId xmlns:a16="http://schemas.microsoft.com/office/drawing/2014/main" id="{65DE575D-1BEB-2534-47D0-F7DC986570D7}"/>
                    </a:ext>
                  </a:extLst>
                </p:cNvPr>
                <p:cNvSpPr/>
                <p:nvPr/>
              </p:nvSpPr>
              <p:spPr>
                <a:xfrm>
                  <a:off x="6416738" y="1065245"/>
                  <a:ext cx="419290" cy="876395"/>
                </a:xfrm>
                <a:custGeom>
                  <a:avLst/>
                  <a:gdLst>
                    <a:gd name="connsiteX0" fmla="*/ 419291 w 419290"/>
                    <a:gd name="connsiteY0" fmla="*/ 415195 h 876395"/>
                    <a:gd name="connsiteX1" fmla="*/ 145828 w 419290"/>
                    <a:gd name="connsiteY1" fmla="*/ 594170 h 876395"/>
                    <a:gd name="connsiteX2" fmla="*/ 185738 w 419290"/>
                    <a:gd name="connsiteY2" fmla="*/ 235172 h 876395"/>
                    <a:gd name="connsiteX3" fmla="*/ 342424 w 419290"/>
                    <a:gd name="connsiteY3" fmla="*/ 125349 h 876395"/>
                    <a:gd name="connsiteX4" fmla="*/ 336804 w 419290"/>
                    <a:gd name="connsiteY4" fmla="*/ 117348 h 876395"/>
                    <a:gd name="connsiteX5" fmla="*/ 187166 w 419290"/>
                    <a:gd name="connsiteY5" fmla="*/ 222314 h 876395"/>
                    <a:gd name="connsiteX6" fmla="*/ 211836 w 419290"/>
                    <a:gd name="connsiteY6" fmla="*/ 0 h 876395"/>
                    <a:gd name="connsiteX7" fmla="*/ 201644 w 419290"/>
                    <a:gd name="connsiteY7" fmla="*/ 3524 h 876395"/>
                    <a:gd name="connsiteX8" fmla="*/ 156400 w 419290"/>
                    <a:gd name="connsiteY8" fmla="*/ 410718 h 876395"/>
                    <a:gd name="connsiteX9" fmla="*/ 286 w 419290"/>
                    <a:gd name="connsiteY9" fmla="*/ 281750 h 876395"/>
                    <a:gd name="connsiteX10" fmla="*/ 0 w 419290"/>
                    <a:gd name="connsiteY10" fmla="*/ 294227 h 876395"/>
                    <a:gd name="connsiteX11" fmla="*/ 155067 w 419290"/>
                    <a:gd name="connsiteY11" fmla="*/ 422339 h 876395"/>
                    <a:gd name="connsiteX12" fmla="*/ 104775 w 419290"/>
                    <a:gd name="connsiteY12" fmla="*/ 875348 h 876395"/>
                    <a:gd name="connsiteX13" fmla="*/ 114490 w 419290"/>
                    <a:gd name="connsiteY13" fmla="*/ 876395 h 876395"/>
                    <a:gd name="connsiteX14" fmla="*/ 144399 w 419290"/>
                    <a:gd name="connsiteY14" fmla="*/ 606743 h 876395"/>
                    <a:gd name="connsiteX15" fmla="*/ 416528 w 419290"/>
                    <a:gd name="connsiteY15" fmla="*/ 428720 h 8763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419290" h="876395">
                      <a:moveTo>
                        <a:pt x="419291" y="415195"/>
                      </a:moveTo>
                      <a:lnTo>
                        <a:pt x="145828" y="594170"/>
                      </a:lnTo>
                      <a:lnTo>
                        <a:pt x="185738" y="235172"/>
                      </a:lnTo>
                      <a:lnTo>
                        <a:pt x="342424" y="125349"/>
                      </a:lnTo>
                      <a:lnTo>
                        <a:pt x="336804" y="117348"/>
                      </a:lnTo>
                      <a:lnTo>
                        <a:pt x="187166" y="222314"/>
                      </a:lnTo>
                      <a:lnTo>
                        <a:pt x="211836" y="0"/>
                      </a:lnTo>
                      <a:lnTo>
                        <a:pt x="201644" y="3524"/>
                      </a:lnTo>
                      <a:lnTo>
                        <a:pt x="156400" y="410718"/>
                      </a:lnTo>
                      <a:lnTo>
                        <a:pt x="286" y="281750"/>
                      </a:lnTo>
                      <a:lnTo>
                        <a:pt x="0" y="294227"/>
                      </a:lnTo>
                      <a:lnTo>
                        <a:pt x="155067" y="422339"/>
                      </a:lnTo>
                      <a:lnTo>
                        <a:pt x="104775" y="875348"/>
                      </a:lnTo>
                      <a:lnTo>
                        <a:pt x="114490" y="876395"/>
                      </a:lnTo>
                      <a:lnTo>
                        <a:pt x="144399" y="606743"/>
                      </a:lnTo>
                      <a:lnTo>
                        <a:pt x="416528" y="428720"/>
                      </a:ln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50" name="Gráfico 19">
                <a:extLst>
                  <a:ext uri="{FF2B5EF4-FFF2-40B4-BE49-F238E27FC236}">
                    <a16:creationId xmlns:a16="http://schemas.microsoft.com/office/drawing/2014/main" id="{A5383D7D-1902-3341-726F-7A92968E164C}"/>
                  </a:ext>
                </a:extLst>
              </p:cNvPr>
              <p:cNvGrpSpPr/>
              <p:nvPr/>
            </p:nvGrpSpPr>
            <p:grpSpPr>
              <a:xfrm>
                <a:off x="6035969" y="1257525"/>
                <a:ext cx="987098" cy="1014441"/>
                <a:chOff x="6035969" y="1257525"/>
                <a:chExt cx="987098" cy="1014441"/>
              </a:xfrm>
            </p:grpSpPr>
            <p:sp>
              <p:nvSpPr>
                <p:cNvPr id="51" name="Forma Livre: Forma 50">
                  <a:extLst>
                    <a:ext uri="{FF2B5EF4-FFF2-40B4-BE49-F238E27FC236}">
                      <a16:creationId xmlns:a16="http://schemas.microsoft.com/office/drawing/2014/main" id="{688B58D8-DC03-0B86-31FC-168C6B41341D}"/>
                    </a:ext>
                  </a:extLst>
                </p:cNvPr>
                <p:cNvSpPr/>
                <p:nvPr/>
              </p:nvSpPr>
              <p:spPr>
                <a:xfrm>
                  <a:off x="6546469" y="1533556"/>
                  <a:ext cx="476598" cy="738410"/>
                </a:xfrm>
                <a:custGeom>
                  <a:avLst/>
                  <a:gdLst>
                    <a:gd name="connsiteX0" fmla="*/ 0 w 476598"/>
                    <a:gd name="connsiteY0" fmla="*/ 266447 h 738410"/>
                    <a:gd name="connsiteX1" fmla="*/ 444341 w 476598"/>
                    <a:gd name="connsiteY1" fmla="*/ 5462 h 738410"/>
                    <a:gd name="connsiteX2" fmla="*/ 25432 w 476598"/>
                    <a:gd name="connsiteY2" fmla="*/ 738410 h 738410"/>
                    <a:gd name="connsiteX3" fmla="*/ 0 w 476598"/>
                    <a:gd name="connsiteY3" fmla="*/ 266447 h 7384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6598" h="738410">
                      <a:moveTo>
                        <a:pt x="0" y="266447"/>
                      </a:moveTo>
                      <a:cubicBezTo>
                        <a:pt x="0" y="266447"/>
                        <a:pt x="200787" y="-44640"/>
                        <a:pt x="444341" y="5462"/>
                      </a:cubicBezTo>
                      <a:cubicBezTo>
                        <a:pt x="619315" y="482093"/>
                        <a:pt x="25432" y="738410"/>
                        <a:pt x="25432" y="738410"/>
                      </a:cubicBezTo>
                      <a:lnTo>
                        <a:pt x="0" y="266447"/>
                      </a:lnTo>
                      <a:close/>
                    </a:path>
                  </a:pathLst>
                </a:custGeom>
                <a:solidFill>
                  <a:srgbClr val="FFD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52" name="Gráfico 19">
                  <a:extLst>
                    <a:ext uri="{FF2B5EF4-FFF2-40B4-BE49-F238E27FC236}">
                      <a16:creationId xmlns:a16="http://schemas.microsoft.com/office/drawing/2014/main" id="{869B1BAC-A148-9BB3-A966-188FB7F4D70A}"/>
                    </a:ext>
                  </a:extLst>
                </p:cNvPr>
                <p:cNvGrpSpPr/>
                <p:nvPr/>
              </p:nvGrpSpPr>
              <p:grpSpPr>
                <a:xfrm>
                  <a:off x="6541611" y="1533556"/>
                  <a:ext cx="481456" cy="738410"/>
                  <a:chOff x="6541611" y="1533556"/>
                  <a:chExt cx="481456" cy="738410"/>
                </a:xfrm>
              </p:grpSpPr>
              <p:sp>
                <p:nvSpPr>
                  <p:cNvPr id="56" name="Forma Livre: Forma 55">
                    <a:extLst>
                      <a:ext uri="{FF2B5EF4-FFF2-40B4-BE49-F238E27FC236}">
                        <a16:creationId xmlns:a16="http://schemas.microsoft.com/office/drawing/2014/main" id="{FC6B8F1D-BB9D-3700-8B0B-2F440027F83D}"/>
                      </a:ext>
                    </a:extLst>
                  </p:cNvPr>
                  <p:cNvSpPr/>
                  <p:nvPr/>
                </p:nvSpPr>
                <p:spPr>
                  <a:xfrm>
                    <a:off x="6546469" y="1533556"/>
                    <a:ext cx="476598" cy="738410"/>
                  </a:xfrm>
                  <a:custGeom>
                    <a:avLst/>
                    <a:gdLst>
                      <a:gd name="connsiteX0" fmla="*/ 0 w 476598"/>
                      <a:gd name="connsiteY0" fmla="*/ 266447 h 738410"/>
                      <a:gd name="connsiteX1" fmla="*/ 444341 w 476598"/>
                      <a:gd name="connsiteY1" fmla="*/ 5462 h 738410"/>
                      <a:gd name="connsiteX2" fmla="*/ 25432 w 476598"/>
                      <a:gd name="connsiteY2" fmla="*/ 738410 h 738410"/>
                      <a:gd name="connsiteX3" fmla="*/ 0 w 476598"/>
                      <a:gd name="connsiteY3" fmla="*/ 266447 h 7384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76598" h="738410">
                        <a:moveTo>
                          <a:pt x="0" y="266447"/>
                        </a:moveTo>
                        <a:cubicBezTo>
                          <a:pt x="0" y="266447"/>
                          <a:pt x="200787" y="-44640"/>
                          <a:pt x="444341" y="5462"/>
                        </a:cubicBezTo>
                        <a:cubicBezTo>
                          <a:pt x="619315" y="482093"/>
                          <a:pt x="25432" y="738410"/>
                          <a:pt x="25432" y="738410"/>
                        </a:cubicBezTo>
                        <a:lnTo>
                          <a:pt x="0" y="266447"/>
                        </a:lnTo>
                        <a:close/>
                      </a:path>
                    </a:pathLst>
                  </a:custGeom>
                  <a:solidFill>
                    <a:srgbClr val="FFC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7" name="Forma Livre: Forma 56">
                    <a:extLst>
                      <a:ext uri="{FF2B5EF4-FFF2-40B4-BE49-F238E27FC236}">
                        <a16:creationId xmlns:a16="http://schemas.microsoft.com/office/drawing/2014/main" id="{5B7BE1EF-DCCF-0E38-660A-2E82FD52C740}"/>
                      </a:ext>
                    </a:extLst>
                  </p:cNvPr>
                  <p:cNvSpPr/>
                  <p:nvPr/>
                </p:nvSpPr>
                <p:spPr>
                  <a:xfrm>
                    <a:off x="6541611" y="1536065"/>
                    <a:ext cx="453104" cy="591502"/>
                  </a:xfrm>
                  <a:custGeom>
                    <a:avLst/>
                    <a:gdLst>
                      <a:gd name="connsiteX0" fmla="*/ 426339 w 453104"/>
                      <a:gd name="connsiteY0" fmla="*/ 400907 h 591502"/>
                      <a:gd name="connsiteX1" fmla="*/ 147638 w 453104"/>
                      <a:gd name="connsiteY1" fmla="*/ 407575 h 591502"/>
                      <a:gd name="connsiteX2" fmla="*/ 453104 w 453104"/>
                      <a:gd name="connsiteY2" fmla="*/ 5905 h 591502"/>
                      <a:gd name="connsiteX3" fmla="*/ 445294 w 453104"/>
                      <a:gd name="connsiteY3" fmla="*/ 0 h 591502"/>
                      <a:gd name="connsiteX4" fmla="*/ 259937 w 453104"/>
                      <a:gd name="connsiteY4" fmla="*/ 243840 h 591502"/>
                      <a:gd name="connsiteX5" fmla="*/ 233077 w 453104"/>
                      <a:gd name="connsiteY5" fmla="*/ 38576 h 591502"/>
                      <a:gd name="connsiteX6" fmla="*/ 224314 w 453104"/>
                      <a:gd name="connsiteY6" fmla="*/ 47053 h 591502"/>
                      <a:gd name="connsiteX7" fmla="*/ 251555 w 453104"/>
                      <a:gd name="connsiteY7" fmla="*/ 254889 h 591502"/>
                      <a:gd name="connsiteX8" fmla="*/ 0 w 453104"/>
                      <a:gd name="connsiteY8" fmla="*/ 585502 h 591502"/>
                      <a:gd name="connsiteX9" fmla="*/ 7810 w 453104"/>
                      <a:gd name="connsiteY9" fmla="*/ 591503 h 591502"/>
                      <a:gd name="connsiteX10" fmla="*/ 140113 w 453104"/>
                      <a:gd name="connsiteY10" fmla="*/ 417576 h 591502"/>
                      <a:gd name="connsiteX11" fmla="*/ 417767 w 453104"/>
                      <a:gd name="connsiteY11" fmla="*/ 410909 h 5915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453104" h="591502">
                        <a:moveTo>
                          <a:pt x="426339" y="400907"/>
                        </a:moveTo>
                        <a:lnTo>
                          <a:pt x="147638" y="407575"/>
                        </a:lnTo>
                        <a:lnTo>
                          <a:pt x="453104" y="5905"/>
                        </a:lnTo>
                        <a:lnTo>
                          <a:pt x="445294" y="0"/>
                        </a:lnTo>
                        <a:lnTo>
                          <a:pt x="259937" y="243840"/>
                        </a:lnTo>
                        <a:lnTo>
                          <a:pt x="233077" y="38576"/>
                        </a:lnTo>
                        <a:lnTo>
                          <a:pt x="224314" y="47053"/>
                        </a:lnTo>
                        <a:lnTo>
                          <a:pt x="251555" y="254889"/>
                        </a:lnTo>
                        <a:lnTo>
                          <a:pt x="0" y="585502"/>
                        </a:lnTo>
                        <a:lnTo>
                          <a:pt x="7810" y="591503"/>
                        </a:lnTo>
                        <a:lnTo>
                          <a:pt x="140113" y="417576"/>
                        </a:lnTo>
                        <a:lnTo>
                          <a:pt x="417767" y="410909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53" name="Gráfico 19">
                  <a:extLst>
                    <a:ext uri="{FF2B5EF4-FFF2-40B4-BE49-F238E27FC236}">
                      <a16:creationId xmlns:a16="http://schemas.microsoft.com/office/drawing/2014/main" id="{DCED290F-C23A-2BD3-39F2-A43F7D5678AD}"/>
                    </a:ext>
                  </a:extLst>
                </p:cNvPr>
                <p:cNvGrpSpPr/>
                <p:nvPr/>
              </p:nvGrpSpPr>
              <p:grpSpPr>
                <a:xfrm>
                  <a:off x="6035969" y="1257525"/>
                  <a:ext cx="615274" cy="583340"/>
                  <a:chOff x="6035969" y="1257525"/>
                  <a:chExt cx="615274" cy="583340"/>
                </a:xfrm>
              </p:grpSpPr>
              <p:sp>
                <p:nvSpPr>
                  <p:cNvPr id="54" name="Forma Livre: Forma 53">
                    <a:extLst>
                      <a:ext uri="{FF2B5EF4-FFF2-40B4-BE49-F238E27FC236}">
                        <a16:creationId xmlns:a16="http://schemas.microsoft.com/office/drawing/2014/main" id="{4F240B51-8D5C-05C3-A4F2-EFAB81B3B9D9}"/>
                      </a:ext>
                    </a:extLst>
                  </p:cNvPr>
                  <p:cNvSpPr/>
                  <p:nvPr/>
                </p:nvSpPr>
                <p:spPr>
                  <a:xfrm>
                    <a:off x="6035969" y="1257525"/>
                    <a:ext cx="615274" cy="583340"/>
                  </a:xfrm>
                  <a:custGeom>
                    <a:avLst/>
                    <a:gdLst>
                      <a:gd name="connsiteX0" fmla="*/ 304379 w 615274"/>
                      <a:gd name="connsiteY0" fmla="*/ 577911 h 583340"/>
                      <a:gd name="connsiteX1" fmla="*/ 9103 w 615274"/>
                      <a:gd name="connsiteY1" fmla="*/ 7269 h 583340"/>
                      <a:gd name="connsiteX2" fmla="*/ 615275 w 615274"/>
                      <a:gd name="connsiteY2" fmla="*/ 583341 h 583340"/>
                      <a:gd name="connsiteX3" fmla="*/ 304379 w 615274"/>
                      <a:gd name="connsiteY3" fmla="*/ 577911 h 5833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615274" h="583340">
                        <a:moveTo>
                          <a:pt x="304379" y="577911"/>
                        </a:moveTo>
                        <a:cubicBezTo>
                          <a:pt x="304379" y="577911"/>
                          <a:pt x="-61763" y="325308"/>
                          <a:pt x="9103" y="7269"/>
                        </a:cubicBezTo>
                        <a:cubicBezTo>
                          <a:pt x="563649" y="-75980"/>
                          <a:pt x="615275" y="583341"/>
                          <a:pt x="615275" y="583341"/>
                        </a:cubicBezTo>
                        <a:lnTo>
                          <a:pt x="304379" y="577911"/>
                        </a:lnTo>
                        <a:close/>
                      </a:path>
                    </a:pathLst>
                  </a:custGeom>
                  <a:solidFill>
                    <a:srgbClr val="114585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" name="Forma Livre: Forma 54">
                    <a:extLst>
                      <a:ext uri="{FF2B5EF4-FFF2-40B4-BE49-F238E27FC236}">
                        <a16:creationId xmlns:a16="http://schemas.microsoft.com/office/drawing/2014/main" id="{CDABFC99-4B72-A481-E54F-70522F56E374}"/>
                      </a:ext>
                    </a:extLst>
                  </p:cNvPr>
                  <p:cNvSpPr/>
                  <p:nvPr/>
                </p:nvSpPr>
                <p:spPr>
                  <a:xfrm>
                    <a:off x="6058119" y="1310596"/>
                    <a:ext cx="453776" cy="468228"/>
                  </a:xfrm>
                  <a:custGeom>
                    <a:avLst/>
                    <a:gdLst>
                      <a:gd name="connsiteX0" fmla="*/ 408051 w 463772"/>
                      <a:gd name="connsiteY0" fmla="*/ 75438 h 527208"/>
                      <a:gd name="connsiteX1" fmla="*/ 399002 w 463772"/>
                      <a:gd name="connsiteY1" fmla="*/ 70009 h 527208"/>
                      <a:gd name="connsiteX2" fmla="*/ 352901 w 463772"/>
                      <a:gd name="connsiteY2" fmla="*/ 398336 h 527208"/>
                      <a:gd name="connsiteX3" fmla="*/ 7429 w 463772"/>
                      <a:gd name="connsiteY3" fmla="*/ 0 h 527208"/>
                      <a:gd name="connsiteX4" fmla="*/ 0 w 463772"/>
                      <a:gd name="connsiteY4" fmla="*/ 6382 h 527208"/>
                      <a:gd name="connsiteX5" fmla="*/ 245078 w 463772"/>
                      <a:gd name="connsiteY5" fmla="*/ 288989 h 527208"/>
                      <a:gd name="connsiteX6" fmla="*/ 53054 w 463772"/>
                      <a:gd name="connsiteY6" fmla="*/ 313182 h 527208"/>
                      <a:gd name="connsiteX7" fmla="*/ 62770 w 463772"/>
                      <a:gd name="connsiteY7" fmla="*/ 321850 h 527208"/>
                      <a:gd name="connsiteX8" fmla="*/ 252793 w 463772"/>
                      <a:gd name="connsiteY8" fmla="*/ 297847 h 527208"/>
                      <a:gd name="connsiteX9" fmla="*/ 252793 w 463772"/>
                      <a:gd name="connsiteY9" fmla="*/ 297847 h 527208"/>
                      <a:gd name="connsiteX10" fmla="*/ 451676 w 463772"/>
                      <a:gd name="connsiteY10" fmla="*/ 527209 h 527208"/>
                      <a:gd name="connsiteX11" fmla="*/ 463772 w 463772"/>
                      <a:gd name="connsiteY11" fmla="*/ 526256 h 527208"/>
                      <a:gd name="connsiteX12" fmla="*/ 361379 w 463772"/>
                      <a:gd name="connsiteY12" fmla="*/ 408146 h 5272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463772" h="527208">
                        <a:moveTo>
                          <a:pt x="408051" y="75438"/>
                        </a:moveTo>
                        <a:lnTo>
                          <a:pt x="399002" y="70009"/>
                        </a:lnTo>
                        <a:lnTo>
                          <a:pt x="352901" y="398336"/>
                        </a:lnTo>
                        <a:lnTo>
                          <a:pt x="7429" y="0"/>
                        </a:lnTo>
                        <a:lnTo>
                          <a:pt x="0" y="6382"/>
                        </a:lnTo>
                        <a:lnTo>
                          <a:pt x="245078" y="288989"/>
                        </a:lnTo>
                        <a:lnTo>
                          <a:pt x="53054" y="313182"/>
                        </a:lnTo>
                        <a:lnTo>
                          <a:pt x="62770" y="321850"/>
                        </a:lnTo>
                        <a:lnTo>
                          <a:pt x="252793" y="297847"/>
                        </a:lnTo>
                        <a:lnTo>
                          <a:pt x="252793" y="297847"/>
                        </a:lnTo>
                        <a:lnTo>
                          <a:pt x="451676" y="527209"/>
                        </a:lnTo>
                        <a:lnTo>
                          <a:pt x="463772" y="526256"/>
                        </a:lnTo>
                        <a:lnTo>
                          <a:pt x="361379" y="408146"/>
                        </a:lnTo>
                        <a:close/>
                      </a:path>
                    </a:pathLst>
                  </a:custGeom>
                  <a:solidFill>
                    <a:srgbClr val="26262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  <p:grpSp>
          <p:nvGrpSpPr>
            <p:cNvPr id="7" name="Gráfico 19">
              <a:extLst>
                <a:ext uri="{FF2B5EF4-FFF2-40B4-BE49-F238E27FC236}">
                  <a16:creationId xmlns:a16="http://schemas.microsoft.com/office/drawing/2014/main" id="{3464D3C8-83FE-EA66-616F-093B87057CA2}"/>
                </a:ext>
              </a:extLst>
            </p:cNvPr>
            <p:cNvGrpSpPr/>
            <p:nvPr/>
          </p:nvGrpSpPr>
          <p:grpSpPr>
            <a:xfrm>
              <a:off x="4233458" y="2355260"/>
              <a:ext cx="3638581" cy="3973519"/>
              <a:chOff x="6051890" y="1379828"/>
              <a:chExt cx="828077" cy="904302"/>
            </a:xfrm>
          </p:grpSpPr>
          <p:sp>
            <p:nvSpPr>
              <p:cNvPr id="8" name="Forma Livre: Forma 7">
                <a:extLst>
                  <a:ext uri="{FF2B5EF4-FFF2-40B4-BE49-F238E27FC236}">
                    <a16:creationId xmlns:a16="http://schemas.microsoft.com/office/drawing/2014/main" id="{095D5BAF-0616-50DC-A414-C917714BBF42}"/>
                  </a:ext>
                </a:extLst>
              </p:cNvPr>
              <p:cNvSpPr/>
              <p:nvPr/>
            </p:nvSpPr>
            <p:spPr>
              <a:xfrm>
                <a:off x="6212332" y="1681512"/>
                <a:ext cx="496061" cy="367188"/>
              </a:xfrm>
              <a:custGeom>
                <a:avLst/>
                <a:gdLst>
                  <a:gd name="connsiteX0" fmla="*/ 431292 w 496061"/>
                  <a:gd name="connsiteY0" fmla="*/ 221075 h 367188"/>
                  <a:gd name="connsiteX1" fmla="*/ 400717 w 496061"/>
                  <a:gd name="connsiteY1" fmla="*/ 201835 h 367188"/>
                  <a:gd name="connsiteX2" fmla="*/ 496062 w 496061"/>
                  <a:gd name="connsiteY2" fmla="*/ 159353 h 367188"/>
                  <a:gd name="connsiteX3" fmla="*/ 456629 w 496061"/>
                  <a:gd name="connsiteY3" fmla="*/ 69437 h 367188"/>
                  <a:gd name="connsiteX4" fmla="*/ 346234 w 496061"/>
                  <a:gd name="connsiteY4" fmla="*/ 0 h 367188"/>
                  <a:gd name="connsiteX5" fmla="*/ 149828 w 496061"/>
                  <a:gd name="connsiteY5" fmla="*/ 0 h 367188"/>
                  <a:gd name="connsiteX6" fmla="*/ 39433 w 496061"/>
                  <a:gd name="connsiteY6" fmla="*/ 69437 h 367188"/>
                  <a:gd name="connsiteX7" fmla="*/ 0 w 496061"/>
                  <a:gd name="connsiteY7" fmla="*/ 159353 h 367188"/>
                  <a:gd name="connsiteX8" fmla="*/ 95345 w 496061"/>
                  <a:gd name="connsiteY8" fmla="*/ 201835 h 367188"/>
                  <a:gd name="connsiteX9" fmla="*/ 64770 w 496061"/>
                  <a:gd name="connsiteY9" fmla="*/ 221075 h 367188"/>
                  <a:gd name="connsiteX10" fmla="*/ 47815 w 496061"/>
                  <a:gd name="connsiteY10" fmla="*/ 367189 h 367188"/>
                  <a:gd name="connsiteX11" fmla="*/ 248031 w 496061"/>
                  <a:gd name="connsiteY11" fmla="*/ 364046 h 367188"/>
                  <a:gd name="connsiteX12" fmla="*/ 448246 w 496061"/>
                  <a:gd name="connsiteY12" fmla="*/ 367189 h 367188"/>
                  <a:gd name="connsiteX13" fmla="*/ 431292 w 496061"/>
                  <a:gd name="connsiteY13" fmla="*/ 221075 h 367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96061" h="367188">
                    <a:moveTo>
                      <a:pt x="431292" y="221075"/>
                    </a:moveTo>
                    <a:lnTo>
                      <a:pt x="400717" y="201835"/>
                    </a:lnTo>
                    <a:lnTo>
                      <a:pt x="496062" y="159353"/>
                    </a:lnTo>
                    <a:lnTo>
                      <a:pt x="456629" y="69437"/>
                    </a:lnTo>
                    <a:cubicBezTo>
                      <a:pt x="438340" y="31052"/>
                      <a:pt x="391192" y="0"/>
                      <a:pt x="346234" y="0"/>
                    </a:cubicBezTo>
                    <a:lnTo>
                      <a:pt x="149828" y="0"/>
                    </a:lnTo>
                    <a:cubicBezTo>
                      <a:pt x="104775" y="0"/>
                      <a:pt x="57626" y="31147"/>
                      <a:pt x="39433" y="69437"/>
                    </a:cubicBezTo>
                    <a:lnTo>
                      <a:pt x="0" y="159353"/>
                    </a:lnTo>
                    <a:lnTo>
                      <a:pt x="95345" y="201835"/>
                    </a:lnTo>
                    <a:lnTo>
                      <a:pt x="64770" y="221075"/>
                    </a:lnTo>
                    <a:lnTo>
                      <a:pt x="47815" y="367189"/>
                    </a:lnTo>
                    <a:lnTo>
                      <a:pt x="248031" y="364046"/>
                    </a:lnTo>
                    <a:lnTo>
                      <a:pt x="448246" y="367189"/>
                    </a:lnTo>
                    <a:lnTo>
                      <a:pt x="431292" y="221075"/>
                    </a:lnTo>
                    <a:close/>
                  </a:path>
                </a:pathLst>
              </a:custGeom>
              <a:solidFill>
                <a:srgbClr val="EE730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" name="Forma Livre: Forma 9">
                <a:extLst>
                  <a:ext uri="{FF2B5EF4-FFF2-40B4-BE49-F238E27FC236}">
                    <a16:creationId xmlns:a16="http://schemas.microsoft.com/office/drawing/2014/main" id="{32250B8D-F5C7-985B-09CD-13353D9CA6A6}"/>
                  </a:ext>
                </a:extLst>
              </p:cNvPr>
              <p:cNvSpPr/>
              <p:nvPr/>
            </p:nvSpPr>
            <p:spPr>
              <a:xfrm>
                <a:off x="6570281" y="1840865"/>
                <a:ext cx="163142" cy="266890"/>
              </a:xfrm>
              <a:custGeom>
                <a:avLst/>
                <a:gdLst>
                  <a:gd name="connsiteX0" fmla="*/ 138112 w 163142"/>
                  <a:gd name="connsiteY0" fmla="*/ 0 h 266890"/>
                  <a:gd name="connsiteX1" fmla="*/ 157829 w 163142"/>
                  <a:gd name="connsiteY1" fmla="*/ 65056 h 266890"/>
                  <a:gd name="connsiteX2" fmla="*/ 118110 w 163142"/>
                  <a:gd name="connsiteY2" fmla="*/ 197072 h 266890"/>
                  <a:gd name="connsiteX3" fmla="*/ 28765 w 163142"/>
                  <a:gd name="connsiteY3" fmla="*/ 266890 h 266890"/>
                  <a:gd name="connsiteX4" fmla="*/ 0 w 163142"/>
                  <a:gd name="connsiteY4" fmla="*/ 188786 h 266890"/>
                  <a:gd name="connsiteX5" fmla="*/ 49435 w 163142"/>
                  <a:gd name="connsiteY5" fmla="*/ 142685 h 266890"/>
                  <a:gd name="connsiteX6" fmla="*/ 61722 w 163142"/>
                  <a:gd name="connsiteY6" fmla="*/ 85058 h 266890"/>
                  <a:gd name="connsiteX7" fmla="*/ 42767 w 163142"/>
                  <a:gd name="connsiteY7" fmla="*/ 42577 h 266890"/>
                  <a:gd name="connsiteX8" fmla="*/ 138112 w 163142"/>
                  <a:gd name="connsiteY8" fmla="*/ 0 h 266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3142" h="266890">
                    <a:moveTo>
                      <a:pt x="138112" y="0"/>
                    </a:moveTo>
                    <a:lnTo>
                      <a:pt x="157829" y="65056"/>
                    </a:lnTo>
                    <a:cubicBezTo>
                      <a:pt x="172212" y="112490"/>
                      <a:pt x="156877" y="163449"/>
                      <a:pt x="118110" y="197072"/>
                    </a:cubicBezTo>
                    <a:lnTo>
                      <a:pt x="28765" y="266890"/>
                    </a:lnTo>
                    <a:lnTo>
                      <a:pt x="0" y="188786"/>
                    </a:lnTo>
                    <a:lnTo>
                      <a:pt x="49435" y="142685"/>
                    </a:lnTo>
                    <a:cubicBezTo>
                      <a:pt x="65627" y="127540"/>
                      <a:pt x="70485" y="104775"/>
                      <a:pt x="61722" y="85058"/>
                    </a:cubicBezTo>
                    <a:lnTo>
                      <a:pt x="42767" y="42577"/>
                    </a:lnTo>
                    <a:lnTo>
                      <a:pt x="138112" y="0"/>
                    </a:lnTo>
                    <a:close/>
                  </a:path>
                </a:pathLst>
              </a:custGeom>
              <a:solidFill>
                <a:srgbClr val="F8B68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11" name="Gráfico 19">
                <a:extLst>
                  <a:ext uri="{FF2B5EF4-FFF2-40B4-BE49-F238E27FC236}">
                    <a16:creationId xmlns:a16="http://schemas.microsoft.com/office/drawing/2014/main" id="{5CA5E088-F249-38F0-2713-103B48725169}"/>
                  </a:ext>
                </a:extLst>
              </p:cNvPr>
              <p:cNvGrpSpPr/>
              <p:nvPr/>
            </p:nvGrpSpPr>
            <p:grpSpPr>
              <a:xfrm>
                <a:off x="6052914" y="2206979"/>
                <a:ext cx="265525" cy="77151"/>
                <a:chOff x="6052914" y="2206979"/>
                <a:chExt cx="265525" cy="77151"/>
              </a:xfrm>
            </p:grpSpPr>
            <p:sp>
              <p:nvSpPr>
                <p:cNvPr id="39" name="Forma Livre: Forma 38">
                  <a:extLst>
                    <a:ext uri="{FF2B5EF4-FFF2-40B4-BE49-F238E27FC236}">
                      <a16:creationId xmlns:a16="http://schemas.microsoft.com/office/drawing/2014/main" id="{A2327825-73AB-D247-2B61-48B87172AA80}"/>
                    </a:ext>
                  </a:extLst>
                </p:cNvPr>
                <p:cNvSpPr/>
                <p:nvPr/>
              </p:nvSpPr>
              <p:spPr>
                <a:xfrm>
                  <a:off x="6223571" y="2212055"/>
                  <a:ext cx="94868" cy="58388"/>
                </a:xfrm>
                <a:custGeom>
                  <a:avLst/>
                  <a:gdLst>
                    <a:gd name="connsiteX0" fmla="*/ 94869 w 94868"/>
                    <a:gd name="connsiteY0" fmla="*/ 47530 h 58388"/>
                    <a:gd name="connsiteX1" fmla="*/ 15240 w 94868"/>
                    <a:gd name="connsiteY1" fmla="*/ 58388 h 58388"/>
                    <a:gd name="connsiteX2" fmla="*/ 0 w 94868"/>
                    <a:gd name="connsiteY2" fmla="*/ 41529 h 58388"/>
                    <a:gd name="connsiteX3" fmla="*/ 7715 w 94868"/>
                    <a:gd name="connsiteY3" fmla="*/ 11049 h 58388"/>
                    <a:gd name="connsiteX4" fmla="*/ 84201 w 94868"/>
                    <a:gd name="connsiteY4" fmla="*/ 0 h 583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4868" h="58388">
                      <a:moveTo>
                        <a:pt x="94869" y="47530"/>
                      </a:moveTo>
                      <a:lnTo>
                        <a:pt x="15240" y="58388"/>
                      </a:lnTo>
                      <a:lnTo>
                        <a:pt x="0" y="41529"/>
                      </a:lnTo>
                      <a:lnTo>
                        <a:pt x="7715" y="11049"/>
                      </a:lnTo>
                      <a:lnTo>
                        <a:pt x="84201" y="0"/>
                      </a:lnTo>
                      <a:close/>
                    </a:path>
                  </a:pathLst>
                </a:custGeom>
                <a:solidFill>
                  <a:srgbClr val="F8B68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40" name="Gráfico 19">
                  <a:extLst>
                    <a:ext uri="{FF2B5EF4-FFF2-40B4-BE49-F238E27FC236}">
                      <a16:creationId xmlns:a16="http://schemas.microsoft.com/office/drawing/2014/main" id="{2038F8B6-8B92-B07F-9901-7666E56A4FF7}"/>
                    </a:ext>
                  </a:extLst>
                </p:cNvPr>
                <p:cNvGrpSpPr/>
                <p:nvPr/>
              </p:nvGrpSpPr>
              <p:grpSpPr>
                <a:xfrm>
                  <a:off x="6052914" y="2206979"/>
                  <a:ext cx="185896" cy="77151"/>
                  <a:chOff x="6052914" y="2206979"/>
                  <a:chExt cx="185896" cy="77151"/>
                </a:xfrm>
              </p:grpSpPr>
              <p:sp>
                <p:nvSpPr>
                  <p:cNvPr id="41" name="Forma Livre: Forma 40">
                    <a:extLst>
                      <a:ext uri="{FF2B5EF4-FFF2-40B4-BE49-F238E27FC236}">
                        <a16:creationId xmlns:a16="http://schemas.microsoft.com/office/drawing/2014/main" id="{08A38B76-1A78-CC2D-0E40-44F8F940E059}"/>
                      </a:ext>
                    </a:extLst>
                  </p:cNvPr>
                  <p:cNvSpPr/>
                  <p:nvPr/>
                </p:nvSpPr>
                <p:spPr>
                  <a:xfrm>
                    <a:off x="6052914" y="2206979"/>
                    <a:ext cx="185896" cy="77151"/>
                  </a:xfrm>
                  <a:custGeom>
                    <a:avLst/>
                    <a:gdLst>
                      <a:gd name="connsiteX0" fmla="*/ 185897 w 185896"/>
                      <a:gd name="connsiteY0" fmla="*/ 63463 h 77151"/>
                      <a:gd name="connsiteX1" fmla="*/ 85789 w 185896"/>
                      <a:gd name="connsiteY1" fmla="*/ 75846 h 77151"/>
                      <a:gd name="connsiteX2" fmla="*/ 1397 w 185896"/>
                      <a:gd name="connsiteY2" fmla="*/ 34317 h 77151"/>
                      <a:gd name="connsiteX3" fmla="*/ 103601 w 185896"/>
                      <a:gd name="connsiteY3" fmla="*/ 5170 h 77151"/>
                      <a:gd name="connsiteX4" fmla="*/ 185897 w 185896"/>
                      <a:gd name="connsiteY4" fmla="*/ 15076 h 77151"/>
                      <a:gd name="connsiteX5" fmla="*/ 185897 w 185896"/>
                      <a:gd name="connsiteY5" fmla="*/ 15076 h 77151"/>
                      <a:gd name="connsiteX6" fmla="*/ 184754 w 185896"/>
                      <a:gd name="connsiteY6" fmla="*/ 61749 h 77151"/>
                      <a:gd name="connsiteX7" fmla="*/ 185897 w 185896"/>
                      <a:gd name="connsiteY7" fmla="*/ 63463 h 771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85896" h="77151">
                        <a:moveTo>
                          <a:pt x="185897" y="63463"/>
                        </a:moveTo>
                        <a:lnTo>
                          <a:pt x="85789" y="75846"/>
                        </a:lnTo>
                        <a:cubicBezTo>
                          <a:pt x="85789" y="75846"/>
                          <a:pt x="-12795" y="88609"/>
                          <a:pt x="1397" y="34317"/>
                        </a:cubicBezTo>
                        <a:cubicBezTo>
                          <a:pt x="15113" y="-18166"/>
                          <a:pt x="103601" y="5170"/>
                          <a:pt x="103601" y="5170"/>
                        </a:cubicBezTo>
                        <a:lnTo>
                          <a:pt x="185897" y="15076"/>
                        </a:lnTo>
                        <a:lnTo>
                          <a:pt x="185897" y="15076"/>
                        </a:lnTo>
                        <a:cubicBezTo>
                          <a:pt x="175991" y="28507"/>
                          <a:pt x="175514" y="47842"/>
                          <a:pt x="184754" y="61749"/>
                        </a:cubicBezTo>
                        <a:lnTo>
                          <a:pt x="185897" y="63463"/>
                        </a:lnTo>
                        <a:close/>
                      </a:path>
                    </a:pathLst>
                  </a:custGeom>
                  <a:solidFill>
                    <a:srgbClr val="EE730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2" name="Forma Livre: Forma 41">
                    <a:extLst>
                      <a:ext uri="{FF2B5EF4-FFF2-40B4-BE49-F238E27FC236}">
                        <a16:creationId xmlns:a16="http://schemas.microsoft.com/office/drawing/2014/main" id="{B8239738-19E9-7233-A02F-9F9AA03D6599}"/>
                      </a:ext>
                    </a:extLst>
                  </p:cNvPr>
                  <p:cNvSpPr/>
                  <p:nvPr/>
                </p:nvSpPr>
                <p:spPr>
                  <a:xfrm>
                    <a:off x="6052925" y="2208245"/>
                    <a:ext cx="43677" cy="74771"/>
                  </a:xfrm>
                  <a:custGeom>
                    <a:avLst/>
                    <a:gdLst>
                      <a:gd name="connsiteX0" fmla="*/ 1386 w 43677"/>
                      <a:gd name="connsiteY0" fmla="*/ 32956 h 74771"/>
                      <a:gd name="connsiteX1" fmla="*/ 43677 w 43677"/>
                      <a:gd name="connsiteY1" fmla="*/ 0 h 74771"/>
                      <a:gd name="connsiteX2" fmla="*/ 43677 w 43677"/>
                      <a:gd name="connsiteY2" fmla="*/ 74771 h 74771"/>
                      <a:gd name="connsiteX3" fmla="*/ 1386 w 43677"/>
                      <a:gd name="connsiteY3" fmla="*/ 32956 h 747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3677" h="74771">
                        <a:moveTo>
                          <a:pt x="1386" y="32956"/>
                        </a:moveTo>
                        <a:cubicBezTo>
                          <a:pt x="6911" y="11811"/>
                          <a:pt x="24532" y="3048"/>
                          <a:pt x="43677" y="0"/>
                        </a:cubicBezTo>
                        <a:lnTo>
                          <a:pt x="43677" y="74771"/>
                        </a:lnTo>
                        <a:cubicBezTo>
                          <a:pt x="18912" y="72009"/>
                          <a:pt x="-6234" y="62294"/>
                          <a:pt x="1386" y="32956"/>
                        </a:cubicBezTo>
                        <a:close/>
                      </a:path>
                    </a:pathLst>
                  </a:custGeom>
                  <a:gradFill>
                    <a:gsLst>
                      <a:gs pos="0">
                        <a:srgbClr val="E0F0EB"/>
                      </a:gs>
                      <a:gs pos="50000">
                        <a:srgbClr val="D0EAED"/>
                      </a:gs>
                      <a:gs pos="100000">
                        <a:srgbClr val="C0E4EF"/>
                      </a:gs>
                    </a:gsLst>
                    <a:lin ang="0" scaled="1"/>
                  </a:gra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43" name="Gráfico 19">
                    <a:extLst>
                      <a:ext uri="{FF2B5EF4-FFF2-40B4-BE49-F238E27FC236}">
                        <a16:creationId xmlns:a16="http://schemas.microsoft.com/office/drawing/2014/main" id="{924C516C-5559-E5F5-6703-B9F8ACB63AF5}"/>
                      </a:ext>
                    </a:extLst>
                  </p:cNvPr>
                  <p:cNvGrpSpPr/>
                  <p:nvPr/>
                </p:nvGrpSpPr>
                <p:grpSpPr>
                  <a:xfrm>
                    <a:off x="6190234" y="2227485"/>
                    <a:ext cx="13620" cy="32194"/>
                    <a:chOff x="6190234" y="2227485"/>
                    <a:chExt cx="13620" cy="32194"/>
                  </a:xfrm>
                  <a:solidFill>
                    <a:srgbClr val="FFFFFF"/>
                  </a:solidFill>
                </p:grpSpPr>
                <p:sp>
                  <p:nvSpPr>
                    <p:cNvPr id="47" name="Forma Livre: Forma 46">
                      <a:extLst>
                        <a:ext uri="{FF2B5EF4-FFF2-40B4-BE49-F238E27FC236}">
                          <a16:creationId xmlns:a16="http://schemas.microsoft.com/office/drawing/2014/main" id="{16ADFB8B-CEAF-FCD7-EE6E-6D0BEC89A38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94329" y="2227485"/>
                      <a:ext cx="9525" cy="32099"/>
                    </a:xfrm>
                    <a:custGeom>
                      <a:avLst/>
                      <a:gdLst>
                        <a:gd name="connsiteX0" fmla="*/ 0 w 9525"/>
                        <a:gd name="connsiteY0" fmla="*/ 0 h 32099"/>
                        <a:gd name="connsiteX1" fmla="*/ 0 w 9525"/>
                        <a:gd name="connsiteY1" fmla="*/ 32099 h 320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32099">
                          <a:moveTo>
                            <a:pt x="0" y="0"/>
                          </a:moveTo>
                          <a:lnTo>
                            <a:pt x="0" y="32099"/>
                          </a:lnTo>
                        </a:path>
                      </a:pathLst>
                    </a:custGeom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pt-BR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48" name="Forma Livre: Forma 47">
                      <a:extLst>
                        <a:ext uri="{FF2B5EF4-FFF2-40B4-BE49-F238E27FC236}">
                          <a16:creationId xmlns:a16="http://schemas.microsoft.com/office/drawing/2014/main" id="{C594FE59-1471-26B7-ECA3-6FE5AC3CD2C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90234" y="2227485"/>
                      <a:ext cx="8191" cy="32194"/>
                    </a:xfrm>
                    <a:custGeom>
                      <a:avLst/>
                      <a:gdLst>
                        <a:gd name="connsiteX0" fmla="*/ 0 w 8191"/>
                        <a:gd name="connsiteY0" fmla="*/ 0 h 32194"/>
                        <a:gd name="connsiteX1" fmla="*/ 8192 w 8191"/>
                        <a:gd name="connsiteY1" fmla="*/ 0 h 32194"/>
                        <a:gd name="connsiteX2" fmla="*/ 8192 w 8191"/>
                        <a:gd name="connsiteY2" fmla="*/ 32194 h 32194"/>
                        <a:gd name="connsiteX3" fmla="*/ 0 w 8191"/>
                        <a:gd name="connsiteY3" fmla="*/ 32194 h 3219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8191" h="32194">
                          <a:moveTo>
                            <a:pt x="0" y="0"/>
                          </a:moveTo>
                          <a:lnTo>
                            <a:pt x="8192" y="0"/>
                          </a:lnTo>
                          <a:lnTo>
                            <a:pt x="8192" y="32194"/>
                          </a:lnTo>
                          <a:lnTo>
                            <a:pt x="0" y="32194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pt-BR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44" name="Gráfico 19">
                    <a:extLst>
                      <a:ext uri="{FF2B5EF4-FFF2-40B4-BE49-F238E27FC236}">
                        <a16:creationId xmlns:a16="http://schemas.microsoft.com/office/drawing/2014/main" id="{9B0B0137-F878-F972-5A6B-52EF20888A6F}"/>
                      </a:ext>
                    </a:extLst>
                  </p:cNvPr>
                  <p:cNvGrpSpPr/>
                  <p:nvPr/>
                </p:nvGrpSpPr>
                <p:grpSpPr>
                  <a:xfrm>
                    <a:off x="6169945" y="2227485"/>
                    <a:ext cx="13621" cy="32194"/>
                    <a:chOff x="6169945" y="2227485"/>
                    <a:chExt cx="13621" cy="32194"/>
                  </a:xfrm>
                  <a:solidFill>
                    <a:srgbClr val="FFFFFF"/>
                  </a:solidFill>
                </p:grpSpPr>
                <p:sp>
                  <p:nvSpPr>
                    <p:cNvPr id="45" name="Forma Livre: Forma 44">
                      <a:extLst>
                        <a:ext uri="{FF2B5EF4-FFF2-40B4-BE49-F238E27FC236}">
                          <a16:creationId xmlns:a16="http://schemas.microsoft.com/office/drawing/2014/main" id="{DF6A4448-74F0-12ED-1CD9-BAF3D2776CC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74041" y="2227485"/>
                      <a:ext cx="9525" cy="32099"/>
                    </a:xfrm>
                    <a:custGeom>
                      <a:avLst/>
                      <a:gdLst>
                        <a:gd name="connsiteX0" fmla="*/ 0 w 9525"/>
                        <a:gd name="connsiteY0" fmla="*/ 0 h 32099"/>
                        <a:gd name="connsiteX1" fmla="*/ 0 w 9525"/>
                        <a:gd name="connsiteY1" fmla="*/ 32099 h 320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32099">
                          <a:moveTo>
                            <a:pt x="0" y="0"/>
                          </a:moveTo>
                          <a:lnTo>
                            <a:pt x="0" y="32099"/>
                          </a:lnTo>
                        </a:path>
                      </a:pathLst>
                    </a:custGeom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pt-BR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46" name="Forma Livre: Forma 45">
                      <a:extLst>
                        <a:ext uri="{FF2B5EF4-FFF2-40B4-BE49-F238E27FC236}">
                          <a16:creationId xmlns:a16="http://schemas.microsoft.com/office/drawing/2014/main" id="{46EFCFF6-D181-D7AC-423B-5C2E9A54AC8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69945" y="2227485"/>
                      <a:ext cx="8191" cy="32194"/>
                    </a:xfrm>
                    <a:custGeom>
                      <a:avLst/>
                      <a:gdLst>
                        <a:gd name="connsiteX0" fmla="*/ 0 w 8191"/>
                        <a:gd name="connsiteY0" fmla="*/ 0 h 32194"/>
                        <a:gd name="connsiteX1" fmla="*/ 8191 w 8191"/>
                        <a:gd name="connsiteY1" fmla="*/ 0 h 32194"/>
                        <a:gd name="connsiteX2" fmla="*/ 8191 w 8191"/>
                        <a:gd name="connsiteY2" fmla="*/ 32194 h 32194"/>
                        <a:gd name="connsiteX3" fmla="*/ 0 w 8191"/>
                        <a:gd name="connsiteY3" fmla="*/ 32194 h 3219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8191" h="32194">
                          <a:moveTo>
                            <a:pt x="0" y="0"/>
                          </a:moveTo>
                          <a:lnTo>
                            <a:pt x="8191" y="0"/>
                          </a:lnTo>
                          <a:lnTo>
                            <a:pt x="8191" y="32194"/>
                          </a:lnTo>
                          <a:lnTo>
                            <a:pt x="0" y="32194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pt-BR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</p:grpSp>
          <p:sp>
            <p:nvSpPr>
              <p:cNvPr id="12" name="Forma Livre: Forma 11">
                <a:extLst>
                  <a:ext uri="{FF2B5EF4-FFF2-40B4-BE49-F238E27FC236}">
                    <a16:creationId xmlns:a16="http://schemas.microsoft.com/office/drawing/2014/main" id="{89952BFF-3050-B7E1-F3EC-D0044838B8CC}"/>
                  </a:ext>
                </a:extLst>
              </p:cNvPr>
              <p:cNvSpPr/>
              <p:nvPr/>
            </p:nvSpPr>
            <p:spPr>
              <a:xfrm>
                <a:off x="6188159" y="1840865"/>
                <a:ext cx="163142" cy="266890"/>
              </a:xfrm>
              <a:custGeom>
                <a:avLst/>
                <a:gdLst>
                  <a:gd name="connsiteX0" fmla="*/ 25030 w 163142"/>
                  <a:gd name="connsiteY0" fmla="*/ 0 h 266890"/>
                  <a:gd name="connsiteX1" fmla="*/ 5313 w 163142"/>
                  <a:gd name="connsiteY1" fmla="*/ 65056 h 266890"/>
                  <a:gd name="connsiteX2" fmla="*/ 45033 w 163142"/>
                  <a:gd name="connsiteY2" fmla="*/ 197072 h 266890"/>
                  <a:gd name="connsiteX3" fmla="*/ 134377 w 163142"/>
                  <a:gd name="connsiteY3" fmla="*/ 266890 h 266890"/>
                  <a:gd name="connsiteX4" fmla="*/ 163143 w 163142"/>
                  <a:gd name="connsiteY4" fmla="*/ 188786 h 266890"/>
                  <a:gd name="connsiteX5" fmla="*/ 113708 w 163142"/>
                  <a:gd name="connsiteY5" fmla="*/ 142685 h 266890"/>
                  <a:gd name="connsiteX6" fmla="*/ 101421 w 163142"/>
                  <a:gd name="connsiteY6" fmla="*/ 85058 h 266890"/>
                  <a:gd name="connsiteX7" fmla="*/ 120375 w 163142"/>
                  <a:gd name="connsiteY7" fmla="*/ 42577 h 266890"/>
                  <a:gd name="connsiteX8" fmla="*/ 25030 w 163142"/>
                  <a:gd name="connsiteY8" fmla="*/ 0 h 266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3142" h="266890">
                    <a:moveTo>
                      <a:pt x="25030" y="0"/>
                    </a:moveTo>
                    <a:lnTo>
                      <a:pt x="5313" y="65056"/>
                    </a:lnTo>
                    <a:cubicBezTo>
                      <a:pt x="-9069" y="112490"/>
                      <a:pt x="6266" y="163449"/>
                      <a:pt x="45033" y="197072"/>
                    </a:cubicBezTo>
                    <a:lnTo>
                      <a:pt x="134377" y="266890"/>
                    </a:lnTo>
                    <a:lnTo>
                      <a:pt x="163143" y="188786"/>
                    </a:lnTo>
                    <a:lnTo>
                      <a:pt x="113708" y="142685"/>
                    </a:lnTo>
                    <a:cubicBezTo>
                      <a:pt x="97515" y="127540"/>
                      <a:pt x="92658" y="104775"/>
                      <a:pt x="101421" y="85058"/>
                    </a:cubicBezTo>
                    <a:lnTo>
                      <a:pt x="120375" y="42577"/>
                    </a:lnTo>
                    <a:lnTo>
                      <a:pt x="25030" y="0"/>
                    </a:lnTo>
                    <a:close/>
                  </a:path>
                </a:pathLst>
              </a:custGeom>
              <a:solidFill>
                <a:srgbClr val="F8B68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13" name="Gráfico 19">
                <a:extLst>
                  <a:ext uri="{FF2B5EF4-FFF2-40B4-BE49-F238E27FC236}">
                    <a16:creationId xmlns:a16="http://schemas.microsoft.com/office/drawing/2014/main" id="{F8311F83-B778-E2AE-75F5-CB5CE6F46583}"/>
                  </a:ext>
                </a:extLst>
              </p:cNvPr>
              <p:cNvGrpSpPr/>
              <p:nvPr/>
            </p:nvGrpSpPr>
            <p:grpSpPr>
              <a:xfrm>
                <a:off x="6610857" y="2206979"/>
                <a:ext cx="266784" cy="77151"/>
                <a:chOff x="6610857" y="2206979"/>
                <a:chExt cx="266784" cy="77151"/>
              </a:xfrm>
            </p:grpSpPr>
            <p:sp>
              <p:nvSpPr>
                <p:cNvPr id="29" name="Forma Livre: Forma 28">
                  <a:extLst>
                    <a:ext uri="{FF2B5EF4-FFF2-40B4-BE49-F238E27FC236}">
                      <a16:creationId xmlns:a16="http://schemas.microsoft.com/office/drawing/2014/main" id="{C390A4F9-0648-B97B-53B3-FCD2F8551A5C}"/>
                    </a:ext>
                  </a:extLst>
                </p:cNvPr>
                <p:cNvSpPr/>
                <p:nvPr/>
              </p:nvSpPr>
              <p:spPr>
                <a:xfrm>
                  <a:off x="6610857" y="2212055"/>
                  <a:ext cx="96202" cy="58388"/>
                </a:xfrm>
                <a:custGeom>
                  <a:avLst/>
                  <a:gdLst>
                    <a:gd name="connsiteX0" fmla="*/ 0 w 96202"/>
                    <a:gd name="connsiteY0" fmla="*/ 53530 h 58388"/>
                    <a:gd name="connsiteX1" fmla="*/ 80867 w 96202"/>
                    <a:gd name="connsiteY1" fmla="*/ 58388 h 58388"/>
                    <a:gd name="connsiteX2" fmla="*/ 96202 w 96202"/>
                    <a:gd name="connsiteY2" fmla="*/ 41529 h 58388"/>
                    <a:gd name="connsiteX3" fmla="*/ 88392 w 96202"/>
                    <a:gd name="connsiteY3" fmla="*/ 11049 h 58388"/>
                    <a:gd name="connsiteX4" fmla="*/ 11906 w 96202"/>
                    <a:gd name="connsiteY4" fmla="*/ 0 h 583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6202" h="58388">
                      <a:moveTo>
                        <a:pt x="0" y="53530"/>
                      </a:moveTo>
                      <a:lnTo>
                        <a:pt x="80867" y="58388"/>
                      </a:lnTo>
                      <a:lnTo>
                        <a:pt x="96202" y="41529"/>
                      </a:lnTo>
                      <a:lnTo>
                        <a:pt x="88392" y="11049"/>
                      </a:lnTo>
                      <a:lnTo>
                        <a:pt x="11906" y="0"/>
                      </a:lnTo>
                      <a:close/>
                    </a:path>
                  </a:pathLst>
                </a:custGeom>
                <a:solidFill>
                  <a:srgbClr val="F8B68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30" name="Gráfico 19">
                  <a:extLst>
                    <a:ext uri="{FF2B5EF4-FFF2-40B4-BE49-F238E27FC236}">
                      <a16:creationId xmlns:a16="http://schemas.microsoft.com/office/drawing/2014/main" id="{4A2B316E-C3AC-3FF7-ABCA-ACD275E658A5}"/>
                    </a:ext>
                  </a:extLst>
                </p:cNvPr>
                <p:cNvGrpSpPr/>
                <p:nvPr/>
              </p:nvGrpSpPr>
              <p:grpSpPr>
                <a:xfrm>
                  <a:off x="6691725" y="2206979"/>
                  <a:ext cx="185916" cy="77151"/>
                  <a:chOff x="6691725" y="2206979"/>
                  <a:chExt cx="185916" cy="77151"/>
                </a:xfrm>
              </p:grpSpPr>
              <p:sp>
                <p:nvSpPr>
                  <p:cNvPr id="31" name="Forma Livre: Forma 30">
                    <a:extLst>
                      <a:ext uri="{FF2B5EF4-FFF2-40B4-BE49-F238E27FC236}">
                        <a16:creationId xmlns:a16="http://schemas.microsoft.com/office/drawing/2014/main" id="{9496B999-DF70-8A03-BBD3-CD3E72B18880}"/>
                      </a:ext>
                    </a:extLst>
                  </p:cNvPr>
                  <p:cNvSpPr/>
                  <p:nvPr/>
                </p:nvSpPr>
                <p:spPr>
                  <a:xfrm>
                    <a:off x="6691725" y="2206979"/>
                    <a:ext cx="185896" cy="77151"/>
                  </a:xfrm>
                  <a:custGeom>
                    <a:avLst/>
                    <a:gdLst>
                      <a:gd name="connsiteX0" fmla="*/ 0 w 185896"/>
                      <a:gd name="connsiteY0" fmla="*/ 63463 h 77151"/>
                      <a:gd name="connsiteX1" fmla="*/ 100108 w 185896"/>
                      <a:gd name="connsiteY1" fmla="*/ 75846 h 77151"/>
                      <a:gd name="connsiteX2" fmla="*/ 184499 w 185896"/>
                      <a:gd name="connsiteY2" fmla="*/ 34317 h 77151"/>
                      <a:gd name="connsiteX3" fmla="*/ 82296 w 185896"/>
                      <a:gd name="connsiteY3" fmla="*/ 5170 h 77151"/>
                      <a:gd name="connsiteX4" fmla="*/ 0 w 185896"/>
                      <a:gd name="connsiteY4" fmla="*/ 15076 h 77151"/>
                      <a:gd name="connsiteX5" fmla="*/ 0 w 185896"/>
                      <a:gd name="connsiteY5" fmla="*/ 15076 h 77151"/>
                      <a:gd name="connsiteX6" fmla="*/ 1143 w 185896"/>
                      <a:gd name="connsiteY6" fmla="*/ 61749 h 77151"/>
                      <a:gd name="connsiteX7" fmla="*/ 0 w 185896"/>
                      <a:gd name="connsiteY7" fmla="*/ 63463 h 771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85896" h="77151">
                        <a:moveTo>
                          <a:pt x="0" y="63463"/>
                        </a:moveTo>
                        <a:lnTo>
                          <a:pt x="100108" y="75846"/>
                        </a:lnTo>
                        <a:cubicBezTo>
                          <a:pt x="100108" y="75846"/>
                          <a:pt x="198692" y="88609"/>
                          <a:pt x="184499" y="34317"/>
                        </a:cubicBezTo>
                        <a:cubicBezTo>
                          <a:pt x="170783" y="-18166"/>
                          <a:pt x="82296" y="5170"/>
                          <a:pt x="82296" y="5170"/>
                        </a:cubicBezTo>
                        <a:lnTo>
                          <a:pt x="0" y="15076"/>
                        </a:lnTo>
                        <a:lnTo>
                          <a:pt x="0" y="15076"/>
                        </a:lnTo>
                        <a:cubicBezTo>
                          <a:pt x="9906" y="28507"/>
                          <a:pt x="10382" y="47842"/>
                          <a:pt x="1143" y="61749"/>
                        </a:cubicBezTo>
                        <a:lnTo>
                          <a:pt x="0" y="63463"/>
                        </a:lnTo>
                        <a:close/>
                      </a:path>
                    </a:pathLst>
                  </a:custGeom>
                  <a:solidFill>
                    <a:srgbClr val="EE730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" name="Forma Livre: Forma 31">
                    <a:extLst>
                      <a:ext uri="{FF2B5EF4-FFF2-40B4-BE49-F238E27FC236}">
                        <a16:creationId xmlns:a16="http://schemas.microsoft.com/office/drawing/2014/main" id="{ACBDA247-E131-95EF-21B9-1F0D53D06D0D}"/>
                      </a:ext>
                    </a:extLst>
                  </p:cNvPr>
                  <p:cNvSpPr/>
                  <p:nvPr/>
                </p:nvSpPr>
                <p:spPr>
                  <a:xfrm>
                    <a:off x="6833933" y="2208245"/>
                    <a:ext cx="43708" cy="74771"/>
                  </a:xfrm>
                  <a:custGeom>
                    <a:avLst/>
                    <a:gdLst>
                      <a:gd name="connsiteX0" fmla="*/ 42291 w 43708"/>
                      <a:gd name="connsiteY0" fmla="*/ 32956 h 74771"/>
                      <a:gd name="connsiteX1" fmla="*/ 0 w 43708"/>
                      <a:gd name="connsiteY1" fmla="*/ 0 h 74771"/>
                      <a:gd name="connsiteX2" fmla="*/ 0 w 43708"/>
                      <a:gd name="connsiteY2" fmla="*/ 74771 h 74771"/>
                      <a:gd name="connsiteX3" fmla="*/ 42291 w 43708"/>
                      <a:gd name="connsiteY3" fmla="*/ 32956 h 747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3708" h="74771">
                        <a:moveTo>
                          <a:pt x="42291" y="32956"/>
                        </a:moveTo>
                        <a:cubicBezTo>
                          <a:pt x="36767" y="11811"/>
                          <a:pt x="19145" y="3048"/>
                          <a:pt x="0" y="0"/>
                        </a:cubicBezTo>
                        <a:lnTo>
                          <a:pt x="0" y="74771"/>
                        </a:lnTo>
                        <a:cubicBezTo>
                          <a:pt x="24860" y="72009"/>
                          <a:pt x="50006" y="62294"/>
                          <a:pt x="42291" y="32956"/>
                        </a:cubicBezTo>
                        <a:close/>
                      </a:path>
                    </a:pathLst>
                  </a:custGeom>
                  <a:gradFill>
                    <a:gsLst>
                      <a:gs pos="0">
                        <a:srgbClr val="E0F0EB"/>
                      </a:gs>
                      <a:gs pos="50000">
                        <a:srgbClr val="D0EAED"/>
                      </a:gs>
                      <a:gs pos="100000">
                        <a:srgbClr val="C0E4EF"/>
                      </a:gs>
                    </a:gsLst>
                    <a:lin ang="0" scaled="1"/>
                  </a:gra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33" name="Gráfico 19">
                    <a:extLst>
                      <a:ext uri="{FF2B5EF4-FFF2-40B4-BE49-F238E27FC236}">
                        <a16:creationId xmlns:a16="http://schemas.microsoft.com/office/drawing/2014/main" id="{18EB0F59-733F-D98B-39C3-3A419CCB60D9}"/>
                      </a:ext>
                    </a:extLst>
                  </p:cNvPr>
                  <p:cNvGrpSpPr/>
                  <p:nvPr/>
                </p:nvGrpSpPr>
                <p:grpSpPr>
                  <a:xfrm>
                    <a:off x="6732111" y="2227485"/>
                    <a:ext cx="13621" cy="32194"/>
                    <a:chOff x="6732111" y="2227485"/>
                    <a:chExt cx="13621" cy="32194"/>
                  </a:xfrm>
                  <a:solidFill>
                    <a:srgbClr val="FFFFFF"/>
                  </a:solidFill>
                </p:grpSpPr>
                <p:sp>
                  <p:nvSpPr>
                    <p:cNvPr id="37" name="Forma Livre: Forma 36">
                      <a:extLst>
                        <a:ext uri="{FF2B5EF4-FFF2-40B4-BE49-F238E27FC236}">
                          <a16:creationId xmlns:a16="http://schemas.microsoft.com/office/drawing/2014/main" id="{E961C1F5-1AD5-ABA4-F8FA-8CD04277396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36207" y="2227485"/>
                      <a:ext cx="9525" cy="32099"/>
                    </a:xfrm>
                    <a:custGeom>
                      <a:avLst/>
                      <a:gdLst>
                        <a:gd name="connsiteX0" fmla="*/ 0 w 9525"/>
                        <a:gd name="connsiteY0" fmla="*/ 0 h 32099"/>
                        <a:gd name="connsiteX1" fmla="*/ 0 w 9525"/>
                        <a:gd name="connsiteY1" fmla="*/ 32099 h 320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32099">
                          <a:moveTo>
                            <a:pt x="0" y="0"/>
                          </a:moveTo>
                          <a:lnTo>
                            <a:pt x="0" y="32099"/>
                          </a:lnTo>
                        </a:path>
                      </a:pathLst>
                    </a:custGeom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pt-BR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8" name="Forma Livre: Forma 37">
                      <a:extLst>
                        <a:ext uri="{FF2B5EF4-FFF2-40B4-BE49-F238E27FC236}">
                          <a16:creationId xmlns:a16="http://schemas.microsoft.com/office/drawing/2014/main" id="{05068AE5-051A-D60B-58A7-680BCCC56E5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32111" y="2227485"/>
                      <a:ext cx="8191" cy="32194"/>
                    </a:xfrm>
                    <a:custGeom>
                      <a:avLst/>
                      <a:gdLst>
                        <a:gd name="connsiteX0" fmla="*/ 0 w 8191"/>
                        <a:gd name="connsiteY0" fmla="*/ 0 h 32194"/>
                        <a:gd name="connsiteX1" fmla="*/ 8192 w 8191"/>
                        <a:gd name="connsiteY1" fmla="*/ 0 h 32194"/>
                        <a:gd name="connsiteX2" fmla="*/ 8192 w 8191"/>
                        <a:gd name="connsiteY2" fmla="*/ 32194 h 32194"/>
                        <a:gd name="connsiteX3" fmla="*/ 0 w 8191"/>
                        <a:gd name="connsiteY3" fmla="*/ 32194 h 3219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8191" h="32194">
                          <a:moveTo>
                            <a:pt x="0" y="0"/>
                          </a:moveTo>
                          <a:lnTo>
                            <a:pt x="8192" y="0"/>
                          </a:lnTo>
                          <a:lnTo>
                            <a:pt x="8192" y="32194"/>
                          </a:lnTo>
                          <a:lnTo>
                            <a:pt x="0" y="32194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pt-BR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34" name="Gráfico 19">
                    <a:extLst>
                      <a:ext uri="{FF2B5EF4-FFF2-40B4-BE49-F238E27FC236}">
                        <a16:creationId xmlns:a16="http://schemas.microsoft.com/office/drawing/2014/main" id="{D0FDF20E-7DF6-26AB-E8EE-649D10E1E1D0}"/>
                      </a:ext>
                    </a:extLst>
                  </p:cNvPr>
                  <p:cNvGrpSpPr/>
                  <p:nvPr/>
                </p:nvGrpSpPr>
                <p:grpSpPr>
                  <a:xfrm>
                    <a:off x="6752399" y="2227485"/>
                    <a:ext cx="13716" cy="32194"/>
                    <a:chOff x="6752399" y="2227485"/>
                    <a:chExt cx="13716" cy="32194"/>
                  </a:xfrm>
                  <a:solidFill>
                    <a:srgbClr val="FFFFFF"/>
                  </a:solidFill>
                </p:grpSpPr>
                <p:sp>
                  <p:nvSpPr>
                    <p:cNvPr id="35" name="Forma Livre: Forma 34">
                      <a:extLst>
                        <a:ext uri="{FF2B5EF4-FFF2-40B4-BE49-F238E27FC236}">
                          <a16:creationId xmlns:a16="http://schemas.microsoft.com/office/drawing/2014/main" id="{BD10C9B0-053F-D2E7-56EA-985C95F604F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56590" y="2227485"/>
                      <a:ext cx="9525" cy="32099"/>
                    </a:xfrm>
                    <a:custGeom>
                      <a:avLst/>
                      <a:gdLst>
                        <a:gd name="connsiteX0" fmla="*/ 0 w 9525"/>
                        <a:gd name="connsiteY0" fmla="*/ 0 h 32099"/>
                        <a:gd name="connsiteX1" fmla="*/ 0 w 9525"/>
                        <a:gd name="connsiteY1" fmla="*/ 32099 h 320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32099">
                          <a:moveTo>
                            <a:pt x="0" y="0"/>
                          </a:moveTo>
                          <a:lnTo>
                            <a:pt x="0" y="32099"/>
                          </a:lnTo>
                        </a:path>
                      </a:pathLst>
                    </a:custGeom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pt-BR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6" name="Forma Livre: Forma 35">
                      <a:extLst>
                        <a:ext uri="{FF2B5EF4-FFF2-40B4-BE49-F238E27FC236}">
                          <a16:creationId xmlns:a16="http://schemas.microsoft.com/office/drawing/2014/main" id="{9DBD8F2D-9160-7B38-5549-034131588F2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52399" y="2227485"/>
                      <a:ext cx="8191" cy="32194"/>
                    </a:xfrm>
                    <a:custGeom>
                      <a:avLst/>
                      <a:gdLst>
                        <a:gd name="connsiteX0" fmla="*/ 0 w 8191"/>
                        <a:gd name="connsiteY0" fmla="*/ 0 h 32194"/>
                        <a:gd name="connsiteX1" fmla="*/ 8192 w 8191"/>
                        <a:gd name="connsiteY1" fmla="*/ 0 h 32194"/>
                        <a:gd name="connsiteX2" fmla="*/ 8192 w 8191"/>
                        <a:gd name="connsiteY2" fmla="*/ 32194 h 32194"/>
                        <a:gd name="connsiteX3" fmla="*/ 0 w 8191"/>
                        <a:gd name="connsiteY3" fmla="*/ 32194 h 3219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8191" h="32194">
                          <a:moveTo>
                            <a:pt x="0" y="0"/>
                          </a:moveTo>
                          <a:lnTo>
                            <a:pt x="8192" y="0"/>
                          </a:lnTo>
                          <a:lnTo>
                            <a:pt x="8192" y="32194"/>
                          </a:lnTo>
                          <a:lnTo>
                            <a:pt x="0" y="32194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pt-BR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</p:grpSp>
          <p:grpSp>
            <p:nvGrpSpPr>
              <p:cNvPr id="14" name="Gráfico 19">
                <a:extLst>
                  <a:ext uri="{FF2B5EF4-FFF2-40B4-BE49-F238E27FC236}">
                    <a16:creationId xmlns:a16="http://schemas.microsoft.com/office/drawing/2014/main" id="{1DB72F7A-8205-2E7C-FBE7-6042D0071C41}"/>
                  </a:ext>
                </a:extLst>
              </p:cNvPr>
              <p:cNvGrpSpPr/>
              <p:nvPr/>
            </p:nvGrpSpPr>
            <p:grpSpPr>
              <a:xfrm>
                <a:off x="6309010" y="1936020"/>
                <a:ext cx="330041" cy="205835"/>
                <a:chOff x="6309010" y="1936020"/>
                <a:chExt cx="330041" cy="205835"/>
              </a:xfrm>
            </p:grpSpPr>
            <p:sp>
              <p:nvSpPr>
                <p:cNvPr id="26" name="Forma Livre: Forma 25">
                  <a:extLst>
                    <a:ext uri="{FF2B5EF4-FFF2-40B4-BE49-F238E27FC236}">
                      <a16:creationId xmlns:a16="http://schemas.microsoft.com/office/drawing/2014/main" id="{CE6336F0-358D-62AC-28D0-3A0513CE0E39}"/>
                    </a:ext>
                  </a:extLst>
                </p:cNvPr>
                <p:cNvSpPr/>
                <p:nvPr/>
              </p:nvSpPr>
              <p:spPr>
                <a:xfrm>
                  <a:off x="6309010" y="1936020"/>
                  <a:ext cx="330041" cy="197548"/>
                </a:xfrm>
                <a:custGeom>
                  <a:avLst/>
                  <a:gdLst>
                    <a:gd name="connsiteX0" fmla="*/ 0 w 330041"/>
                    <a:gd name="connsiteY0" fmla="*/ 0 h 197548"/>
                    <a:gd name="connsiteX1" fmla="*/ 330041 w 330041"/>
                    <a:gd name="connsiteY1" fmla="*/ 0 h 197548"/>
                    <a:gd name="connsiteX2" fmla="*/ 330041 w 330041"/>
                    <a:gd name="connsiteY2" fmla="*/ 197548 h 197548"/>
                    <a:gd name="connsiteX3" fmla="*/ 0 w 330041"/>
                    <a:gd name="connsiteY3" fmla="*/ 197548 h 197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30041" h="197548">
                      <a:moveTo>
                        <a:pt x="0" y="0"/>
                      </a:moveTo>
                      <a:lnTo>
                        <a:pt x="330041" y="0"/>
                      </a:lnTo>
                      <a:lnTo>
                        <a:pt x="330041" y="197548"/>
                      </a:lnTo>
                      <a:lnTo>
                        <a:pt x="0" y="197548"/>
                      </a:ln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7" name="Forma Livre: Forma 26">
                  <a:extLst>
                    <a:ext uri="{FF2B5EF4-FFF2-40B4-BE49-F238E27FC236}">
                      <a16:creationId xmlns:a16="http://schemas.microsoft.com/office/drawing/2014/main" id="{9232679B-44EE-762F-4D0D-9B2134A42AAB}"/>
                    </a:ext>
                  </a:extLst>
                </p:cNvPr>
                <p:cNvSpPr/>
                <p:nvPr/>
              </p:nvSpPr>
              <p:spPr>
                <a:xfrm>
                  <a:off x="6309010" y="2125377"/>
                  <a:ext cx="330041" cy="16478"/>
                </a:xfrm>
                <a:custGeom>
                  <a:avLst/>
                  <a:gdLst>
                    <a:gd name="connsiteX0" fmla="*/ 0 w 330041"/>
                    <a:gd name="connsiteY0" fmla="*/ 0 h 16478"/>
                    <a:gd name="connsiteX1" fmla="*/ 330041 w 330041"/>
                    <a:gd name="connsiteY1" fmla="*/ 0 h 16478"/>
                    <a:gd name="connsiteX2" fmla="*/ 330041 w 330041"/>
                    <a:gd name="connsiteY2" fmla="*/ 16478 h 16478"/>
                    <a:gd name="connsiteX3" fmla="*/ 0 w 330041"/>
                    <a:gd name="connsiteY3" fmla="*/ 16478 h 164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30041" h="16478">
                      <a:moveTo>
                        <a:pt x="0" y="0"/>
                      </a:moveTo>
                      <a:lnTo>
                        <a:pt x="330041" y="0"/>
                      </a:lnTo>
                      <a:lnTo>
                        <a:pt x="330041" y="16478"/>
                      </a:lnTo>
                      <a:lnTo>
                        <a:pt x="0" y="16478"/>
                      </a:lnTo>
                      <a:close/>
                    </a:path>
                  </a:pathLst>
                </a:custGeom>
                <a:solidFill>
                  <a:srgbClr val="CBB8C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8" name="Forma Livre: Forma 27">
                  <a:extLst>
                    <a:ext uri="{FF2B5EF4-FFF2-40B4-BE49-F238E27FC236}">
                      <a16:creationId xmlns:a16="http://schemas.microsoft.com/office/drawing/2014/main" id="{6963E7A1-4AC4-AF46-C4F8-A108E114A3B6}"/>
                    </a:ext>
                  </a:extLst>
                </p:cNvPr>
                <p:cNvSpPr/>
                <p:nvPr/>
              </p:nvSpPr>
              <p:spPr>
                <a:xfrm>
                  <a:off x="6460839" y="2003362"/>
                  <a:ext cx="26479" cy="26479"/>
                </a:xfrm>
                <a:custGeom>
                  <a:avLst/>
                  <a:gdLst>
                    <a:gd name="connsiteX0" fmla="*/ 0 w 26479"/>
                    <a:gd name="connsiteY0" fmla="*/ 13240 h 26479"/>
                    <a:gd name="connsiteX1" fmla="*/ 13240 w 26479"/>
                    <a:gd name="connsiteY1" fmla="*/ 26479 h 26479"/>
                    <a:gd name="connsiteX2" fmla="*/ 26480 w 26479"/>
                    <a:gd name="connsiteY2" fmla="*/ 13240 h 26479"/>
                    <a:gd name="connsiteX3" fmla="*/ 13240 w 26479"/>
                    <a:gd name="connsiteY3" fmla="*/ 0 h 26479"/>
                    <a:gd name="connsiteX4" fmla="*/ 0 w 26479"/>
                    <a:gd name="connsiteY4" fmla="*/ 13240 h 264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6479" h="26479">
                      <a:moveTo>
                        <a:pt x="0" y="13240"/>
                      </a:moveTo>
                      <a:cubicBezTo>
                        <a:pt x="0" y="20574"/>
                        <a:pt x="5906" y="26479"/>
                        <a:pt x="13240" y="26479"/>
                      </a:cubicBezTo>
                      <a:cubicBezTo>
                        <a:pt x="20574" y="26479"/>
                        <a:pt x="26480" y="20574"/>
                        <a:pt x="26480" y="13240"/>
                      </a:cubicBezTo>
                      <a:cubicBezTo>
                        <a:pt x="26480" y="5906"/>
                        <a:pt x="20574" y="0"/>
                        <a:pt x="13240" y="0"/>
                      </a:cubicBezTo>
                      <a:cubicBezTo>
                        <a:pt x="5906" y="95"/>
                        <a:pt x="0" y="6001"/>
                        <a:pt x="0" y="1324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5" name="Forma Livre: Forma 14">
                <a:extLst>
                  <a:ext uri="{FF2B5EF4-FFF2-40B4-BE49-F238E27FC236}">
                    <a16:creationId xmlns:a16="http://schemas.microsoft.com/office/drawing/2014/main" id="{39F53354-7085-DFA5-A329-218F96946938}"/>
                  </a:ext>
                </a:extLst>
              </p:cNvPr>
              <p:cNvSpPr/>
              <p:nvPr/>
            </p:nvSpPr>
            <p:spPr>
              <a:xfrm>
                <a:off x="6265957" y="2039522"/>
                <a:ext cx="614010" cy="230920"/>
              </a:xfrm>
              <a:custGeom>
                <a:avLst/>
                <a:gdLst>
                  <a:gd name="connsiteX0" fmla="*/ 609410 w 614010"/>
                  <a:gd name="connsiteY0" fmla="*/ 41373 h 230920"/>
                  <a:gd name="connsiteX1" fmla="*/ 11240 w 614010"/>
                  <a:gd name="connsiteY1" fmla="*/ 230921 h 230920"/>
                  <a:gd name="connsiteX2" fmla="*/ 0 w 614010"/>
                  <a:gd name="connsiteY2" fmla="*/ 178629 h 230920"/>
                  <a:gd name="connsiteX3" fmla="*/ 609410 w 614010"/>
                  <a:gd name="connsiteY3" fmla="*/ 41373 h 230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14010" h="230920">
                    <a:moveTo>
                      <a:pt x="609410" y="41373"/>
                    </a:moveTo>
                    <a:cubicBezTo>
                      <a:pt x="675323" y="158817"/>
                      <a:pt x="11240" y="230921"/>
                      <a:pt x="11240" y="230921"/>
                    </a:cubicBezTo>
                    <a:lnTo>
                      <a:pt x="0" y="178629"/>
                    </a:lnTo>
                    <a:cubicBezTo>
                      <a:pt x="-95" y="178629"/>
                      <a:pt x="528066" y="-103502"/>
                      <a:pt x="609410" y="41373"/>
                    </a:cubicBezTo>
                    <a:close/>
                  </a:path>
                </a:pathLst>
              </a:custGeom>
              <a:solidFill>
                <a:srgbClr val="13223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" name="Forma Livre: Forma 15">
                <a:extLst>
                  <a:ext uri="{FF2B5EF4-FFF2-40B4-BE49-F238E27FC236}">
                    <a16:creationId xmlns:a16="http://schemas.microsoft.com/office/drawing/2014/main" id="{0A19A224-710C-B685-3F9C-88C82C062B8D}"/>
                  </a:ext>
                </a:extLst>
              </p:cNvPr>
              <p:cNvSpPr/>
              <p:nvPr/>
            </p:nvSpPr>
            <p:spPr>
              <a:xfrm>
                <a:off x="6051890" y="2039501"/>
                <a:ext cx="611926" cy="237323"/>
              </a:xfrm>
              <a:custGeom>
                <a:avLst/>
                <a:gdLst>
                  <a:gd name="connsiteX0" fmla="*/ 3374 w 611926"/>
                  <a:gd name="connsiteY0" fmla="*/ 41394 h 237323"/>
                  <a:gd name="connsiteX1" fmla="*/ 607069 w 611926"/>
                  <a:gd name="connsiteY1" fmla="*/ 237323 h 237323"/>
                  <a:gd name="connsiteX2" fmla="*/ 611927 w 611926"/>
                  <a:gd name="connsiteY2" fmla="*/ 178459 h 237323"/>
                  <a:gd name="connsiteX3" fmla="*/ 3374 w 611926"/>
                  <a:gd name="connsiteY3" fmla="*/ 41394 h 237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11926" h="237323">
                    <a:moveTo>
                      <a:pt x="3374" y="41394"/>
                    </a:moveTo>
                    <a:cubicBezTo>
                      <a:pt x="-52633" y="163885"/>
                      <a:pt x="607069" y="237323"/>
                      <a:pt x="607069" y="237323"/>
                    </a:cubicBezTo>
                    <a:lnTo>
                      <a:pt x="611927" y="178459"/>
                    </a:lnTo>
                    <a:cubicBezTo>
                      <a:pt x="611927" y="178459"/>
                      <a:pt x="69573" y="-103481"/>
                      <a:pt x="3374" y="41394"/>
                    </a:cubicBezTo>
                    <a:close/>
                  </a:path>
                </a:pathLst>
              </a:custGeom>
              <a:solidFill>
                <a:srgbClr val="11458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17" name="Gráfico 19">
                <a:extLst>
                  <a:ext uri="{FF2B5EF4-FFF2-40B4-BE49-F238E27FC236}">
                    <a16:creationId xmlns:a16="http://schemas.microsoft.com/office/drawing/2014/main" id="{42C8F0F3-288E-CF42-4A8A-A92907387BC1}"/>
                  </a:ext>
                </a:extLst>
              </p:cNvPr>
              <p:cNvGrpSpPr/>
              <p:nvPr/>
            </p:nvGrpSpPr>
            <p:grpSpPr>
              <a:xfrm>
                <a:off x="6309928" y="1379828"/>
                <a:ext cx="230560" cy="318354"/>
                <a:chOff x="6309928" y="1379828"/>
                <a:chExt cx="230560" cy="318354"/>
              </a:xfrm>
            </p:grpSpPr>
            <p:sp>
              <p:nvSpPr>
                <p:cNvPr id="18" name="Forma Livre: Forma 17">
                  <a:extLst>
                    <a:ext uri="{FF2B5EF4-FFF2-40B4-BE49-F238E27FC236}">
                      <a16:creationId xmlns:a16="http://schemas.microsoft.com/office/drawing/2014/main" id="{50F923EF-E604-26EA-BEDC-E375441692E2}"/>
                    </a:ext>
                  </a:extLst>
                </p:cNvPr>
                <p:cNvSpPr/>
                <p:nvPr/>
              </p:nvSpPr>
              <p:spPr>
                <a:xfrm>
                  <a:off x="6407213" y="1607598"/>
                  <a:ext cx="87933" cy="90584"/>
                </a:xfrm>
                <a:custGeom>
                  <a:avLst/>
                  <a:gdLst>
                    <a:gd name="connsiteX0" fmla="*/ 87916 w 87933"/>
                    <a:gd name="connsiteY0" fmla="*/ 73438 h 90584"/>
                    <a:gd name="connsiteX1" fmla="*/ 70675 w 87933"/>
                    <a:gd name="connsiteY1" fmla="*/ 0 h 90584"/>
                    <a:gd name="connsiteX2" fmla="*/ 0 w 87933"/>
                    <a:gd name="connsiteY2" fmla="*/ 13907 h 90584"/>
                    <a:gd name="connsiteX3" fmla="*/ 0 w 87933"/>
                    <a:gd name="connsiteY3" fmla="*/ 73819 h 90584"/>
                    <a:gd name="connsiteX4" fmla="*/ 43148 w 87933"/>
                    <a:gd name="connsiteY4" fmla="*/ 90583 h 90584"/>
                    <a:gd name="connsiteX5" fmla="*/ 87916 w 87933"/>
                    <a:gd name="connsiteY5" fmla="*/ 73438 h 905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7933" h="90584">
                      <a:moveTo>
                        <a:pt x="87916" y="73438"/>
                      </a:moveTo>
                      <a:cubicBezTo>
                        <a:pt x="81820" y="54959"/>
                        <a:pt x="70675" y="0"/>
                        <a:pt x="70675" y="0"/>
                      </a:cubicBezTo>
                      <a:lnTo>
                        <a:pt x="0" y="13907"/>
                      </a:lnTo>
                      <a:lnTo>
                        <a:pt x="0" y="73819"/>
                      </a:lnTo>
                      <a:cubicBezTo>
                        <a:pt x="0" y="73819"/>
                        <a:pt x="23431" y="90488"/>
                        <a:pt x="43148" y="90583"/>
                      </a:cubicBezTo>
                      <a:cubicBezTo>
                        <a:pt x="64770" y="90773"/>
                        <a:pt x="88678" y="75533"/>
                        <a:pt x="87916" y="73438"/>
                      </a:cubicBezTo>
                      <a:close/>
                    </a:path>
                  </a:pathLst>
                </a:custGeom>
                <a:solidFill>
                  <a:srgbClr val="F4A08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" name="Forma Livre: Forma 22">
                  <a:extLst>
                    <a:ext uri="{FF2B5EF4-FFF2-40B4-BE49-F238E27FC236}">
                      <a16:creationId xmlns:a16="http://schemas.microsoft.com/office/drawing/2014/main" id="{DC43758A-D716-47EF-3DDB-F4567F510CB7}"/>
                    </a:ext>
                  </a:extLst>
                </p:cNvPr>
                <p:cNvSpPr/>
                <p:nvPr/>
              </p:nvSpPr>
              <p:spPr>
                <a:xfrm>
                  <a:off x="6345967" y="1431862"/>
                  <a:ext cx="153040" cy="206272"/>
                </a:xfrm>
                <a:custGeom>
                  <a:avLst/>
                  <a:gdLst>
                    <a:gd name="connsiteX0" fmla="*/ 149162 w 153040"/>
                    <a:gd name="connsiteY0" fmla="*/ 78486 h 206272"/>
                    <a:gd name="connsiteX1" fmla="*/ 135827 w 153040"/>
                    <a:gd name="connsiteY1" fmla="*/ 0 h 206272"/>
                    <a:gd name="connsiteX2" fmla="*/ 0 w 153040"/>
                    <a:gd name="connsiteY2" fmla="*/ 16097 h 206272"/>
                    <a:gd name="connsiteX3" fmla="*/ 8192 w 153040"/>
                    <a:gd name="connsiteY3" fmla="*/ 106585 h 206272"/>
                    <a:gd name="connsiteX4" fmla="*/ 90964 w 153040"/>
                    <a:gd name="connsiteY4" fmla="*/ 205168 h 206272"/>
                    <a:gd name="connsiteX5" fmla="*/ 149162 w 153040"/>
                    <a:gd name="connsiteY5" fmla="*/ 78486 h 2062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53040" h="206272">
                      <a:moveTo>
                        <a:pt x="149162" y="78486"/>
                      </a:moveTo>
                      <a:lnTo>
                        <a:pt x="135827" y="0"/>
                      </a:lnTo>
                      <a:lnTo>
                        <a:pt x="0" y="16097"/>
                      </a:lnTo>
                      <a:lnTo>
                        <a:pt x="8192" y="106585"/>
                      </a:lnTo>
                      <a:cubicBezTo>
                        <a:pt x="8192" y="106585"/>
                        <a:pt x="18669" y="218503"/>
                        <a:pt x="90964" y="205168"/>
                      </a:cubicBezTo>
                      <a:cubicBezTo>
                        <a:pt x="169259" y="190690"/>
                        <a:pt x="152686" y="77533"/>
                        <a:pt x="149162" y="78486"/>
                      </a:cubicBezTo>
                      <a:close/>
                    </a:path>
                  </a:pathLst>
                </a:custGeom>
                <a:solidFill>
                  <a:srgbClr val="F8B68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" name="Forma Livre: Forma 23">
                  <a:extLst>
                    <a:ext uri="{FF2B5EF4-FFF2-40B4-BE49-F238E27FC236}">
                      <a16:creationId xmlns:a16="http://schemas.microsoft.com/office/drawing/2014/main" id="{1A5343AE-3386-0BDE-F8C9-B559FE44C108}"/>
                    </a:ext>
                  </a:extLst>
                </p:cNvPr>
                <p:cNvSpPr/>
                <p:nvPr/>
              </p:nvSpPr>
              <p:spPr>
                <a:xfrm>
                  <a:off x="6309928" y="1379828"/>
                  <a:ext cx="230560" cy="180239"/>
                </a:xfrm>
                <a:custGeom>
                  <a:avLst/>
                  <a:gdLst>
                    <a:gd name="connsiteX0" fmla="*/ 216919 w 230560"/>
                    <a:gd name="connsiteY0" fmla="*/ 119851 h 180239"/>
                    <a:gd name="connsiteX1" fmla="*/ 222729 w 230560"/>
                    <a:gd name="connsiteY1" fmla="*/ 87181 h 180239"/>
                    <a:gd name="connsiteX2" fmla="*/ 198345 w 230560"/>
                    <a:gd name="connsiteY2" fmla="*/ 34317 h 180239"/>
                    <a:gd name="connsiteX3" fmla="*/ 161864 w 230560"/>
                    <a:gd name="connsiteY3" fmla="*/ 2503 h 180239"/>
                    <a:gd name="connsiteX4" fmla="*/ 102714 w 230560"/>
                    <a:gd name="connsiteY4" fmla="*/ 19172 h 180239"/>
                    <a:gd name="connsiteX5" fmla="*/ 54803 w 230560"/>
                    <a:gd name="connsiteY5" fmla="*/ 21649 h 180239"/>
                    <a:gd name="connsiteX6" fmla="*/ 40230 w 230560"/>
                    <a:gd name="connsiteY6" fmla="*/ 63178 h 180239"/>
                    <a:gd name="connsiteX7" fmla="*/ 3940 w 230560"/>
                    <a:gd name="connsiteY7" fmla="*/ 85466 h 180239"/>
                    <a:gd name="connsiteX8" fmla="*/ 18799 w 230560"/>
                    <a:gd name="connsiteY8" fmla="*/ 126995 h 180239"/>
                    <a:gd name="connsiteX9" fmla="*/ 70710 w 230560"/>
                    <a:gd name="connsiteY9" fmla="*/ 128233 h 180239"/>
                    <a:gd name="connsiteX10" fmla="*/ 125193 w 230560"/>
                    <a:gd name="connsiteY10" fmla="*/ 95182 h 180239"/>
                    <a:gd name="connsiteX11" fmla="*/ 175390 w 230560"/>
                    <a:gd name="connsiteY11" fmla="*/ 93943 h 180239"/>
                    <a:gd name="connsiteX12" fmla="*/ 188058 w 230560"/>
                    <a:gd name="connsiteY12" fmla="*/ 180240 h 180239"/>
                    <a:gd name="connsiteX13" fmla="*/ 200155 w 230560"/>
                    <a:gd name="connsiteY13" fmla="*/ 163285 h 180239"/>
                    <a:gd name="connsiteX14" fmla="*/ 216919 w 230560"/>
                    <a:gd name="connsiteY14" fmla="*/ 119851 h 180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30560" h="180239">
                      <a:moveTo>
                        <a:pt x="216919" y="119851"/>
                      </a:moveTo>
                      <a:cubicBezTo>
                        <a:pt x="215109" y="110326"/>
                        <a:pt x="217681" y="95467"/>
                        <a:pt x="222729" y="87181"/>
                      </a:cubicBezTo>
                      <a:cubicBezTo>
                        <a:pt x="246160" y="48795"/>
                        <a:pt x="210727" y="37651"/>
                        <a:pt x="198345" y="34317"/>
                      </a:cubicBezTo>
                      <a:cubicBezTo>
                        <a:pt x="184629" y="30697"/>
                        <a:pt x="180343" y="9361"/>
                        <a:pt x="161864" y="2503"/>
                      </a:cubicBezTo>
                      <a:cubicBezTo>
                        <a:pt x="133765" y="-7879"/>
                        <a:pt x="117954" y="17267"/>
                        <a:pt x="102714" y="19172"/>
                      </a:cubicBezTo>
                      <a:cubicBezTo>
                        <a:pt x="87474" y="21077"/>
                        <a:pt x="72424" y="4885"/>
                        <a:pt x="54803" y="21649"/>
                      </a:cubicBezTo>
                      <a:cubicBezTo>
                        <a:pt x="37182" y="38508"/>
                        <a:pt x="44707" y="54129"/>
                        <a:pt x="40230" y="63178"/>
                      </a:cubicBezTo>
                      <a:cubicBezTo>
                        <a:pt x="35753" y="72226"/>
                        <a:pt x="17275" y="57082"/>
                        <a:pt x="3940" y="85466"/>
                      </a:cubicBezTo>
                      <a:cubicBezTo>
                        <a:pt x="-6252" y="107088"/>
                        <a:pt x="4987" y="119756"/>
                        <a:pt x="18799" y="126995"/>
                      </a:cubicBezTo>
                      <a:cubicBezTo>
                        <a:pt x="34896" y="135472"/>
                        <a:pt x="54041" y="135472"/>
                        <a:pt x="70710" y="128233"/>
                      </a:cubicBezTo>
                      <a:cubicBezTo>
                        <a:pt x="85093" y="122042"/>
                        <a:pt x="105000" y="111565"/>
                        <a:pt x="125193" y="95182"/>
                      </a:cubicBezTo>
                      <a:cubicBezTo>
                        <a:pt x="130432" y="90895"/>
                        <a:pt x="171961" y="88038"/>
                        <a:pt x="175390" y="93943"/>
                      </a:cubicBezTo>
                      <a:cubicBezTo>
                        <a:pt x="187105" y="113946"/>
                        <a:pt x="188058" y="180240"/>
                        <a:pt x="188058" y="180240"/>
                      </a:cubicBezTo>
                      <a:lnTo>
                        <a:pt x="200155" y="163285"/>
                      </a:lnTo>
                      <a:cubicBezTo>
                        <a:pt x="200059" y="163285"/>
                        <a:pt x="222443" y="148712"/>
                        <a:pt x="216919" y="119851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Forma Livre: Forma 24">
                  <a:extLst>
                    <a:ext uri="{FF2B5EF4-FFF2-40B4-BE49-F238E27FC236}">
                      <a16:creationId xmlns:a16="http://schemas.microsoft.com/office/drawing/2014/main" id="{F4D527B4-F08D-FE96-00BD-1D7B87FA7D5F}"/>
                    </a:ext>
                  </a:extLst>
                </p:cNvPr>
                <p:cNvSpPr/>
                <p:nvPr/>
              </p:nvSpPr>
              <p:spPr>
                <a:xfrm>
                  <a:off x="6480618" y="1506855"/>
                  <a:ext cx="26353" cy="35407"/>
                </a:xfrm>
                <a:custGeom>
                  <a:avLst/>
                  <a:gdLst>
                    <a:gd name="connsiteX0" fmla="*/ 1747 w 26353"/>
                    <a:gd name="connsiteY0" fmla="*/ 13304 h 35407"/>
                    <a:gd name="connsiteX1" fmla="*/ 6605 w 26353"/>
                    <a:gd name="connsiteY1" fmla="*/ 34830 h 35407"/>
                    <a:gd name="connsiteX2" fmla="*/ 24607 w 26353"/>
                    <a:gd name="connsiteY2" fmla="*/ 22067 h 35407"/>
                    <a:gd name="connsiteX3" fmla="*/ 19749 w 26353"/>
                    <a:gd name="connsiteY3" fmla="*/ 540 h 35407"/>
                    <a:gd name="connsiteX4" fmla="*/ 1747 w 26353"/>
                    <a:gd name="connsiteY4" fmla="*/ 13304 h 354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6353" h="35407">
                      <a:moveTo>
                        <a:pt x="1747" y="13304"/>
                      </a:moveTo>
                      <a:cubicBezTo>
                        <a:pt x="-1873" y="22733"/>
                        <a:pt x="318" y="32449"/>
                        <a:pt x="6605" y="34830"/>
                      </a:cubicBezTo>
                      <a:cubicBezTo>
                        <a:pt x="12891" y="37307"/>
                        <a:pt x="20987" y="31592"/>
                        <a:pt x="24607" y="22067"/>
                      </a:cubicBezTo>
                      <a:cubicBezTo>
                        <a:pt x="28226" y="12637"/>
                        <a:pt x="26036" y="2921"/>
                        <a:pt x="19749" y="540"/>
                      </a:cubicBezTo>
                      <a:cubicBezTo>
                        <a:pt x="13463" y="-1841"/>
                        <a:pt x="5366" y="3874"/>
                        <a:pt x="1747" y="13304"/>
                      </a:cubicBezTo>
                      <a:close/>
                    </a:path>
                  </a:pathLst>
                </a:custGeom>
                <a:solidFill>
                  <a:srgbClr val="F8B68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81" name="Retângulo 80">
            <a:extLst>
              <a:ext uri="{FF2B5EF4-FFF2-40B4-BE49-F238E27FC236}">
                <a16:creationId xmlns:a16="http://schemas.microsoft.com/office/drawing/2014/main" id="{9E9B161C-E1D5-A730-6F48-22D13651F7D7}"/>
              </a:ext>
            </a:extLst>
          </p:cNvPr>
          <p:cNvSpPr/>
          <p:nvPr/>
        </p:nvSpPr>
        <p:spPr>
          <a:xfrm>
            <a:off x="6709109" y="1145845"/>
            <a:ext cx="10833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 Black" panose="020B0903020204020204" pitchFamily="34" charset="0"/>
                <a:ea typeface="+mn-ea"/>
                <a:cs typeface="Itau Display Pro App Black" panose="020B0903020204020204" pitchFamily="34" charset="0"/>
              </a:rPr>
              <a:t>33,9MM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 Black" panose="020B0903020204020204" pitchFamily="34" charset="0"/>
                <a:ea typeface="+mn-ea"/>
                <a:cs typeface="Itau Display Pro App Black" panose="020B0903020204020204" pitchFamily="34" charset="0"/>
              </a:rPr>
              <a:t>Correntistas</a:t>
            </a:r>
          </a:p>
        </p:txBody>
      </p:sp>
      <p:graphicFrame>
        <p:nvGraphicFramePr>
          <p:cNvPr id="82" name="Gráfico 81">
            <a:extLst>
              <a:ext uri="{FF2B5EF4-FFF2-40B4-BE49-F238E27FC236}">
                <a16:creationId xmlns:a16="http://schemas.microsoft.com/office/drawing/2014/main" id="{1E82B300-70F3-0C57-AF64-7A63B5D00C9D}"/>
              </a:ext>
            </a:extLst>
          </p:cNvPr>
          <p:cNvGraphicFramePr/>
          <p:nvPr/>
        </p:nvGraphicFramePr>
        <p:xfrm>
          <a:off x="4989402" y="896333"/>
          <a:ext cx="2122501" cy="16889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3" name="Retângulo 82">
            <a:extLst>
              <a:ext uri="{FF2B5EF4-FFF2-40B4-BE49-F238E27FC236}">
                <a16:creationId xmlns:a16="http://schemas.microsoft.com/office/drawing/2014/main" id="{C5C675B2-ABB7-9EC1-DD33-AD5039DBD12D}"/>
              </a:ext>
            </a:extLst>
          </p:cNvPr>
          <p:cNvSpPr/>
          <p:nvPr/>
        </p:nvSpPr>
        <p:spPr>
          <a:xfrm>
            <a:off x="3952982" y="1145845"/>
            <a:ext cx="13940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 Black" panose="020B0903020204020204" pitchFamily="34" charset="0"/>
                <a:ea typeface="+mn-ea"/>
                <a:cs typeface="Itau Display Pro App Black" panose="020B0903020204020204" pitchFamily="34" charset="0"/>
              </a:rPr>
              <a:t>33,6MM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 Black" panose="020B0903020204020204" pitchFamily="34" charset="0"/>
                <a:ea typeface="+mn-ea"/>
                <a:cs typeface="Itau Display Pro App Black" panose="020B0903020204020204" pitchFamily="34" charset="0"/>
              </a:rPr>
              <a:t>Não correntistas</a:t>
            </a:r>
          </a:p>
        </p:txBody>
      </p:sp>
      <p:sp>
        <p:nvSpPr>
          <p:cNvPr id="84" name="Título 1">
            <a:extLst>
              <a:ext uri="{FF2B5EF4-FFF2-40B4-BE49-F238E27FC236}">
                <a16:creationId xmlns:a16="http://schemas.microsoft.com/office/drawing/2014/main" id="{F5DF9ED9-26D3-A757-AF5F-763AD08CEB7E}"/>
              </a:ext>
            </a:extLst>
          </p:cNvPr>
          <p:cNvSpPr txBox="1">
            <a:spLocks/>
          </p:cNvSpPr>
          <p:nvPr/>
        </p:nvSpPr>
        <p:spPr>
          <a:xfrm>
            <a:off x="132407" y="243252"/>
            <a:ext cx="3006475" cy="56426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11" rtl="0" eaLnBrk="1" latinLnBrk="0" hangingPunct="1">
              <a:lnSpc>
                <a:spcPct val="75000"/>
              </a:lnSpc>
              <a:spcBef>
                <a:spcPts val="0"/>
              </a:spcBef>
              <a:buNone/>
              <a:defRPr kumimoji="0" lang="pt-BR" sz="2800" b="0" i="0" u="none" strike="noStrike" kern="1200" cap="none" spc="0" normalizeH="0" baseline="0" dirty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  <a:cs typeface="Itau Display Heavy" panose="020B0803020204020204" pitchFamily="34" charset="0"/>
              </a:defRPr>
            </a:lvl1pPr>
          </a:lstStyle>
          <a:p>
            <a:pPr marL="0" marR="0" lvl="0" indent="0" algn="l" defTabSz="914411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</a:rPr>
              <a:t>_nosso cliente</a:t>
            </a:r>
          </a:p>
        </p:txBody>
      </p:sp>
      <p:grpSp>
        <p:nvGrpSpPr>
          <p:cNvPr id="85" name="Agrupar 84">
            <a:extLst>
              <a:ext uri="{FF2B5EF4-FFF2-40B4-BE49-F238E27FC236}">
                <a16:creationId xmlns:a16="http://schemas.microsoft.com/office/drawing/2014/main" id="{87807D3D-F3BE-B68F-105E-88877EABD4B9}"/>
              </a:ext>
            </a:extLst>
          </p:cNvPr>
          <p:cNvGrpSpPr/>
          <p:nvPr/>
        </p:nvGrpSpPr>
        <p:grpSpPr>
          <a:xfrm>
            <a:off x="3647692" y="2375454"/>
            <a:ext cx="1534076" cy="1405820"/>
            <a:chOff x="412266" y="3757144"/>
            <a:chExt cx="1534076" cy="1405820"/>
          </a:xfrm>
        </p:grpSpPr>
        <p:sp>
          <p:nvSpPr>
            <p:cNvPr id="86" name="Retângulo 85">
              <a:extLst>
                <a:ext uri="{FF2B5EF4-FFF2-40B4-BE49-F238E27FC236}">
                  <a16:creationId xmlns:a16="http://schemas.microsoft.com/office/drawing/2014/main" id="{41D739CA-C48B-1F75-BBB2-DC89611546C0}"/>
                </a:ext>
              </a:extLst>
            </p:cNvPr>
            <p:cNvSpPr/>
            <p:nvPr/>
          </p:nvSpPr>
          <p:spPr>
            <a:xfrm>
              <a:off x="412266" y="4824410"/>
              <a:ext cx="1534076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800" b="0" i="0" u="none" strike="noStrike" kern="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 Pro App Black" panose="020B0903020204020204" pitchFamily="34" charset="0"/>
                  <a:ea typeface="+mn-ea"/>
                  <a:cs typeface="Itau Display Pro App Black" panose="020B0903020204020204" pitchFamily="34" charset="0"/>
                </a:rPr>
                <a:t>23,6MM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800" b="0" i="0" u="none" strike="noStrike" kern="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 Pro App Black" panose="020B0903020204020204" pitchFamily="34" charset="0"/>
                  <a:ea typeface="+mn-ea"/>
                  <a:cs typeface="Itau Display Pro App Black" panose="020B0903020204020204" pitchFamily="34" charset="0"/>
                </a:rPr>
                <a:t>Cartonistas</a:t>
              </a:r>
            </a:p>
          </p:txBody>
        </p:sp>
        <p:graphicFrame>
          <p:nvGraphicFramePr>
            <p:cNvPr id="87" name="Gráfico 86">
              <a:extLst>
                <a:ext uri="{FF2B5EF4-FFF2-40B4-BE49-F238E27FC236}">
                  <a16:creationId xmlns:a16="http://schemas.microsoft.com/office/drawing/2014/main" id="{ACA832B9-4161-82FF-BA33-338199132499}"/>
                </a:ext>
              </a:extLst>
            </p:cNvPr>
            <p:cNvGraphicFramePr/>
            <p:nvPr/>
          </p:nvGraphicFramePr>
          <p:xfrm>
            <a:off x="482255" y="3757144"/>
            <a:ext cx="1394099" cy="106987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</p:grpSp>
      <p:grpSp>
        <p:nvGrpSpPr>
          <p:cNvPr id="88" name="Agrupar 87">
            <a:extLst>
              <a:ext uri="{FF2B5EF4-FFF2-40B4-BE49-F238E27FC236}">
                <a16:creationId xmlns:a16="http://schemas.microsoft.com/office/drawing/2014/main" id="{8832B682-23BA-8F1B-24F9-06E85B6B3F10}"/>
              </a:ext>
            </a:extLst>
          </p:cNvPr>
          <p:cNvGrpSpPr/>
          <p:nvPr/>
        </p:nvGrpSpPr>
        <p:grpSpPr>
          <a:xfrm>
            <a:off x="4790764" y="2375454"/>
            <a:ext cx="1534076" cy="1405820"/>
            <a:chOff x="1796021" y="3757144"/>
            <a:chExt cx="1534076" cy="1405820"/>
          </a:xfrm>
        </p:grpSpPr>
        <p:sp>
          <p:nvSpPr>
            <p:cNvPr id="89" name="Retângulo 88">
              <a:extLst>
                <a:ext uri="{FF2B5EF4-FFF2-40B4-BE49-F238E27FC236}">
                  <a16:creationId xmlns:a16="http://schemas.microsoft.com/office/drawing/2014/main" id="{C73E562A-6F49-AD97-B101-083DEAE6AD27}"/>
                </a:ext>
              </a:extLst>
            </p:cNvPr>
            <p:cNvSpPr/>
            <p:nvPr/>
          </p:nvSpPr>
          <p:spPr>
            <a:xfrm>
              <a:off x="1796021" y="4824410"/>
              <a:ext cx="1534076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800" b="0" i="0" u="none" strike="noStrike" kern="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 Pro App Black" panose="020B0903020204020204" pitchFamily="34" charset="0"/>
                  <a:ea typeface="+mn-ea"/>
                  <a:cs typeface="Itau Display Pro App Black" panose="020B0903020204020204" pitchFamily="34" charset="0"/>
                </a:rPr>
                <a:t>9,3MM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800" b="0" i="0" u="none" strike="noStrike" kern="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 Pro App Black" panose="020B0903020204020204" pitchFamily="34" charset="0"/>
                  <a:ea typeface="+mn-ea"/>
                  <a:cs typeface="Itau Display Pro App Black" panose="020B0903020204020204" pitchFamily="34" charset="0"/>
                </a:rPr>
                <a:t>Seguros</a:t>
              </a:r>
            </a:p>
          </p:txBody>
        </p:sp>
        <p:graphicFrame>
          <p:nvGraphicFramePr>
            <p:cNvPr id="90" name="Gráfico 89">
              <a:extLst>
                <a:ext uri="{FF2B5EF4-FFF2-40B4-BE49-F238E27FC236}">
                  <a16:creationId xmlns:a16="http://schemas.microsoft.com/office/drawing/2014/main" id="{A6D69DD2-586E-EFB0-BDF7-0EBF21AC3F39}"/>
                </a:ext>
              </a:extLst>
            </p:cNvPr>
            <p:cNvGraphicFramePr/>
            <p:nvPr/>
          </p:nvGraphicFramePr>
          <p:xfrm>
            <a:off x="1866010" y="3757144"/>
            <a:ext cx="1394099" cy="106987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</p:grpSp>
      <p:grpSp>
        <p:nvGrpSpPr>
          <p:cNvPr id="91" name="Agrupar 90">
            <a:extLst>
              <a:ext uri="{FF2B5EF4-FFF2-40B4-BE49-F238E27FC236}">
                <a16:creationId xmlns:a16="http://schemas.microsoft.com/office/drawing/2014/main" id="{5B0A4411-ABD8-C97A-B553-AAE735B3514C}"/>
              </a:ext>
            </a:extLst>
          </p:cNvPr>
          <p:cNvGrpSpPr/>
          <p:nvPr/>
        </p:nvGrpSpPr>
        <p:grpSpPr>
          <a:xfrm>
            <a:off x="5933836" y="2375454"/>
            <a:ext cx="1534076" cy="1405820"/>
            <a:chOff x="401922" y="5216807"/>
            <a:chExt cx="1534076" cy="1405820"/>
          </a:xfrm>
        </p:grpSpPr>
        <p:sp>
          <p:nvSpPr>
            <p:cNvPr id="92" name="Retângulo 91">
              <a:extLst>
                <a:ext uri="{FF2B5EF4-FFF2-40B4-BE49-F238E27FC236}">
                  <a16:creationId xmlns:a16="http://schemas.microsoft.com/office/drawing/2014/main" id="{03EB8A94-82B4-5DAB-B7CB-47D7AFFA2BB0}"/>
                </a:ext>
              </a:extLst>
            </p:cNvPr>
            <p:cNvSpPr/>
            <p:nvPr/>
          </p:nvSpPr>
          <p:spPr>
            <a:xfrm>
              <a:off x="401922" y="6284073"/>
              <a:ext cx="1534076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800" b="0" i="0" u="none" strike="noStrike" kern="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 Pro App Black" panose="020B0903020204020204" pitchFamily="34" charset="0"/>
                  <a:ea typeface="+mn-ea"/>
                  <a:cs typeface="Itau Display Pro App Black" panose="020B0903020204020204" pitchFamily="34" charset="0"/>
                </a:rPr>
                <a:t>20,2MM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800" b="0" i="0" u="none" strike="noStrike" kern="0" cap="none" spc="0" normalizeH="0" baseline="0" noProof="0" err="1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 Pro App Black" panose="020B0903020204020204" pitchFamily="34" charset="0"/>
                  <a:ea typeface="+mn-ea"/>
                  <a:cs typeface="Itau Display Pro App Black" panose="020B0903020204020204" pitchFamily="34" charset="0"/>
                </a:rPr>
                <a:t>iti</a:t>
              </a:r>
              <a:endParaRPr kumimoji="0" lang="pt-BR" sz="800" b="0" i="0" u="none" strike="noStrike" kern="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 Black" panose="020B0903020204020204" pitchFamily="34" charset="0"/>
                <a:ea typeface="+mn-ea"/>
                <a:cs typeface="Itau Display Pro App Black" panose="020B0903020204020204" pitchFamily="34" charset="0"/>
              </a:endParaRPr>
            </a:p>
          </p:txBody>
        </p:sp>
        <p:graphicFrame>
          <p:nvGraphicFramePr>
            <p:cNvPr id="93" name="Gráfico 92">
              <a:extLst>
                <a:ext uri="{FF2B5EF4-FFF2-40B4-BE49-F238E27FC236}">
                  <a16:creationId xmlns:a16="http://schemas.microsoft.com/office/drawing/2014/main" id="{045EDE05-5131-47F8-EDBC-F8D769E3631C}"/>
                </a:ext>
              </a:extLst>
            </p:cNvPr>
            <p:cNvGraphicFramePr/>
            <p:nvPr/>
          </p:nvGraphicFramePr>
          <p:xfrm>
            <a:off x="471911" y="5216807"/>
            <a:ext cx="1394099" cy="106987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</p:grpSp>
      <p:grpSp>
        <p:nvGrpSpPr>
          <p:cNvPr id="94" name="Agrupar 93">
            <a:extLst>
              <a:ext uri="{FF2B5EF4-FFF2-40B4-BE49-F238E27FC236}">
                <a16:creationId xmlns:a16="http://schemas.microsoft.com/office/drawing/2014/main" id="{04AB2A97-9D31-DDB7-842B-132A4AFCED09}"/>
              </a:ext>
            </a:extLst>
          </p:cNvPr>
          <p:cNvGrpSpPr/>
          <p:nvPr/>
        </p:nvGrpSpPr>
        <p:grpSpPr>
          <a:xfrm>
            <a:off x="7076909" y="2375454"/>
            <a:ext cx="1534076" cy="1405820"/>
            <a:chOff x="1796546" y="5216807"/>
            <a:chExt cx="1534076" cy="1405820"/>
          </a:xfrm>
        </p:grpSpPr>
        <p:sp>
          <p:nvSpPr>
            <p:cNvPr id="95" name="Retângulo 94">
              <a:extLst>
                <a:ext uri="{FF2B5EF4-FFF2-40B4-BE49-F238E27FC236}">
                  <a16:creationId xmlns:a16="http://schemas.microsoft.com/office/drawing/2014/main" id="{C6E0C1CC-DC06-AAC4-9A2F-BB2FF0B87EF5}"/>
                </a:ext>
              </a:extLst>
            </p:cNvPr>
            <p:cNvSpPr/>
            <p:nvPr/>
          </p:nvSpPr>
          <p:spPr>
            <a:xfrm>
              <a:off x="1796546" y="6284073"/>
              <a:ext cx="1534076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800" b="0" i="0" u="none" strike="noStrike" kern="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 Pro App Black" panose="020B0903020204020204" pitchFamily="34" charset="0"/>
                  <a:ea typeface="+mn-ea"/>
                  <a:cs typeface="Itau Display Pro App Black" panose="020B0903020204020204" pitchFamily="34" charset="0"/>
                </a:rPr>
                <a:t>7,3MM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800" b="0" i="0" u="none" strike="noStrike" kern="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 Pro App Black" panose="020B0903020204020204" pitchFamily="34" charset="0"/>
                  <a:ea typeface="+mn-ea"/>
                  <a:cs typeface="Itau Display Pro App Black" panose="020B0903020204020204" pitchFamily="34" charset="0"/>
                </a:rPr>
                <a:t>Consignado</a:t>
              </a:r>
            </a:p>
          </p:txBody>
        </p:sp>
        <p:graphicFrame>
          <p:nvGraphicFramePr>
            <p:cNvPr id="96" name="Gráfico 95">
              <a:extLst>
                <a:ext uri="{FF2B5EF4-FFF2-40B4-BE49-F238E27FC236}">
                  <a16:creationId xmlns:a16="http://schemas.microsoft.com/office/drawing/2014/main" id="{EBC497D2-0013-2FA6-9FC0-052C8DC62CE4}"/>
                </a:ext>
              </a:extLst>
            </p:cNvPr>
            <p:cNvGraphicFramePr/>
            <p:nvPr/>
          </p:nvGraphicFramePr>
          <p:xfrm>
            <a:off x="1866535" y="5216807"/>
            <a:ext cx="1394099" cy="106987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9"/>
            </a:graphicData>
          </a:graphic>
        </p:graphicFrame>
      </p:grpSp>
      <p:sp>
        <p:nvSpPr>
          <p:cNvPr id="98" name="Retângulo 97">
            <a:extLst>
              <a:ext uri="{FF2B5EF4-FFF2-40B4-BE49-F238E27FC236}">
                <a16:creationId xmlns:a16="http://schemas.microsoft.com/office/drawing/2014/main" id="{F5C5F556-4BAB-CA11-A29B-C4FDA6E3E3BA}"/>
              </a:ext>
            </a:extLst>
          </p:cNvPr>
          <p:cNvSpPr/>
          <p:nvPr/>
        </p:nvSpPr>
        <p:spPr>
          <a:xfrm>
            <a:off x="4076700" y="5330091"/>
            <a:ext cx="392890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 Black" panose="020B0903020204020204" pitchFamily="34" charset="0"/>
                <a:ea typeface="+mn-ea"/>
                <a:cs typeface="Itau Display Pro App Black" panose="020B0903020204020204" pitchFamily="34" charset="0"/>
              </a:rPr>
              <a:t>Faixa etária</a:t>
            </a:r>
          </a:p>
        </p:txBody>
      </p:sp>
      <p:sp>
        <p:nvSpPr>
          <p:cNvPr id="100" name="Retângulo 99">
            <a:extLst>
              <a:ext uri="{FF2B5EF4-FFF2-40B4-BE49-F238E27FC236}">
                <a16:creationId xmlns:a16="http://schemas.microsoft.com/office/drawing/2014/main" id="{F8C4E546-15BF-FA6C-0E11-19572425D5BF}"/>
              </a:ext>
            </a:extLst>
          </p:cNvPr>
          <p:cNvSpPr/>
          <p:nvPr/>
        </p:nvSpPr>
        <p:spPr>
          <a:xfrm>
            <a:off x="8776776" y="5422697"/>
            <a:ext cx="392890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0" cap="none" spc="0" normalizeH="0" baseline="0" noProof="0" err="1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 Black" panose="020B0903020204020204" pitchFamily="34" charset="0"/>
                <a:ea typeface="+mn-ea"/>
                <a:cs typeface="Itau Display Pro App Black" panose="020B0903020204020204" pitchFamily="34" charset="0"/>
              </a:rPr>
              <a:t>Share</a:t>
            </a:r>
            <a:r>
              <a:rPr kumimoji="0" lang="pt-BR" sz="1200" b="0" i="0" u="none" strike="noStrike" kern="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 Black" panose="020B0903020204020204" pitchFamily="34" charset="0"/>
                <a:ea typeface="+mn-ea"/>
                <a:cs typeface="Itau Display Pro App Black" panose="020B0903020204020204" pitchFamily="34" charset="0"/>
              </a:rPr>
              <a:t> do mercado por estado (top 4)</a:t>
            </a:r>
          </a:p>
        </p:txBody>
      </p:sp>
      <p:graphicFrame>
        <p:nvGraphicFramePr>
          <p:cNvPr id="102" name="Gráfico 101">
            <a:extLst>
              <a:ext uri="{FF2B5EF4-FFF2-40B4-BE49-F238E27FC236}">
                <a16:creationId xmlns:a16="http://schemas.microsoft.com/office/drawing/2014/main" id="{FF085902-0A80-6319-FCA4-4908F7187105}"/>
              </a:ext>
            </a:extLst>
          </p:cNvPr>
          <p:cNvGraphicFramePr/>
          <p:nvPr/>
        </p:nvGraphicFramePr>
        <p:xfrm>
          <a:off x="8776776" y="4253517"/>
          <a:ext cx="3640155" cy="13535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pic>
        <p:nvPicPr>
          <p:cNvPr id="103" name="Picture 208">
            <a:extLst>
              <a:ext uri="{FF2B5EF4-FFF2-40B4-BE49-F238E27FC236}">
                <a16:creationId xmlns:a16="http://schemas.microsoft.com/office/drawing/2014/main" id="{736BBC9E-A70C-FE4B-6C75-EE8B2C3AD066}"/>
              </a:ext>
            </a:extLst>
          </p:cNvPr>
          <p:cNvPicPr>
            <a:picLocks noChangeAspect="1"/>
          </p:cNvPicPr>
          <p:nvPr/>
        </p:nvPicPr>
        <p:blipFill>
          <a:blip r:embed="rId11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H="1">
            <a:off x="7900439" y="6186128"/>
            <a:ext cx="1440000" cy="75755"/>
          </a:xfrm>
          <a:prstGeom prst="rect">
            <a:avLst/>
          </a:prstGeom>
        </p:spPr>
      </p:pic>
      <p:sp>
        <p:nvSpPr>
          <p:cNvPr id="105" name="Retângulo 104">
            <a:extLst>
              <a:ext uri="{FF2B5EF4-FFF2-40B4-BE49-F238E27FC236}">
                <a16:creationId xmlns:a16="http://schemas.microsoft.com/office/drawing/2014/main" id="{2120B7B1-D942-6BFE-1495-63ED33E9C7AD}"/>
              </a:ext>
            </a:extLst>
          </p:cNvPr>
          <p:cNvSpPr/>
          <p:nvPr/>
        </p:nvSpPr>
        <p:spPr>
          <a:xfrm>
            <a:off x="4076700" y="3992299"/>
            <a:ext cx="392890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 Black" panose="020B0903020204020204" pitchFamily="34" charset="0"/>
                <a:ea typeface="+mn-ea"/>
                <a:cs typeface="Itau Display Pro App Black" panose="020B0903020204020204" pitchFamily="34" charset="0"/>
              </a:rPr>
              <a:t>Faixa de renda (MM)</a:t>
            </a:r>
          </a:p>
        </p:txBody>
      </p:sp>
      <p:sp>
        <p:nvSpPr>
          <p:cNvPr id="106" name="Retângulo 105">
            <a:extLst>
              <a:ext uri="{FF2B5EF4-FFF2-40B4-BE49-F238E27FC236}">
                <a16:creationId xmlns:a16="http://schemas.microsoft.com/office/drawing/2014/main" id="{C97AC620-D578-82CD-2D54-5E474ED9280B}"/>
              </a:ext>
            </a:extLst>
          </p:cNvPr>
          <p:cNvSpPr/>
          <p:nvPr/>
        </p:nvSpPr>
        <p:spPr>
          <a:xfrm>
            <a:off x="8776776" y="4018023"/>
            <a:ext cx="392890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 Black" panose="020B0903020204020204" pitchFamily="34" charset="0"/>
                <a:ea typeface="+mn-ea"/>
                <a:cs typeface="Itau Display Pro App Black" panose="020B0903020204020204" pitchFamily="34" charset="0"/>
              </a:rPr>
              <a:t>Segmento PF (MM)</a:t>
            </a:r>
          </a:p>
        </p:txBody>
      </p:sp>
      <p:graphicFrame>
        <p:nvGraphicFramePr>
          <p:cNvPr id="107" name="Gráfico 106">
            <a:extLst>
              <a:ext uri="{FF2B5EF4-FFF2-40B4-BE49-F238E27FC236}">
                <a16:creationId xmlns:a16="http://schemas.microsoft.com/office/drawing/2014/main" id="{D1B0FDEF-2C73-E7A1-D6EC-0E1006EDC9E1}"/>
              </a:ext>
            </a:extLst>
          </p:cNvPr>
          <p:cNvGraphicFramePr/>
          <p:nvPr/>
        </p:nvGraphicFramePr>
        <p:xfrm>
          <a:off x="8959190" y="924175"/>
          <a:ext cx="4212313" cy="27456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08" name="Retângulo 107">
            <a:extLst>
              <a:ext uri="{FF2B5EF4-FFF2-40B4-BE49-F238E27FC236}">
                <a16:creationId xmlns:a16="http://schemas.microsoft.com/office/drawing/2014/main" id="{B61DABD0-BBE5-EFA7-5CD9-A35E891705E3}"/>
              </a:ext>
            </a:extLst>
          </p:cNvPr>
          <p:cNvSpPr/>
          <p:nvPr/>
        </p:nvSpPr>
        <p:spPr>
          <a:xfrm>
            <a:off x="8889439" y="676105"/>
            <a:ext cx="392890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 Black" panose="020B0903020204020204" pitchFamily="34" charset="0"/>
                <a:ea typeface="+mn-ea"/>
                <a:cs typeface="Itau Display Pro App Black" panose="020B0903020204020204" pitchFamily="34" charset="0"/>
              </a:rPr>
              <a:t>Perfil de acesso (MM)</a:t>
            </a:r>
          </a:p>
        </p:txBody>
      </p:sp>
      <p:pic>
        <p:nvPicPr>
          <p:cNvPr id="109" name="Picture 208">
            <a:extLst>
              <a:ext uri="{FF2B5EF4-FFF2-40B4-BE49-F238E27FC236}">
                <a16:creationId xmlns:a16="http://schemas.microsoft.com/office/drawing/2014/main" id="{9A3AEAD3-1671-3C7C-2644-8A4B3C0E1466}"/>
              </a:ext>
            </a:extLst>
          </p:cNvPr>
          <p:cNvPicPr>
            <a:picLocks noChangeAspect="1"/>
          </p:cNvPicPr>
          <p:nvPr/>
        </p:nvPicPr>
        <p:blipFill>
          <a:blip r:embed="rId11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H="1">
            <a:off x="7900439" y="4823655"/>
            <a:ext cx="1440000" cy="75755"/>
          </a:xfrm>
          <a:prstGeom prst="rect">
            <a:avLst/>
          </a:prstGeom>
        </p:spPr>
      </p:pic>
      <p:pic>
        <p:nvPicPr>
          <p:cNvPr id="111" name="Picture 208">
            <a:extLst>
              <a:ext uri="{FF2B5EF4-FFF2-40B4-BE49-F238E27FC236}">
                <a16:creationId xmlns:a16="http://schemas.microsoft.com/office/drawing/2014/main" id="{AD41E2E9-6F5D-7289-2975-567BC5FA3AD0}"/>
              </a:ext>
            </a:extLst>
          </p:cNvPr>
          <p:cNvPicPr>
            <a:picLocks noChangeAspect="1"/>
          </p:cNvPicPr>
          <p:nvPr/>
        </p:nvPicPr>
        <p:blipFill>
          <a:blip r:embed="rId11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H="1">
            <a:off x="6802245" y="2104927"/>
            <a:ext cx="3636388" cy="191302"/>
          </a:xfrm>
          <a:prstGeom prst="rect">
            <a:avLst/>
          </a:prstGeom>
        </p:spPr>
      </p:pic>
      <p:sp>
        <p:nvSpPr>
          <p:cNvPr id="112" name="Retângulo 111">
            <a:extLst>
              <a:ext uri="{FF2B5EF4-FFF2-40B4-BE49-F238E27FC236}">
                <a16:creationId xmlns:a16="http://schemas.microsoft.com/office/drawing/2014/main" id="{F039943E-BC6E-A278-FBCB-BEAB50CC8767}"/>
              </a:ext>
            </a:extLst>
          </p:cNvPr>
          <p:cNvSpPr/>
          <p:nvPr/>
        </p:nvSpPr>
        <p:spPr>
          <a:xfrm>
            <a:off x="4076700" y="676105"/>
            <a:ext cx="392890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 Black" panose="020B0903020204020204" pitchFamily="34" charset="0"/>
                <a:ea typeface="+mn-ea"/>
                <a:cs typeface="Itau Display Pro App Black" panose="020B0903020204020204" pitchFamily="34" charset="0"/>
              </a:rPr>
              <a:t>Tipos de cliente</a:t>
            </a:r>
          </a:p>
        </p:txBody>
      </p:sp>
      <p:sp>
        <p:nvSpPr>
          <p:cNvPr id="113" name="Título 1">
            <a:extLst>
              <a:ext uri="{FF2B5EF4-FFF2-40B4-BE49-F238E27FC236}">
                <a16:creationId xmlns:a16="http://schemas.microsoft.com/office/drawing/2014/main" id="{6118D4AA-D2E1-5FEF-84C1-00750C66A816}"/>
              </a:ext>
            </a:extLst>
          </p:cNvPr>
          <p:cNvSpPr txBox="1">
            <a:spLocks/>
          </p:cNvSpPr>
          <p:nvPr/>
        </p:nvSpPr>
        <p:spPr>
          <a:xfrm>
            <a:off x="1737230" y="6249357"/>
            <a:ext cx="2005761" cy="56426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11" rtl="0" eaLnBrk="1" latinLnBrk="0" hangingPunct="1">
              <a:lnSpc>
                <a:spcPct val="75000"/>
              </a:lnSpc>
              <a:spcBef>
                <a:spcPts val="0"/>
              </a:spcBef>
              <a:buNone/>
              <a:defRPr kumimoji="0" lang="pt-BR" sz="2800" b="0" i="0" u="none" strike="noStrike" kern="1200" cap="none" spc="0" normalizeH="0" baseline="0" dirty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  <a:cs typeface="Itau Display Heavy" panose="020B0803020204020204" pitchFamily="34" charset="0"/>
              </a:defRPr>
            </a:lvl1pPr>
          </a:lstStyle>
          <a:p>
            <a:pPr marL="0" marR="0" lvl="0" indent="0" algn="r" defTabSz="914411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47484A"/>
                </a:solidFill>
                <a:effectLst/>
                <a:uLnTx/>
                <a:uFillTx/>
                <a:latin typeface="Itau Display Pro App" panose="020B0503020204020204" pitchFamily="34" charset="0"/>
                <a:ea typeface="+mn-ea"/>
                <a:cs typeface="Itau Display Pro App" panose="020B0503020204020204" pitchFamily="34" charset="0"/>
              </a:rPr>
              <a:t>Fonte: Bureau </a:t>
            </a:r>
            <a:r>
              <a:rPr kumimoji="0" lang="pt-BR" sz="1000" b="0" i="0" u="none" strike="noStrike" kern="1200" cap="none" spc="0" normalizeH="0" baseline="0" noProof="0" err="1">
                <a:ln>
                  <a:noFill/>
                </a:ln>
                <a:solidFill>
                  <a:srgbClr val="47484A"/>
                </a:solidFill>
                <a:effectLst/>
                <a:uLnTx/>
                <a:uFillTx/>
                <a:latin typeface="Itau Display Pro App" panose="020B0503020204020204" pitchFamily="34" charset="0"/>
                <a:ea typeface="+mn-ea"/>
                <a:cs typeface="Itau Display Pro App" panose="020B0503020204020204" pitchFamily="34" charset="0"/>
              </a:rPr>
              <a:t>Analytics</a:t>
            </a: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47484A"/>
                </a:solidFill>
                <a:effectLst/>
                <a:uLnTx/>
                <a:uFillTx/>
                <a:latin typeface="Itau Display Pro App" panose="020B0503020204020204" pitchFamily="34" charset="0"/>
                <a:ea typeface="+mn-ea"/>
                <a:cs typeface="Itau Display Pro App" panose="020B0503020204020204" pitchFamily="34" charset="0"/>
              </a:rPr>
              <a:t>  PF – </a:t>
            </a:r>
            <a:r>
              <a:rPr kumimoji="0" lang="pt-BR" sz="1000" b="0" i="0" u="none" strike="noStrike" kern="1200" cap="none" spc="0" normalizeH="0" baseline="0" noProof="0" err="1">
                <a:ln>
                  <a:noFill/>
                </a:ln>
                <a:solidFill>
                  <a:srgbClr val="47484A"/>
                </a:solidFill>
                <a:effectLst/>
                <a:uLnTx/>
                <a:uFillTx/>
                <a:latin typeface="Itau Display Pro App" panose="020B0503020204020204" pitchFamily="34" charset="0"/>
                <a:ea typeface="+mn-ea"/>
                <a:cs typeface="Itau Display Pro App" panose="020B0503020204020204" pitchFamily="34" charset="0"/>
              </a:rPr>
              <a:t>jul</a:t>
            </a: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47484A"/>
                </a:solidFill>
                <a:effectLst/>
                <a:uLnTx/>
                <a:uFillTx/>
                <a:latin typeface="Itau Display Pro App" panose="020B0503020204020204" pitchFamily="34" charset="0"/>
                <a:ea typeface="+mn-ea"/>
                <a:cs typeface="Itau Display Pro App" panose="020B0503020204020204" pitchFamily="34" charset="0"/>
              </a:rPr>
              <a:t>/23</a:t>
            </a:r>
          </a:p>
        </p:txBody>
      </p:sp>
    </p:spTree>
    <p:extLst>
      <p:ext uri="{BB962C8B-B14F-4D97-AF65-F5344CB8AC3E}">
        <p14:creationId xmlns:p14="http://schemas.microsoft.com/office/powerpoint/2010/main" val="1974485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5AA83F2C-2CC3-AB5F-4B88-F85706A80732}"/>
              </a:ext>
            </a:extLst>
          </p:cNvPr>
          <p:cNvSpPr/>
          <p:nvPr/>
        </p:nvSpPr>
        <p:spPr>
          <a:xfrm>
            <a:off x="-17590" y="3429000"/>
            <a:ext cx="12209590" cy="3429000"/>
          </a:xfrm>
          <a:prstGeom prst="rect">
            <a:avLst/>
          </a:prstGeom>
          <a:gradFill flip="none" rotWithShape="1">
            <a:gsLst>
              <a:gs pos="0">
                <a:srgbClr val="FF7500"/>
              </a:gs>
              <a:gs pos="100000">
                <a:srgbClr val="FD9D00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1" b="0" i="0" u="none" strike="noStrike" kern="1200" cap="none" spc="0" normalizeH="0" baseline="0" noProof="0">
              <a:ln>
                <a:noFill/>
              </a:ln>
              <a:solidFill>
                <a:srgbClr val="1D4080"/>
              </a:solidFill>
              <a:effectLst/>
              <a:uLnTx/>
              <a:uFillTx/>
              <a:latin typeface="Itau Display"/>
              <a:ea typeface="+mn-ea"/>
              <a:cs typeface="+mn-cs"/>
            </a:endParaRPr>
          </a:p>
        </p:txBody>
      </p:sp>
      <p:sp>
        <p:nvSpPr>
          <p:cNvPr id="41" name="Elipse 40">
            <a:extLst>
              <a:ext uri="{FF2B5EF4-FFF2-40B4-BE49-F238E27FC236}">
                <a16:creationId xmlns:a16="http://schemas.microsoft.com/office/drawing/2014/main" id="{54A0FDAF-1C50-CFF6-6CEF-66EB1E67C89D}"/>
              </a:ext>
            </a:extLst>
          </p:cNvPr>
          <p:cNvSpPr/>
          <p:nvPr/>
        </p:nvSpPr>
        <p:spPr>
          <a:xfrm>
            <a:off x="-609888" y="5181127"/>
            <a:ext cx="4368800" cy="2181788"/>
          </a:xfrm>
          <a:prstGeom prst="ellipse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9B4C7F77-4288-7DB5-D3FF-68055FD5F0F9}"/>
              </a:ext>
            </a:extLst>
          </p:cNvPr>
          <p:cNvSpPr txBox="1"/>
          <p:nvPr/>
        </p:nvSpPr>
        <p:spPr>
          <a:xfrm>
            <a:off x="201017" y="311642"/>
            <a:ext cx="2968312" cy="4347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pt-BR"/>
            </a:defPPr>
            <a:lvl1pPr defTabSz="914411">
              <a:lnSpc>
                <a:spcPct val="75000"/>
              </a:lnSpc>
              <a:spcBef>
                <a:spcPts val="0"/>
              </a:spcBef>
              <a:buNone/>
              <a:defRPr kumimoji="0" sz="2800" b="0" i="0" u="none" strike="noStrike" cap="none" spc="0" normalizeH="0" baseline="0">
                <a:ln>
                  <a:noFill/>
                </a:ln>
                <a:solidFill>
                  <a:srgbClr val="FE9600"/>
                </a:solidFill>
                <a:effectLst/>
                <a:uLnTx/>
                <a:uFillTx/>
                <a:latin typeface="Itau Display Heavy" panose="020B0803020204020204" pitchFamily="34" charset="0"/>
                <a:cs typeface="Itau Display Heavy" panose="020B0803020204020204" pitchFamily="34" charset="0"/>
              </a:defRPr>
            </a:lvl1pPr>
            <a:lvl2pPr marL="539756" indent="-182566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>
                <a:solidFill>
                  <a:schemeClr val="accent6"/>
                </a:solidFill>
              </a:defRPr>
            </a:lvl2pPr>
            <a:lvl3pPr marL="898536" indent="-184152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accent6"/>
                </a:solidFill>
              </a:defRPr>
            </a:lvl3pPr>
            <a:lvl4pPr marL="1255729" indent="-184152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>
                <a:solidFill>
                  <a:schemeClr val="accent6"/>
                </a:solidFill>
              </a:defRPr>
            </a:lvl4pPr>
            <a:lvl5pPr marL="1612920" indent="-174628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>
                <a:solidFill>
                  <a:schemeClr val="accent6"/>
                </a:solidFill>
              </a:defRPr>
            </a:lvl5pPr>
            <a:lvl6pPr marL="2514632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6pPr>
            <a:lvl7pPr marL="2971838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7pPr>
            <a:lvl8pPr marL="3429044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8pPr>
            <a:lvl9pPr marL="3886249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9pPr>
          </a:lstStyle>
          <a:p>
            <a:pPr marL="0" marR="0" lvl="0" indent="0" algn="l" defTabSz="914411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0" i="0" u="none" strike="noStrike" kern="1200" cap="none" spc="0" normalizeH="0" baseline="0" noProof="0">
                <a:ln>
                  <a:noFill/>
                </a:ln>
                <a:solidFill>
                  <a:srgbClr val="FE9600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</a:rPr>
              <a:t>_nosso cliente: PF</a:t>
            </a:r>
          </a:p>
        </p:txBody>
      </p:sp>
      <p:pic>
        <p:nvPicPr>
          <p:cNvPr id="1026" name="Imagem 3">
            <a:extLst>
              <a:ext uri="{FF2B5EF4-FFF2-40B4-BE49-F238E27FC236}">
                <a16:creationId xmlns:a16="http://schemas.microsoft.com/office/drawing/2014/main" id="{6B135215-C9A9-E326-F8E9-8C60EBF2F1A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2" b="51256"/>
          <a:stretch/>
        </p:blipFill>
        <p:spPr bwMode="auto">
          <a:xfrm>
            <a:off x="231880" y="824930"/>
            <a:ext cx="11745829" cy="3871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Agrupar 2">
            <a:extLst>
              <a:ext uri="{FF2B5EF4-FFF2-40B4-BE49-F238E27FC236}">
                <a16:creationId xmlns:a16="http://schemas.microsoft.com/office/drawing/2014/main" id="{92A6DC92-6423-28E0-D22B-74985C913EA1}"/>
              </a:ext>
            </a:extLst>
          </p:cNvPr>
          <p:cNvGrpSpPr/>
          <p:nvPr/>
        </p:nvGrpSpPr>
        <p:grpSpPr>
          <a:xfrm>
            <a:off x="128941" y="4935847"/>
            <a:ext cx="2595413" cy="1896391"/>
            <a:chOff x="1224918" y="4549761"/>
            <a:chExt cx="2698192" cy="2022736"/>
          </a:xfrm>
        </p:grpSpPr>
        <p:grpSp>
          <p:nvGrpSpPr>
            <p:cNvPr id="5" name="Gráfico 11">
              <a:extLst>
                <a:ext uri="{FF2B5EF4-FFF2-40B4-BE49-F238E27FC236}">
                  <a16:creationId xmlns:a16="http://schemas.microsoft.com/office/drawing/2014/main" id="{742354C1-D128-4ABB-CDEB-416E22E51C97}"/>
                </a:ext>
              </a:extLst>
            </p:cNvPr>
            <p:cNvGrpSpPr/>
            <p:nvPr/>
          </p:nvGrpSpPr>
          <p:grpSpPr>
            <a:xfrm>
              <a:off x="2407589" y="4671694"/>
              <a:ext cx="878299" cy="1891468"/>
              <a:chOff x="2407589" y="4671694"/>
              <a:chExt cx="878299" cy="1891468"/>
            </a:xfrm>
          </p:grpSpPr>
          <p:grpSp>
            <p:nvGrpSpPr>
              <p:cNvPr id="21" name="Gráfico 11">
                <a:extLst>
                  <a:ext uri="{FF2B5EF4-FFF2-40B4-BE49-F238E27FC236}">
                    <a16:creationId xmlns:a16="http://schemas.microsoft.com/office/drawing/2014/main" id="{1B471A2F-4819-BF35-E0BC-0C5ED62ACE78}"/>
                  </a:ext>
                </a:extLst>
              </p:cNvPr>
              <p:cNvGrpSpPr/>
              <p:nvPr/>
            </p:nvGrpSpPr>
            <p:grpSpPr>
              <a:xfrm>
                <a:off x="2407589" y="4680399"/>
                <a:ext cx="878299" cy="1882763"/>
                <a:chOff x="2407589" y="4680399"/>
                <a:chExt cx="878299" cy="1882763"/>
              </a:xfrm>
            </p:grpSpPr>
            <p:grpSp>
              <p:nvGrpSpPr>
                <p:cNvPr id="23" name="Gráfico 11">
                  <a:extLst>
                    <a:ext uri="{FF2B5EF4-FFF2-40B4-BE49-F238E27FC236}">
                      <a16:creationId xmlns:a16="http://schemas.microsoft.com/office/drawing/2014/main" id="{242343BB-30A0-BD87-0599-5459C6EC4169}"/>
                    </a:ext>
                  </a:extLst>
                </p:cNvPr>
                <p:cNvGrpSpPr/>
                <p:nvPr/>
              </p:nvGrpSpPr>
              <p:grpSpPr>
                <a:xfrm>
                  <a:off x="2615995" y="4730172"/>
                  <a:ext cx="152384" cy="251363"/>
                  <a:chOff x="2615995" y="4730172"/>
                  <a:chExt cx="152384" cy="251363"/>
                </a:xfrm>
              </p:grpSpPr>
              <p:sp>
                <p:nvSpPr>
                  <p:cNvPr id="39" name="Forma Livre: Forma 38">
                    <a:extLst>
                      <a:ext uri="{FF2B5EF4-FFF2-40B4-BE49-F238E27FC236}">
                        <a16:creationId xmlns:a16="http://schemas.microsoft.com/office/drawing/2014/main" id="{E35E2670-4F96-C64F-C144-F585573C4132}"/>
                      </a:ext>
                    </a:extLst>
                  </p:cNvPr>
                  <p:cNvSpPr/>
                  <p:nvPr/>
                </p:nvSpPr>
                <p:spPr>
                  <a:xfrm>
                    <a:off x="2615995" y="4824945"/>
                    <a:ext cx="87153" cy="156590"/>
                  </a:xfrm>
                  <a:custGeom>
                    <a:avLst/>
                    <a:gdLst>
                      <a:gd name="connsiteX0" fmla="*/ 87154 w 87153"/>
                      <a:gd name="connsiteY0" fmla="*/ 82487 h 156590"/>
                      <a:gd name="connsiteX1" fmla="*/ 54007 w 87153"/>
                      <a:gd name="connsiteY1" fmla="*/ 156591 h 156590"/>
                      <a:gd name="connsiteX2" fmla="*/ 0 w 87153"/>
                      <a:gd name="connsiteY2" fmla="*/ 107918 h 156590"/>
                      <a:gd name="connsiteX3" fmla="*/ 38100 w 87153"/>
                      <a:gd name="connsiteY3" fmla="*/ 0 h 1565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7153" h="156590">
                        <a:moveTo>
                          <a:pt x="87154" y="82487"/>
                        </a:moveTo>
                        <a:lnTo>
                          <a:pt x="54007" y="156591"/>
                        </a:lnTo>
                        <a:lnTo>
                          <a:pt x="0" y="107918"/>
                        </a:lnTo>
                        <a:lnTo>
                          <a:pt x="38100" y="0"/>
                        </a:lnTo>
                        <a:close/>
                      </a:path>
                    </a:pathLst>
                  </a:custGeom>
                  <a:solidFill>
                    <a:srgbClr val="825A45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" name="Forma Livre: Forma 39">
                    <a:extLst>
                      <a:ext uri="{FF2B5EF4-FFF2-40B4-BE49-F238E27FC236}">
                        <a16:creationId xmlns:a16="http://schemas.microsoft.com/office/drawing/2014/main" id="{D2145006-D2F6-D250-4B95-75FD73B74BEE}"/>
                      </a:ext>
                    </a:extLst>
                  </p:cNvPr>
                  <p:cNvSpPr/>
                  <p:nvPr/>
                </p:nvSpPr>
                <p:spPr>
                  <a:xfrm>
                    <a:off x="2652784" y="4730172"/>
                    <a:ext cx="115595" cy="182662"/>
                  </a:xfrm>
                  <a:custGeom>
                    <a:avLst/>
                    <a:gdLst>
                      <a:gd name="connsiteX0" fmla="*/ 69511 w 115595"/>
                      <a:gd name="connsiteY0" fmla="*/ 181928 h 182662"/>
                      <a:gd name="connsiteX1" fmla="*/ 92180 w 115595"/>
                      <a:gd name="connsiteY1" fmla="*/ 179832 h 182662"/>
                      <a:gd name="connsiteX2" fmla="*/ 113707 w 115595"/>
                      <a:gd name="connsiteY2" fmla="*/ 33147 h 182662"/>
                      <a:gd name="connsiteX3" fmla="*/ 75321 w 115595"/>
                      <a:gd name="connsiteY3" fmla="*/ 0 h 182662"/>
                      <a:gd name="connsiteX4" fmla="*/ 16551 w 115595"/>
                      <a:gd name="connsiteY4" fmla="*/ 27432 h 182662"/>
                      <a:gd name="connsiteX5" fmla="*/ 1311 w 115595"/>
                      <a:gd name="connsiteY5" fmla="*/ 87630 h 182662"/>
                      <a:gd name="connsiteX6" fmla="*/ 16456 w 115595"/>
                      <a:gd name="connsiteY6" fmla="*/ 157353 h 182662"/>
                      <a:gd name="connsiteX7" fmla="*/ 16456 w 115595"/>
                      <a:gd name="connsiteY7" fmla="*/ 157353 h 182662"/>
                      <a:gd name="connsiteX8" fmla="*/ 69511 w 115595"/>
                      <a:gd name="connsiteY8" fmla="*/ 181928 h 1826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15595" h="182662">
                        <a:moveTo>
                          <a:pt x="69511" y="181928"/>
                        </a:moveTo>
                        <a:cubicBezTo>
                          <a:pt x="78559" y="183166"/>
                          <a:pt x="87132" y="183071"/>
                          <a:pt x="92180" y="179832"/>
                        </a:cubicBezTo>
                        <a:cubicBezTo>
                          <a:pt x="125041" y="142685"/>
                          <a:pt x="113707" y="33147"/>
                          <a:pt x="113707" y="33147"/>
                        </a:cubicBezTo>
                        <a:lnTo>
                          <a:pt x="75321" y="0"/>
                        </a:lnTo>
                        <a:lnTo>
                          <a:pt x="16551" y="27432"/>
                        </a:lnTo>
                        <a:lnTo>
                          <a:pt x="1311" y="87630"/>
                        </a:lnTo>
                        <a:cubicBezTo>
                          <a:pt x="-2784" y="107442"/>
                          <a:pt x="2836" y="142304"/>
                          <a:pt x="16456" y="157353"/>
                        </a:cubicBezTo>
                        <a:lnTo>
                          <a:pt x="16456" y="157353"/>
                        </a:lnTo>
                        <a:cubicBezTo>
                          <a:pt x="31411" y="170402"/>
                          <a:pt x="49794" y="179260"/>
                          <a:pt x="69511" y="181928"/>
                        </a:cubicBezTo>
                        <a:close/>
                      </a:path>
                    </a:pathLst>
                  </a:custGeom>
                  <a:solidFill>
                    <a:srgbClr val="825A45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24" name="Forma Livre: Forma 23">
                  <a:extLst>
                    <a:ext uri="{FF2B5EF4-FFF2-40B4-BE49-F238E27FC236}">
                      <a16:creationId xmlns:a16="http://schemas.microsoft.com/office/drawing/2014/main" id="{708FE6FC-9009-DF5A-852D-0D6739E4404A}"/>
                    </a:ext>
                  </a:extLst>
                </p:cNvPr>
                <p:cNvSpPr/>
                <p:nvPr/>
              </p:nvSpPr>
              <p:spPr>
                <a:xfrm>
                  <a:off x="2684290" y="5110124"/>
                  <a:ext cx="471582" cy="224486"/>
                </a:xfrm>
                <a:custGeom>
                  <a:avLst/>
                  <a:gdLst>
                    <a:gd name="connsiteX0" fmla="*/ 46863 w 471582"/>
                    <a:gd name="connsiteY0" fmla="*/ 194786 h 224486"/>
                    <a:gd name="connsiteX1" fmla="*/ 86678 w 471582"/>
                    <a:gd name="connsiteY1" fmla="*/ 223171 h 224486"/>
                    <a:gd name="connsiteX2" fmla="*/ 310896 w 471582"/>
                    <a:gd name="connsiteY2" fmla="*/ 190786 h 224486"/>
                    <a:gd name="connsiteX3" fmla="*/ 350615 w 471582"/>
                    <a:gd name="connsiteY3" fmla="*/ 194977 h 224486"/>
                    <a:gd name="connsiteX4" fmla="*/ 413480 w 471582"/>
                    <a:gd name="connsiteY4" fmla="*/ 191738 h 224486"/>
                    <a:gd name="connsiteX5" fmla="*/ 471583 w 471582"/>
                    <a:gd name="connsiteY5" fmla="*/ 169259 h 224486"/>
                    <a:gd name="connsiteX6" fmla="*/ 130493 w 471582"/>
                    <a:gd name="connsiteY6" fmla="*/ 162116 h 224486"/>
                    <a:gd name="connsiteX7" fmla="*/ 0 w 471582"/>
                    <a:gd name="connsiteY7" fmla="*/ 0 h 224486"/>
                    <a:gd name="connsiteX8" fmla="*/ 46863 w 471582"/>
                    <a:gd name="connsiteY8" fmla="*/ 194786 h 2244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71582" h="224486">
                      <a:moveTo>
                        <a:pt x="46863" y="194786"/>
                      </a:moveTo>
                      <a:cubicBezTo>
                        <a:pt x="46863" y="194786"/>
                        <a:pt x="60103" y="214027"/>
                        <a:pt x="86678" y="223171"/>
                      </a:cubicBezTo>
                      <a:cubicBezTo>
                        <a:pt x="113252" y="232315"/>
                        <a:pt x="310896" y="190786"/>
                        <a:pt x="310896" y="190786"/>
                      </a:cubicBezTo>
                      <a:lnTo>
                        <a:pt x="350615" y="194977"/>
                      </a:lnTo>
                      <a:cubicBezTo>
                        <a:pt x="371380" y="200597"/>
                        <a:pt x="393383" y="199453"/>
                        <a:pt x="413480" y="191738"/>
                      </a:cubicBezTo>
                      <a:lnTo>
                        <a:pt x="471583" y="169259"/>
                      </a:lnTo>
                      <a:lnTo>
                        <a:pt x="130493" y="162116"/>
                      </a:lnTo>
                      <a:lnTo>
                        <a:pt x="0" y="0"/>
                      </a:lnTo>
                      <a:lnTo>
                        <a:pt x="46863" y="194786"/>
                      </a:lnTo>
                      <a:close/>
                    </a:path>
                  </a:pathLst>
                </a:custGeom>
                <a:solidFill>
                  <a:srgbClr val="825A4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Forma Livre: Forma 24">
                  <a:extLst>
                    <a:ext uri="{FF2B5EF4-FFF2-40B4-BE49-F238E27FC236}">
                      <a16:creationId xmlns:a16="http://schemas.microsoft.com/office/drawing/2014/main" id="{6D7E1D6B-F6F0-F5D2-0D30-D25AC1200C95}"/>
                    </a:ext>
                  </a:extLst>
                </p:cNvPr>
                <p:cNvSpPr/>
                <p:nvPr/>
              </p:nvSpPr>
              <p:spPr>
                <a:xfrm>
                  <a:off x="2493694" y="4932864"/>
                  <a:ext cx="259018" cy="416718"/>
                </a:xfrm>
                <a:custGeom>
                  <a:avLst/>
                  <a:gdLst>
                    <a:gd name="connsiteX0" fmla="*/ 122301 w 259018"/>
                    <a:gd name="connsiteY0" fmla="*/ 0 h 416718"/>
                    <a:gd name="connsiteX1" fmla="*/ 25051 w 259018"/>
                    <a:gd name="connsiteY1" fmla="*/ 167354 h 416718"/>
                    <a:gd name="connsiteX2" fmla="*/ 0 w 259018"/>
                    <a:gd name="connsiteY2" fmla="*/ 416719 h 416718"/>
                    <a:gd name="connsiteX3" fmla="*/ 165830 w 259018"/>
                    <a:gd name="connsiteY3" fmla="*/ 416719 h 416718"/>
                    <a:gd name="connsiteX4" fmla="*/ 250412 w 259018"/>
                    <a:gd name="connsiteY4" fmla="*/ 252127 h 416718"/>
                    <a:gd name="connsiteX5" fmla="*/ 251460 w 259018"/>
                    <a:gd name="connsiteY5" fmla="*/ 177737 h 416718"/>
                    <a:gd name="connsiteX6" fmla="*/ 183737 w 259018"/>
                    <a:gd name="connsiteY6" fmla="*/ 32099 h 416718"/>
                    <a:gd name="connsiteX7" fmla="*/ 122301 w 259018"/>
                    <a:gd name="connsiteY7" fmla="*/ 0 h 4167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9018" h="416718">
                      <a:moveTo>
                        <a:pt x="122301" y="0"/>
                      </a:moveTo>
                      <a:cubicBezTo>
                        <a:pt x="122301" y="0"/>
                        <a:pt x="43529" y="100965"/>
                        <a:pt x="25051" y="167354"/>
                      </a:cubicBezTo>
                      <a:cubicBezTo>
                        <a:pt x="6667" y="233743"/>
                        <a:pt x="0" y="416719"/>
                        <a:pt x="0" y="416719"/>
                      </a:cubicBezTo>
                      <a:lnTo>
                        <a:pt x="165830" y="416719"/>
                      </a:lnTo>
                      <a:cubicBezTo>
                        <a:pt x="165830" y="416719"/>
                        <a:pt x="213455" y="330422"/>
                        <a:pt x="250412" y="252127"/>
                      </a:cubicBezTo>
                      <a:cubicBezTo>
                        <a:pt x="261461" y="228600"/>
                        <a:pt x="261938" y="201454"/>
                        <a:pt x="251460" y="177737"/>
                      </a:cubicBezTo>
                      <a:cubicBezTo>
                        <a:pt x="224409" y="116395"/>
                        <a:pt x="183737" y="32099"/>
                        <a:pt x="183737" y="32099"/>
                      </a:cubicBezTo>
                      <a:lnTo>
                        <a:pt x="122301" y="0"/>
                      </a:lnTo>
                      <a:close/>
                    </a:path>
                  </a:pathLst>
                </a:custGeom>
                <a:solidFill>
                  <a:srgbClr val="EE730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26" name="Gráfico 11">
                  <a:extLst>
                    <a:ext uri="{FF2B5EF4-FFF2-40B4-BE49-F238E27FC236}">
                      <a16:creationId xmlns:a16="http://schemas.microsoft.com/office/drawing/2014/main" id="{DBCABA3E-E7C1-19EA-3181-F04B82D0E851}"/>
                    </a:ext>
                  </a:extLst>
                </p:cNvPr>
                <p:cNvGrpSpPr/>
                <p:nvPr/>
              </p:nvGrpSpPr>
              <p:grpSpPr>
                <a:xfrm>
                  <a:off x="2643129" y="6453815"/>
                  <a:ext cx="169208" cy="109347"/>
                  <a:chOff x="2643129" y="6453815"/>
                  <a:chExt cx="169208" cy="109347"/>
                </a:xfrm>
              </p:grpSpPr>
              <p:sp>
                <p:nvSpPr>
                  <p:cNvPr id="37" name="Forma Livre: Forma 36">
                    <a:extLst>
                      <a:ext uri="{FF2B5EF4-FFF2-40B4-BE49-F238E27FC236}">
                        <a16:creationId xmlns:a16="http://schemas.microsoft.com/office/drawing/2014/main" id="{ADA3D407-7CC3-065B-17B1-7F099C909905}"/>
                      </a:ext>
                    </a:extLst>
                  </p:cNvPr>
                  <p:cNvSpPr/>
                  <p:nvPr/>
                </p:nvSpPr>
                <p:spPr>
                  <a:xfrm>
                    <a:off x="2655239" y="6453815"/>
                    <a:ext cx="121253" cy="86793"/>
                  </a:xfrm>
                  <a:custGeom>
                    <a:avLst/>
                    <a:gdLst>
                      <a:gd name="connsiteX0" fmla="*/ 44958 w 121253"/>
                      <a:gd name="connsiteY0" fmla="*/ 0 h 86793"/>
                      <a:gd name="connsiteX1" fmla="*/ 58102 w 121253"/>
                      <a:gd name="connsiteY1" fmla="*/ 34195 h 86793"/>
                      <a:gd name="connsiteX2" fmla="*/ 76009 w 121253"/>
                      <a:gd name="connsiteY2" fmla="*/ 56960 h 86793"/>
                      <a:gd name="connsiteX3" fmla="*/ 121253 w 121253"/>
                      <a:gd name="connsiteY3" fmla="*/ 77533 h 86793"/>
                      <a:gd name="connsiteX4" fmla="*/ 28956 w 121253"/>
                      <a:gd name="connsiteY4" fmla="*/ 59912 h 86793"/>
                      <a:gd name="connsiteX5" fmla="*/ 5524 w 121253"/>
                      <a:gd name="connsiteY5" fmla="*/ 25908 h 86793"/>
                      <a:gd name="connsiteX6" fmla="*/ 0 w 121253"/>
                      <a:gd name="connsiteY6" fmla="*/ 0 h 86793"/>
                      <a:gd name="connsiteX7" fmla="*/ 44958 w 121253"/>
                      <a:gd name="connsiteY7" fmla="*/ 0 h 867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21253" h="86793">
                        <a:moveTo>
                          <a:pt x="44958" y="0"/>
                        </a:moveTo>
                        <a:lnTo>
                          <a:pt x="58102" y="34195"/>
                        </a:lnTo>
                        <a:cubicBezTo>
                          <a:pt x="61341" y="43625"/>
                          <a:pt x="67627" y="51530"/>
                          <a:pt x="76009" y="56960"/>
                        </a:cubicBezTo>
                        <a:cubicBezTo>
                          <a:pt x="85249" y="62865"/>
                          <a:pt x="99727" y="71152"/>
                          <a:pt x="121253" y="77533"/>
                        </a:cubicBezTo>
                        <a:cubicBezTo>
                          <a:pt x="94869" y="100013"/>
                          <a:pt x="52959" y="76581"/>
                          <a:pt x="28956" y="59912"/>
                        </a:cubicBezTo>
                        <a:cubicBezTo>
                          <a:pt x="17240" y="51816"/>
                          <a:pt x="8954" y="39719"/>
                          <a:pt x="5524" y="25908"/>
                        </a:cubicBezTo>
                        <a:lnTo>
                          <a:pt x="0" y="0"/>
                        </a:lnTo>
                        <a:lnTo>
                          <a:pt x="44958" y="0"/>
                        </a:lnTo>
                        <a:close/>
                      </a:path>
                    </a:pathLst>
                  </a:custGeom>
                  <a:solidFill>
                    <a:srgbClr val="825A45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" name="Forma Livre: Forma 37">
                    <a:extLst>
                      <a:ext uri="{FF2B5EF4-FFF2-40B4-BE49-F238E27FC236}">
                        <a16:creationId xmlns:a16="http://schemas.microsoft.com/office/drawing/2014/main" id="{EF49715F-D3ED-F0C8-10BA-157302CA5D7E}"/>
                      </a:ext>
                    </a:extLst>
                  </p:cNvPr>
                  <p:cNvSpPr/>
                  <p:nvPr/>
                </p:nvSpPr>
                <p:spPr>
                  <a:xfrm>
                    <a:off x="2643129" y="6471532"/>
                    <a:ext cx="169208" cy="91630"/>
                  </a:xfrm>
                  <a:custGeom>
                    <a:avLst/>
                    <a:gdLst>
                      <a:gd name="connsiteX0" fmla="*/ 14967 w 169208"/>
                      <a:gd name="connsiteY0" fmla="*/ 0 h 91630"/>
                      <a:gd name="connsiteX1" fmla="*/ 394 w 169208"/>
                      <a:gd name="connsiteY1" fmla="*/ 31909 h 91630"/>
                      <a:gd name="connsiteX2" fmla="*/ 8299 w 169208"/>
                      <a:gd name="connsiteY2" fmla="*/ 91631 h 91630"/>
                      <a:gd name="connsiteX3" fmla="*/ 26587 w 169208"/>
                      <a:gd name="connsiteY3" fmla="*/ 91631 h 91630"/>
                      <a:gd name="connsiteX4" fmla="*/ 26016 w 169208"/>
                      <a:gd name="connsiteY4" fmla="*/ 52578 h 91630"/>
                      <a:gd name="connsiteX5" fmla="*/ 72022 w 169208"/>
                      <a:gd name="connsiteY5" fmla="*/ 91631 h 91630"/>
                      <a:gd name="connsiteX6" fmla="*/ 168986 w 169208"/>
                      <a:gd name="connsiteY6" fmla="*/ 91631 h 91630"/>
                      <a:gd name="connsiteX7" fmla="*/ 118504 w 169208"/>
                      <a:gd name="connsiteY7" fmla="*/ 56864 h 91630"/>
                      <a:gd name="connsiteX8" fmla="*/ 14967 w 169208"/>
                      <a:gd name="connsiteY8" fmla="*/ 0 h 916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9208" h="91630">
                        <a:moveTo>
                          <a:pt x="14967" y="0"/>
                        </a:moveTo>
                        <a:cubicBezTo>
                          <a:pt x="14967" y="0"/>
                          <a:pt x="-2845" y="14002"/>
                          <a:pt x="394" y="31909"/>
                        </a:cubicBezTo>
                        <a:cubicBezTo>
                          <a:pt x="3632" y="49816"/>
                          <a:pt x="8299" y="91631"/>
                          <a:pt x="8299" y="91631"/>
                        </a:cubicBezTo>
                        <a:lnTo>
                          <a:pt x="26587" y="91631"/>
                        </a:lnTo>
                        <a:lnTo>
                          <a:pt x="26016" y="52578"/>
                        </a:lnTo>
                        <a:cubicBezTo>
                          <a:pt x="26111" y="50006"/>
                          <a:pt x="65354" y="91631"/>
                          <a:pt x="72022" y="91631"/>
                        </a:cubicBezTo>
                        <a:lnTo>
                          <a:pt x="168986" y="91631"/>
                        </a:lnTo>
                        <a:cubicBezTo>
                          <a:pt x="168986" y="91631"/>
                          <a:pt x="175463" y="65342"/>
                          <a:pt x="118504" y="56864"/>
                        </a:cubicBezTo>
                        <a:cubicBezTo>
                          <a:pt x="61639" y="48387"/>
                          <a:pt x="14967" y="0"/>
                          <a:pt x="14967" y="0"/>
                        </a:cubicBezTo>
                        <a:close/>
                      </a:path>
                    </a:pathLst>
                  </a:custGeom>
                  <a:solidFill>
                    <a:srgbClr val="0070C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27" name="Gráfico 11">
                  <a:extLst>
                    <a:ext uri="{FF2B5EF4-FFF2-40B4-BE49-F238E27FC236}">
                      <a16:creationId xmlns:a16="http://schemas.microsoft.com/office/drawing/2014/main" id="{9D622F43-68D2-2E53-8325-564569F2DEA4}"/>
                    </a:ext>
                  </a:extLst>
                </p:cNvPr>
                <p:cNvGrpSpPr/>
                <p:nvPr/>
              </p:nvGrpSpPr>
              <p:grpSpPr>
                <a:xfrm>
                  <a:off x="2454629" y="6453815"/>
                  <a:ext cx="169208" cy="109347"/>
                  <a:chOff x="2454629" y="6453815"/>
                  <a:chExt cx="169208" cy="109347"/>
                </a:xfrm>
              </p:grpSpPr>
              <p:sp>
                <p:nvSpPr>
                  <p:cNvPr id="35" name="Forma Livre: Forma 34">
                    <a:extLst>
                      <a:ext uri="{FF2B5EF4-FFF2-40B4-BE49-F238E27FC236}">
                        <a16:creationId xmlns:a16="http://schemas.microsoft.com/office/drawing/2014/main" id="{B7ED9D79-CE57-37C0-AF2D-901767B7CB44}"/>
                      </a:ext>
                    </a:extLst>
                  </p:cNvPr>
                  <p:cNvSpPr/>
                  <p:nvPr/>
                </p:nvSpPr>
                <p:spPr>
                  <a:xfrm>
                    <a:off x="2466643" y="6453815"/>
                    <a:ext cx="121253" cy="86793"/>
                  </a:xfrm>
                  <a:custGeom>
                    <a:avLst/>
                    <a:gdLst>
                      <a:gd name="connsiteX0" fmla="*/ 44958 w 121253"/>
                      <a:gd name="connsiteY0" fmla="*/ 0 h 86793"/>
                      <a:gd name="connsiteX1" fmla="*/ 58103 w 121253"/>
                      <a:gd name="connsiteY1" fmla="*/ 34195 h 86793"/>
                      <a:gd name="connsiteX2" fmla="*/ 76010 w 121253"/>
                      <a:gd name="connsiteY2" fmla="*/ 56960 h 86793"/>
                      <a:gd name="connsiteX3" fmla="*/ 121253 w 121253"/>
                      <a:gd name="connsiteY3" fmla="*/ 77533 h 86793"/>
                      <a:gd name="connsiteX4" fmla="*/ 28956 w 121253"/>
                      <a:gd name="connsiteY4" fmla="*/ 59912 h 86793"/>
                      <a:gd name="connsiteX5" fmla="*/ 5525 w 121253"/>
                      <a:gd name="connsiteY5" fmla="*/ 25908 h 86793"/>
                      <a:gd name="connsiteX6" fmla="*/ 0 w 121253"/>
                      <a:gd name="connsiteY6" fmla="*/ 0 h 86793"/>
                      <a:gd name="connsiteX7" fmla="*/ 44958 w 121253"/>
                      <a:gd name="connsiteY7" fmla="*/ 0 h 867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21253" h="86793">
                        <a:moveTo>
                          <a:pt x="44958" y="0"/>
                        </a:moveTo>
                        <a:lnTo>
                          <a:pt x="58103" y="34195"/>
                        </a:lnTo>
                        <a:cubicBezTo>
                          <a:pt x="61341" y="43625"/>
                          <a:pt x="67628" y="51530"/>
                          <a:pt x="76010" y="56960"/>
                        </a:cubicBezTo>
                        <a:cubicBezTo>
                          <a:pt x="85249" y="62865"/>
                          <a:pt x="99727" y="71152"/>
                          <a:pt x="121253" y="77533"/>
                        </a:cubicBezTo>
                        <a:cubicBezTo>
                          <a:pt x="94869" y="100013"/>
                          <a:pt x="52959" y="76581"/>
                          <a:pt x="28956" y="59912"/>
                        </a:cubicBezTo>
                        <a:cubicBezTo>
                          <a:pt x="17240" y="51816"/>
                          <a:pt x="8954" y="39719"/>
                          <a:pt x="5525" y="25908"/>
                        </a:cubicBezTo>
                        <a:lnTo>
                          <a:pt x="0" y="0"/>
                        </a:lnTo>
                        <a:lnTo>
                          <a:pt x="44958" y="0"/>
                        </a:lnTo>
                        <a:close/>
                      </a:path>
                    </a:pathLst>
                  </a:custGeom>
                  <a:solidFill>
                    <a:srgbClr val="825A45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" name="Forma Livre: Forma 35">
                    <a:extLst>
                      <a:ext uri="{FF2B5EF4-FFF2-40B4-BE49-F238E27FC236}">
                        <a16:creationId xmlns:a16="http://schemas.microsoft.com/office/drawing/2014/main" id="{E48F1CEE-E397-DBAC-61E2-1F06416854C2}"/>
                      </a:ext>
                    </a:extLst>
                  </p:cNvPr>
                  <p:cNvSpPr/>
                  <p:nvPr/>
                </p:nvSpPr>
                <p:spPr>
                  <a:xfrm>
                    <a:off x="2454629" y="6471532"/>
                    <a:ext cx="169208" cy="91630"/>
                  </a:xfrm>
                  <a:custGeom>
                    <a:avLst/>
                    <a:gdLst>
                      <a:gd name="connsiteX0" fmla="*/ 14967 w 169208"/>
                      <a:gd name="connsiteY0" fmla="*/ 0 h 91630"/>
                      <a:gd name="connsiteX1" fmla="*/ 394 w 169208"/>
                      <a:gd name="connsiteY1" fmla="*/ 31909 h 91630"/>
                      <a:gd name="connsiteX2" fmla="*/ 8299 w 169208"/>
                      <a:gd name="connsiteY2" fmla="*/ 91631 h 91630"/>
                      <a:gd name="connsiteX3" fmla="*/ 26587 w 169208"/>
                      <a:gd name="connsiteY3" fmla="*/ 91631 h 91630"/>
                      <a:gd name="connsiteX4" fmla="*/ 26016 w 169208"/>
                      <a:gd name="connsiteY4" fmla="*/ 52578 h 91630"/>
                      <a:gd name="connsiteX5" fmla="*/ 72022 w 169208"/>
                      <a:gd name="connsiteY5" fmla="*/ 91631 h 91630"/>
                      <a:gd name="connsiteX6" fmla="*/ 168986 w 169208"/>
                      <a:gd name="connsiteY6" fmla="*/ 91631 h 91630"/>
                      <a:gd name="connsiteX7" fmla="*/ 118504 w 169208"/>
                      <a:gd name="connsiteY7" fmla="*/ 56864 h 91630"/>
                      <a:gd name="connsiteX8" fmla="*/ 14967 w 169208"/>
                      <a:gd name="connsiteY8" fmla="*/ 0 h 916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9208" h="91630">
                        <a:moveTo>
                          <a:pt x="14967" y="0"/>
                        </a:moveTo>
                        <a:cubicBezTo>
                          <a:pt x="14967" y="0"/>
                          <a:pt x="-2845" y="14002"/>
                          <a:pt x="394" y="31909"/>
                        </a:cubicBezTo>
                        <a:cubicBezTo>
                          <a:pt x="3632" y="49816"/>
                          <a:pt x="8299" y="91631"/>
                          <a:pt x="8299" y="91631"/>
                        </a:cubicBezTo>
                        <a:lnTo>
                          <a:pt x="26587" y="91631"/>
                        </a:lnTo>
                        <a:lnTo>
                          <a:pt x="26016" y="52578"/>
                        </a:lnTo>
                        <a:cubicBezTo>
                          <a:pt x="26111" y="50006"/>
                          <a:pt x="65354" y="91631"/>
                          <a:pt x="72022" y="91631"/>
                        </a:cubicBezTo>
                        <a:lnTo>
                          <a:pt x="168986" y="91631"/>
                        </a:lnTo>
                        <a:cubicBezTo>
                          <a:pt x="168986" y="91631"/>
                          <a:pt x="175463" y="65342"/>
                          <a:pt x="118504" y="56864"/>
                        </a:cubicBezTo>
                        <a:cubicBezTo>
                          <a:pt x="61544" y="48387"/>
                          <a:pt x="14967" y="0"/>
                          <a:pt x="14967" y="0"/>
                        </a:cubicBezTo>
                        <a:close/>
                      </a:path>
                    </a:pathLst>
                  </a:custGeom>
                  <a:solidFill>
                    <a:srgbClr val="0070C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28" name="Forma Livre: Forma 27">
                  <a:extLst>
                    <a:ext uri="{FF2B5EF4-FFF2-40B4-BE49-F238E27FC236}">
                      <a16:creationId xmlns:a16="http://schemas.microsoft.com/office/drawing/2014/main" id="{C4DC0449-277D-E6C9-E0BA-291BF638F5D8}"/>
                    </a:ext>
                  </a:extLst>
                </p:cNvPr>
                <p:cNvSpPr/>
                <p:nvPr/>
              </p:nvSpPr>
              <p:spPr>
                <a:xfrm>
                  <a:off x="2540939" y="5349677"/>
                  <a:ext cx="162210" cy="1109662"/>
                </a:xfrm>
                <a:custGeom>
                  <a:avLst/>
                  <a:gdLst>
                    <a:gd name="connsiteX0" fmla="*/ 118586 w 162210"/>
                    <a:gd name="connsiteY0" fmla="*/ 2762 h 1109662"/>
                    <a:gd name="connsiteX1" fmla="*/ 130493 w 162210"/>
                    <a:gd name="connsiteY1" fmla="*/ 617887 h 1109662"/>
                    <a:gd name="connsiteX2" fmla="*/ 162211 w 162210"/>
                    <a:gd name="connsiteY2" fmla="*/ 1109663 h 1109662"/>
                    <a:gd name="connsiteX3" fmla="*/ 115538 w 162210"/>
                    <a:gd name="connsiteY3" fmla="*/ 1109663 h 1109662"/>
                    <a:gd name="connsiteX4" fmla="*/ 29528 w 162210"/>
                    <a:gd name="connsiteY4" fmla="*/ 621602 h 1109662"/>
                    <a:gd name="connsiteX5" fmla="*/ 0 w 162210"/>
                    <a:gd name="connsiteY5" fmla="*/ 0 h 1109662"/>
                    <a:gd name="connsiteX6" fmla="*/ 118586 w 162210"/>
                    <a:gd name="connsiteY6" fmla="*/ 2762 h 1109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2210" h="1109662">
                      <a:moveTo>
                        <a:pt x="118586" y="2762"/>
                      </a:moveTo>
                      <a:cubicBezTo>
                        <a:pt x="118586" y="2762"/>
                        <a:pt x="200882" y="126111"/>
                        <a:pt x="130493" y="617887"/>
                      </a:cubicBezTo>
                      <a:cubicBezTo>
                        <a:pt x="141542" y="803720"/>
                        <a:pt x="162211" y="1109663"/>
                        <a:pt x="162211" y="1109663"/>
                      </a:cubicBezTo>
                      <a:lnTo>
                        <a:pt x="115538" y="1109663"/>
                      </a:lnTo>
                      <a:cubicBezTo>
                        <a:pt x="115538" y="1109663"/>
                        <a:pt x="-13907" y="783908"/>
                        <a:pt x="29528" y="621602"/>
                      </a:cubicBezTo>
                      <a:cubicBezTo>
                        <a:pt x="39815" y="460820"/>
                        <a:pt x="0" y="0"/>
                        <a:pt x="0" y="0"/>
                      </a:cubicBezTo>
                      <a:lnTo>
                        <a:pt x="118586" y="2762"/>
                      </a:lnTo>
                      <a:close/>
                    </a:path>
                  </a:pathLst>
                </a:custGeom>
                <a:solidFill>
                  <a:srgbClr val="13223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9" name="Forma Livre: Forma 28">
                  <a:extLst>
                    <a:ext uri="{FF2B5EF4-FFF2-40B4-BE49-F238E27FC236}">
                      <a16:creationId xmlns:a16="http://schemas.microsoft.com/office/drawing/2014/main" id="{A783062B-5E38-21B8-C1F3-83FAEBF2DD56}"/>
                    </a:ext>
                  </a:extLst>
                </p:cNvPr>
                <p:cNvSpPr/>
                <p:nvPr/>
              </p:nvSpPr>
              <p:spPr>
                <a:xfrm>
                  <a:off x="2407589" y="5349487"/>
                  <a:ext cx="252031" cy="1109757"/>
                </a:xfrm>
                <a:custGeom>
                  <a:avLst/>
                  <a:gdLst>
                    <a:gd name="connsiteX0" fmla="*/ 86106 w 252031"/>
                    <a:gd name="connsiteY0" fmla="*/ 0 h 1109757"/>
                    <a:gd name="connsiteX1" fmla="*/ 0 w 252031"/>
                    <a:gd name="connsiteY1" fmla="*/ 172212 h 1109757"/>
                    <a:gd name="connsiteX2" fmla="*/ 61246 w 252031"/>
                    <a:gd name="connsiteY2" fmla="*/ 529495 h 1109757"/>
                    <a:gd name="connsiteX3" fmla="*/ 50006 w 252031"/>
                    <a:gd name="connsiteY3" fmla="*/ 649224 h 1109757"/>
                    <a:gd name="connsiteX4" fmla="*/ 59817 w 252031"/>
                    <a:gd name="connsiteY4" fmla="*/ 1109758 h 1109757"/>
                    <a:gd name="connsiteX5" fmla="*/ 106299 w 252031"/>
                    <a:gd name="connsiteY5" fmla="*/ 1109758 h 1109757"/>
                    <a:gd name="connsiteX6" fmla="*/ 172403 w 252031"/>
                    <a:gd name="connsiteY6" fmla="*/ 606552 h 1109757"/>
                    <a:gd name="connsiteX7" fmla="*/ 252031 w 252031"/>
                    <a:gd name="connsiteY7" fmla="*/ 0 h 1109757"/>
                    <a:gd name="connsiteX8" fmla="*/ 86106 w 252031"/>
                    <a:gd name="connsiteY8" fmla="*/ 0 h 11097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52031" h="1109757">
                      <a:moveTo>
                        <a:pt x="86106" y="0"/>
                      </a:moveTo>
                      <a:cubicBezTo>
                        <a:pt x="86106" y="0"/>
                        <a:pt x="0" y="69247"/>
                        <a:pt x="0" y="172212"/>
                      </a:cubicBezTo>
                      <a:cubicBezTo>
                        <a:pt x="0" y="252889"/>
                        <a:pt x="38862" y="420053"/>
                        <a:pt x="61246" y="529495"/>
                      </a:cubicBezTo>
                      <a:cubicBezTo>
                        <a:pt x="69342" y="569214"/>
                        <a:pt x="61151" y="610267"/>
                        <a:pt x="50006" y="649224"/>
                      </a:cubicBezTo>
                      <a:cubicBezTo>
                        <a:pt x="4477" y="807911"/>
                        <a:pt x="59817" y="1109758"/>
                        <a:pt x="59817" y="1109758"/>
                      </a:cubicBezTo>
                      <a:lnTo>
                        <a:pt x="106299" y="1109758"/>
                      </a:lnTo>
                      <a:cubicBezTo>
                        <a:pt x="106299" y="1109758"/>
                        <a:pt x="108871" y="954500"/>
                        <a:pt x="172403" y="606552"/>
                      </a:cubicBezTo>
                      <a:cubicBezTo>
                        <a:pt x="245364" y="206883"/>
                        <a:pt x="252031" y="0"/>
                        <a:pt x="252031" y="0"/>
                      </a:cubicBezTo>
                      <a:lnTo>
                        <a:pt x="86106" y="0"/>
                      </a:lnTo>
                      <a:close/>
                    </a:path>
                  </a:pathLst>
                </a:custGeom>
                <a:solidFill>
                  <a:srgbClr val="11458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" name="Forma Livre: Forma 29">
                  <a:extLst>
                    <a:ext uri="{FF2B5EF4-FFF2-40B4-BE49-F238E27FC236}">
                      <a16:creationId xmlns:a16="http://schemas.microsoft.com/office/drawing/2014/main" id="{44D823B3-3CE1-82A7-3B56-236CCD25BAEF}"/>
                    </a:ext>
                  </a:extLst>
                </p:cNvPr>
                <p:cNvSpPr/>
                <p:nvPr/>
              </p:nvSpPr>
              <p:spPr>
                <a:xfrm>
                  <a:off x="2894411" y="5040782"/>
                  <a:ext cx="391477" cy="238601"/>
                </a:xfrm>
                <a:custGeom>
                  <a:avLst/>
                  <a:gdLst>
                    <a:gd name="connsiteX0" fmla="*/ 270891 w 391477"/>
                    <a:gd name="connsiteY0" fmla="*/ 238601 h 238601"/>
                    <a:gd name="connsiteX1" fmla="*/ 0 w 391477"/>
                    <a:gd name="connsiteY1" fmla="*/ 238601 h 238601"/>
                    <a:gd name="connsiteX2" fmla="*/ 0 w 391477"/>
                    <a:gd name="connsiteY2" fmla="*/ 218694 h 238601"/>
                    <a:gd name="connsiteX3" fmla="*/ 258890 w 391477"/>
                    <a:gd name="connsiteY3" fmla="*/ 218694 h 238601"/>
                    <a:gd name="connsiteX4" fmla="*/ 373856 w 391477"/>
                    <a:gd name="connsiteY4" fmla="*/ 0 h 238601"/>
                    <a:gd name="connsiteX5" fmla="*/ 391478 w 391477"/>
                    <a:gd name="connsiteY5" fmla="*/ 9239 h 2386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91477" h="238601">
                      <a:moveTo>
                        <a:pt x="270891" y="238601"/>
                      </a:moveTo>
                      <a:lnTo>
                        <a:pt x="0" y="238601"/>
                      </a:lnTo>
                      <a:lnTo>
                        <a:pt x="0" y="218694"/>
                      </a:lnTo>
                      <a:lnTo>
                        <a:pt x="258890" y="218694"/>
                      </a:lnTo>
                      <a:lnTo>
                        <a:pt x="373856" y="0"/>
                      </a:lnTo>
                      <a:lnTo>
                        <a:pt x="391478" y="9239"/>
                      </a:lnTo>
                      <a:close/>
                    </a:path>
                  </a:pathLst>
                </a:custGeom>
                <a:solidFill>
                  <a:srgbClr val="EEA00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" name="Forma Livre: Forma 30">
                  <a:extLst>
                    <a:ext uri="{FF2B5EF4-FFF2-40B4-BE49-F238E27FC236}">
                      <a16:creationId xmlns:a16="http://schemas.microsoft.com/office/drawing/2014/main" id="{671CCABE-B7DE-D942-FABC-1FBB0BCECEA4}"/>
                    </a:ext>
                  </a:extLst>
                </p:cNvPr>
                <p:cNvSpPr/>
                <p:nvPr/>
              </p:nvSpPr>
              <p:spPr>
                <a:xfrm>
                  <a:off x="2540939" y="5055283"/>
                  <a:ext cx="399954" cy="264010"/>
                </a:xfrm>
                <a:custGeom>
                  <a:avLst/>
                  <a:gdLst>
                    <a:gd name="connsiteX0" fmla="*/ 0 w 399954"/>
                    <a:gd name="connsiteY0" fmla="*/ 62556 h 264010"/>
                    <a:gd name="connsiteX1" fmla="*/ 128111 w 399954"/>
                    <a:gd name="connsiteY1" fmla="*/ 264010 h 264010"/>
                    <a:gd name="connsiteX2" fmla="*/ 399955 w 399954"/>
                    <a:gd name="connsiteY2" fmla="*/ 165522 h 264010"/>
                    <a:gd name="connsiteX3" fmla="*/ 393859 w 399954"/>
                    <a:gd name="connsiteY3" fmla="*/ 131136 h 264010"/>
                    <a:gd name="connsiteX4" fmla="*/ 158782 w 399954"/>
                    <a:gd name="connsiteY4" fmla="*/ 170951 h 264010"/>
                    <a:gd name="connsiteX5" fmla="*/ 123444 w 399954"/>
                    <a:gd name="connsiteY5" fmla="*/ 51698 h 264010"/>
                    <a:gd name="connsiteX6" fmla="*/ 72771 w 399954"/>
                    <a:gd name="connsiteY6" fmla="*/ 1025 h 264010"/>
                    <a:gd name="connsiteX7" fmla="*/ 0 w 399954"/>
                    <a:gd name="connsiteY7" fmla="*/ 62556 h 2640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9954" h="264010">
                      <a:moveTo>
                        <a:pt x="0" y="62556"/>
                      </a:moveTo>
                      <a:cubicBezTo>
                        <a:pt x="0" y="62556"/>
                        <a:pt x="86487" y="264010"/>
                        <a:pt x="128111" y="264010"/>
                      </a:cubicBezTo>
                      <a:cubicBezTo>
                        <a:pt x="169736" y="264010"/>
                        <a:pt x="399955" y="165522"/>
                        <a:pt x="399955" y="165522"/>
                      </a:cubicBezTo>
                      <a:lnTo>
                        <a:pt x="393859" y="131136"/>
                      </a:lnTo>
                      <a:lnTo>
                        <a:pt x="158782" y="170951"/>
                      </a:lnTo>
                      <a:cubicBezTo>
                        <a:pt x="158782" y="170951"/>
                        <a:pt x="137922" y="115420"/>
                        <a:pt x="123444" y="51698"/>
                      </a:cubicBezTo>
                      <a:cubicBezTo>
                        <a:pt x="117729" y="26457"/>
                        <a:pt x="98203" y="5883"/>
                        <a:pt x="72771" y="1025"/>
                      </a:cubicBezTo>
                      <a:cubicBezTo>
                        <a:pt x="17145" y="-9357"/>
                        <a:pt x="0" y="62556"/>
                        <a:pt x="0" y="62556"/>
                      </a:cubicBezTo>
                      <a:close/>
                    </a:path>
                  </a:pathLst>
                </a:custGeom>
                <a:solidFill>
                  <a:srgbClr val="825A4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2" name="Forma Livre: Forma 31">
                  <a:extLst>
                    <a:ext uri="{FF2B5EF4-FFF2-40B4-BE49-F238E27FC236}">
                      <a16:creationId xmlns:a16="http://schemas.microsoft.com/office/drawing/2014/main" id="{759F84A2-51DA-26AF-DFE4-6C6B0E44ABDF}"/>
                    </a:ext>
                  </a:extLst>
                </p:cNvPr>
                <p:cNvSpPr/>
                <p:nvPr/>
              </p:nvSpPr>
              <p:spPr>
                <a:xfrm>
                  <a:off x="2433220" y="4680399"/>
                  <a:ext cx="329866" cy="538886"/>
                </a:xfrm>
                <a:custGeom>
                  <a:avLst/>
                  <a:gdLst>
                    <a:gd name="connsiteX0" fmla="*/ 222495 w 329866"/>
                    <a:gd name="connsiteY0" fmla="*/ 117781 h 538886"/>
                    <a:gd name="connsiteX1" fmla="*/ 326698 w 329866"/>
                    <a:gd name="connsiteY1" fmla="*/ 82920 h 538886"/>
                    <a:gd name="connsiteX2" fmla="*/ 217923 w 329866"/>
                    <a:gd name="connsiteY2" fmla="*/ 6148 h 538886"/>
                    <a:gd name="connsiteX3" fmla="*/ 153439 w 329866"/>
                    <a:gd name="connsiteY3" fmla="*/ 136355 h 538886"/>
                    <a:gd name="connsiteX4" fmla="*/ 107242 w 329866"/>
                    <a:gd name="connsiteY4" fmla="*/ 234748 h 538886"/>
                    <a:gd name="connsiteX5" fmla="*/ 68095 w 329866"/>
                    <a:gd name="connsiteY5" fmla="*/ 331427 h 538886"/>
                    <a:gd name="connsiteX6" fmla="*/ 12564 w 329866"/>
                    <a:gd name="connsiteY6" fmla="*/ 391530 h 538886"/>
                    <a:gd name="connsiteX7" fmla="*/ 15802 w 329866"/>
                    <a:gd name="connsiteY7" fmla="*/ 493352 h 538886"/>
                    <a:gd name="connsiteX8" fmla="*/ 102099 w 329866"/>
                    <a:gd name="connsiteY8" fmla="*/ 535833 h 538886"/>
                    <a:gd name="connsiteX9" fmla="*/ 135532 w 329866"/>
                    <a:gd name="connsiteY9" fmla="*/ 445917 h 538886"/>
                    <a:gd name="connsiteX10" fmla="*/ 178775 w 329866"/>
                    <a:gd name="connsiteY10" fmla="*/ 360859 h 538886"/>
                    <a:gd name="connsiteX11" fmla="*/ 237068 w 329866"/>
                    <a:gd name="connsiteY11" fmla="*/ 286850 h 538886"/>
                    <a:gd name="connsiteX12" fmla="*/ 222495 w 329866"/>
                    <a:gd name="connsiteY12" fmla="*/ 117781 h 538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329866" h="538886">
                      <a:moveTo>
                        <a:pt x="222495" y="117781"/>
                      </a:moveTo>
                      <a:cubicBezTo>
                        <a:pt x="222495" y="117781"/>
                        <a:pt x="248117" y="133307"/>
                        <a:pt x="326698" y="82920"/>
                      </a:cubicBezTo>
                      <a:cubicBezTo>
                        <a:pt x="338700" y="86063"/>
                        <a:pt x="319555" y="-27189"/>
                        <a:pt x="217923" y="6148"/>
                      </a:cubicBezTo>
                      <a:cubicBezTo>
                        <a:pt x="146771" y="29389"/>
                        <a:pt x="150200" y="98255"/>
                        <a:pt x="153439" y="136355"/>
                      </a:cubicBezTo>
                      <a:cubicBezTo>
                        <a:pt x="156963" y="177503"/>
                        <a:pt x="135532" y="204649"/>
                        <a:pt x="107242" y="234748"/>
                      </a:cubicBezTo>
                      <a:cubicBezTo>
                        <a:pt x="83525" y="259989"/>
                        <a:pt x="83906" y="306471"/>
                        <a:pt x="68095" y="331427"/>
                      </a:cubicBezTo>
                      <a:cubicBezTo>
                        <a:pt x="48664" y="362193"/>
                        <a:pt x="27994" y="360383"/>
                        <a:pt x="12564" y="391530"/>
                      </a:cubicBezTo>
                      <a:cubicBezTo>
                        <a:pt x="-3629" y="424200"/>
                        <a:pt x="-5819" y="464110"/>
                        <a:pt x="15802" y="493352"/>
                      </a:cubicBezTo>
                      <a:cubicBezTo>
                        <a:pt x="28090" y="510021"/>
                        <a:pt x="56760" y="550216"/>
                        <a:pt x="102099" y="535833"/>
                      </a:cubicBezTo>
                      <a:cubicBezTo>
                        <a:pt x="127531" y="527832"/>
                        <a:pt x="134389" y="483351"/>
                        <a:pt x="135532" y="445917"/>
                      </a:cubicBezTo>
                      <a:cubicBezTo>
                        <a:pt x="136484" y="412580"/>
                        <a:pt x="152677" y="381624"/>
                        <a:pt x="178775" y="360859"/>
                      </a:cubicBezTo>
                      <a:cubicBezTo>
                        <a:pt x="203254" y="341428"/>
                        <a:pt x="229924" y="314758"/>
                        <a:pt x="237068" y="286850"/>
                      </a:cubicBezTo>
                      <a:cubicBezTo>
                        <a:pt x="251070" y="232367"/>
                        <a:pt x="222495" y="117781"/>
                        <a:pt x="222495" y="117781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3" name="Forma Livre: Forma 32">
                  <a:extLst>
                    <a:ext uri="{FF2B5EF4-FFF2-40B4-BE49-F238E27FC236}">
                      <a16:creationId xmlns:a16="http://schemas.microsoft.com/office/drawing/2014/main" id="{33F77942-F4BE-ACF3-0AE0-E6711DD0925D}"/>
                    </a:ext>
                  </a:extLst>
                </p:cNvPr>
                <p:cNvSpPr/>
                <p:nvPr/>
              </p:nvSpPr>
              <p:spPr>
                <a:xfrm>
                  <a:off x="2641840" y="4798359"/>
                  <a:ext cx="30391" cy="30693"/>
                </a:xfrm>
                <a:custGeom>
                  <a:avLst/>
                  <a:gdLst>
                    <a:gd name="connsiteX0" fmla="*/ 4635 w 30391"/>
                    <a:gd name="connsiteY0" fmla="*/ 2012 h 30693"/>
                    <a:gd name="connsiteX1" fmla="*/ 26162 w 30391"/>
                    <a:gd name="connsiteY1" fmla="*/ 7727 h 30693"/>
                    <a:gd name="connsiteX2" fmla="*/ 25685 w 30391"/>
                    <a:gd name="connsiteY2" fmla="*/ 28682 h 30693"/>
                    <a:gd name="connsiteX3" fmla="*/ 4159 w 30391"/>
                    <a:gd name="connsiteY3" fmla="*/ 22967 h 30693"/>
                    <a:gd name="connsiteX4" fmla="*/ 4635 w 30391"/>
                    <a:gd name="connsiteY4" fmla="*/ 2012 h 306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391" h="30693">
                      <a:moveTo>
                        <a:pt x="4635" y="2012"/>
                      </a:moveTo>
                      <a:cubicBezTo>
                        <a:pt x="10731" y="-2179"/>
                        <a:pt x="20351" y="393"/>
                        <a:pt x="26162" y="7727"/>
                      </a:cubicBezTo>
                      <a:cubicBezTo>
                        <a:pt x="31972" y="15061"/>
                        <a:pt x="31781" y="24491"/>
                        <a:pt x="25685" y="28682"/>
                      </a:cubicBezTo>
                      <a:cubicBezTo>
                        <a:pt x="19589" y="32873"/>
                        <a:pt x="9969" y="30301"/>
                        <a:pt x="4159" y="22967"/>
                      </a:cubicBezTo>
                      <a:cubicBezTo>
                        <a:pt x="-1556" y="15537"/>
                        <a:pt x="-1366" y="6203"/>
                        <a:pt x="4635" y="2012"/>
                      </a:cubicBezTo>
                      <a:close/>
                    </a:path>
                  </a:pathLst>
                </a:custGeom>
                <a:solidFill>
                  <a:srgbClr val="825A4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Forma Livre: Forma 33">
                  <a:extLst>
                    <a:ext uri="{FF2B5EF4-FFF2-40B4-BE49-F238E27FC236}">
                      <a16:creationId xmlns:a16="http://schemas.microsoft.com/office/drawing/2014/main" id="{B4F71214-5E43-B4A3-6D87-E0C684E4771C}"/>
                    </a:ext>
                  </a:extLst>
                </p:cNvPr>
                <p:cNvSpPr/>
                <p:nvPr/>
              </p:nvSpPr>
              <p:spPr>
                <a:xfrm>
                  <a:off x="2923653" y="5169250"/>
                  <a:ext cx="143351" cy="88587"/>
                </a:xfrm>
                <a:custGeom>
                  <a:avLst/>
                  <a:gdLst>
                    <a:gd name="connsiteX0" fmla="*/ 139922 w 143351"/>
                    <a:gd name="connsiteY0" fmla="*/ 34886 h 88587"/>
                    <a:gd name="connsiteX1" fmla="*/ 133255 w 143351"/>
                    <a:gd name="connsiteY1" fmla="*/ 23265 h 88587"/>
                    <a:gd name="connsiteX2" fmla="*/ 89059 w 143351"/>
                    <a:gd name="connsiteY2" fmla="*/ 4025 h 88587"/>
                    <a:gd name="connsiteX3" fmla="*/ 54483 w 143351"/>
                    <a:gd name="connsiteY3" fmla="*/ 2501 h 88587"/>
                    <a:gd name="connsiteX4" fmla="*/ 10668 w 143351"/>
                    <a:gd name="connsiteY4" fmla="*/ 17074 h 88587"/>
                    <a:gd name="connsiteX5" fmla="*/ 4763 w 143351"/>
                    <a:gd name="connsiteY5" fmla="*/ 17264 h 88587"/>
                    <a:gd name="connsiteX6" fmla="*/ 0 w 143351"/>
                    <a:gd name="connsiteY6" fmla="*/ 58031 h 88587"/>
                    <a:gd name="connsiteX7" fmla="*/ 13906 w 143351"/>
                    <a:gd name="connsiteY7" fmla="*/ 52793 h 88587"/>
                    <a:gd name="connsiteX8" fmla="*/ 41624 w 143351"/>
                    <a:gd name="connsiteY8" fmla="*/ 42696 h 88587"/>
                    <a:gd name="connsiteX9" fmla="*/ 123730 w 143351"/>
                    <a:gd name="connsiteY9" fmla="*/ 47459 h 88587"/>
                    <a:gd name="connsiteX10" fmla="*/ 143351 w 143351"/>
                    <a:gd name="connsiteY10" fmla="*/ 88416 h 88587"/>
                    <a:gd name="connsiteX11" fmla="*/ 139922 w 143351"/>
                    <a:gd name="connsiteY11" fmla="*/ 34886 h 885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43351" h="88587">
                      <a:moveTo>
                        <a:pt x="139922" y="34886"/>
                      </a:moveTo>
                      <a:cubicBezTo>
                        <a:pt x="140494" y="29933"/>
                        <a:pt x="137731" y="25265"/>
                        <a:pt x="133255" y="23265"/>
                      </a:cubicBezTo>
                      <a:lnTo>
                        <a:pt x="89059" y="4025"/>
                      </a:lnTo>
                      <a:cubicBezTo>
                        <a:pt x="78105" y="-738"/>
                        <a:pt x="65818" y="-1309"/>
                        <a:pt x="54483" y="2501"/>
                      </a:cubicBezTo>
                      <a:lnTo>
                        <a:pt x="10668" y="17074"/>
                      </a:lnTo>
                      <a:lnTo>
                        <a:pt x="4763" y="17264"/>
                      </a:lnTo>
                      <a:lnTo>
                        <a:pt x="0" y="58031"/>
                      </a:lnTo>
                      <a:cubicBezTo>
                        <a:pt x="8763" y="54793"/>
                        <a:pt x="13906" y="52793"/>
                        <a:pt x="13906" y="52793"/>
                      </a:cubicBezTo>
                      <a:lnTo>
                        <a:pt x="41624" y="42696"/>
                      </a:lnTo>
                      <a:cubicBezTo>
                        <a:pt x="41624" y="42696"/>
                        <a:pt x="102108" y="93941"/>
                        <a:pt x="123730" y="47459"/>
                      </a:cubicBezTo>
                      <a:cubicBezTo>
                        <a:pt x="130207" y="93560"/>
                        <a:pt x="143351" y="88416"/>
                        <a:pt x="143351" y="88416"/>
                      </a:cubicBezTo>
                      <a:lnTo>
                        <a:pt x="139922" y="34886"/>
                      </a:lnTo>
                      <a:close/>
                    </a:path>
                  </a:pathLst>
                </a:custGeom>
                <a:solidFill>
                  <a:srgbClr val="825A4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2" name="Forma Livre: Forma 21">
                <a:extLst>
                  <a:ext uri="{FF2B5EF4-FFF2-40B4-BE49-F238E27FC236}">
                    <a16:creationId xmlns:a16="http://schemas.microsoft.com/office/drawing/2014/main" id="{6C4D0DB2-70DB-A552-6BE0-08BBC17E6BA8}"/>
                  </a:ext>
                </a:extLst>
              </p:cNvPr>
              <p:cNvSpPr/>
              <p:nvPr/>
            </p:nvSpPr>
            <p:spPr>
              <a:xfrm>
                <a:off x="2615263" y="4671694"/>
                <a:ext cx="170284" cy="125160"/>
              </a:xfrm>
              <a:custGeom>
                <a:avLst/>
                <a:gdLst>
                  <a:gd name="connsiteX0" fmla="*/ 1494 w 170284"/>
                  <a:gd name="connsiteY0" fmla="*/ 86767 h 125160"/>
                  <a:gd name="connsiteX1" fmla="*/ 101507 w 170284"/>
                  <a:gd name="connsiteY1" fmla="*/ 120580 h 125160"/>
                  <a:gd name="connsiteX2" fmla="*/ 169992 w 170284"/>
                  <a:gd name="connsiteY2" fmla="*/ 40285 h 125160"/>
                  <a:gd name="connsiteX3" fmla="*/ 69979 w 170284"/>
                  <a:gd name="connsiteY3" fmla="*/ 6471 h 125160"/>
                  <a:gd name="connsiteX4" fmla="*/ 1494 w 170284"/>
                  <a:gd name="connsiteY4" fmla="*/ 86767 h 125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0284" h="125160">
                    <a:moveTo>
                      <a:pt x="1494" y="86767"/>
                    </a:moveTo>
                    <a:cubicBezTo>
                      <a:pt x="10162" y="118294"/>
                      <a:pt x="55025" y="133439"/>
                      <a:pt x="101507" y="120580"/>
                    </a:cubicBezTo>
                    <a:cubicBezTo>
                      <a:pt x="148084" y="107722"/>
                      <a:pt x="173326" y="72765"/>
                      <a:pt x="169992" y="40285"/>
                    </a:cubicBezTo>
                    <a:cubicBezTo>
                      <a:pt x="165706" y="-2483"/>
                      <a:pt x="116461" y="-6388"/>
                      <a:pt x="69979" y="6471"/>
                    </a:cubicBezTo>
                    <a:cubicBezTo>
                      <a:pt x="23402" y="19330"/>
                      <a:pt x="-7268" y="55334"/>
                      <a:pt x="1494" y="86767"/>
                    </a:cubicBezTo>
                    <a:close/>
                  </a:path>
                </a:pathLst>
              </a:custGeom>
              <a:solidFill>
                <a:schemeClr val="tx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7" name="Gráfico 11">
              <a:extLst>
                <a:ext uri="{FF2B5EF4-FFF2-40B4-BE49-F238E27FC236}">
                  <a16:creationId xmlns:a16="http://schemas.microsoft.com/office/drawing/2014/main" id="{AF0C3A5C-C99C-DF95-DFE6-D441C886EFB6}"/>
                </a:ext>
              </a:extLst>
            </p:cNvPr>
            <p:cNvGrpSpPr/>
            <p:nvPr/>
          </p:nvGrpSpPr>
          <p:grpSpPr>
            <a:xfrm>
              <a:off x="3353421" y="4909812"/>
              <a:ext cx="258725" cy="250127"/>
              <a:chOff x="3353421" y="4909812"/>
              <a:chExt cx="258725" cy="250127"/>
            </a:xfrm>
            <a:solidFill>
              <a:srgbClr val="0070C0"/>
            </a:solidFill>
          </p:grpSpPr>
          <p:sp>
            <p:nvSpPr>
              <p:cNvPr id="18" name="Forma Livre: Forma 17">
                <a:extLst>
                  <a:ext uri="{FF2B5EF4-FFF2-40B4-BE49-F238E27FC236}">
                    <a16:creationId xmlns:a16="http://schemas.microsoft.com/office/drawing/2014/main" id="{E650BF27-B45A-CE9B-9165-7E324B61E614}"/>
                  </a:ext>
                </a:extLst>
              </p:cNvPr>
              <p:cNvSpPr/>
              <p:nvPr/>
            </p:nvSpPr>
            <p:spPr>
              <a:xfrm>
                <a:off x="3363136" y="4909812"/>
                <a:ext cx="249010" cy="250127"/>
              </a:xfrm>
              <a:custGeom>
                <a:avLst/>
                <a:gdLst>
                  <a:gd name="connsiteX0" fmla="*/ 180785 w 249010"/>
                  <a:gd name="connsiteY0" fmla="*/ 62866 h 250127"/>
                  <a:gd name="connsiteX1" fmla="*/ 26003 w 249010"/>
                  <a:gd name="connsiteY1" fmla="*/ 1 h 250127"/>
                  <a:gd name="connsiteX2" fmla="*/ 0 w 249010"/>
                  <a:gd name="connsiteY2" fmla="*/ 25718 h 250127"/>
                  <a:gd name="connsiteX3" fmla="*/ 0 w 249010"/>
                  <a:gd name="connsiteY3" fmla="*/ 25718 h 250127"/>
                  <a:gd name="connsiteX4" fmla="*/ 24003 w 249010"/>
                  <a:gd name="connsiteY4" fmla="*/ 51340 h 250127"/>
                  <a:gd name="connsiteX5" fmla="*/ 134588 w 249010"/>
                  <a:gd name="connsiteY5" fmla="*/ 89917 h 250127"/>
                  <a:gd name="connsiteX6" fmla="*/ 197358 w 249010"/>
                  <a:gd name="connsiteY6" fmla="*/ 228029 h 250127"/>
                  <a:gd name="connsiteX7" fmla="*/ 222790 w 249010"/>
                  <a:gd name="connsiteY7" fmla="*/ 250127 h 250127"/>
                  <a:gd name="connsiteX8" fmla="*/ 223266 w 249010"/>
                  <a:gd name="connsiteY8" fmla="*/ 250127 h 250127"/>
                  <a:gd name="connsiteX9" fmla="*/ 248984 w 249010"/>
                  <a:gd name="connsiteY9" fmla="*/ 223362 h 250127"/>
                  <a:gd name="connsiteX10" fmla="*/ 180785 w 249010"/>
                  <a:gd name="connsiteY10" fmla="*/ 62866 h 250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49010" h="250127">
                    <a:moveTo>
                      <a:pt x="180785" y="62866"/>
                    </a:moveTo>
                    <a:cubicBezTo>
                      <a:pt x="128016" y="10097"/>
                      <a:pt x="64675" y="286"/>
                      <a:pt x="26003" y="1"/>
                    </a:cubicBezTo>
                    <a:cubicBezTo>
                      <a:pt x="11716" y="-95"/>
                      <a:pt x="0" y="11335"/>
                      <a:pt x="0" y="25718"/>
                    </a:cubicBezTo>
                    <a:lnTo>
                      <a:pt x="0" y="25718"/>
                    </a:lnTo>
                    <a:cubicBezTo>
                      <a:pt x="0" y="39244"/>
                      <a:pt x="10477" y="50293"/>
                      <a:pt x="24003" y="51340"/>
                    </a:cubicBezTo>
                    <a:cubicBezTo>
                      <a:pt x="54388" y="53722"/>
                      <a:pt x="100679" y="63151"/>
                      <a:pt x="134588" y="89917"/>
                    </a:cubicBezTo>
                    <a:cubicBezTo>
                      <a:pt x="173546" y="120682"/>
                      <a:pt x="191834" y="189929"/>
                      <a:pt x="197358" y="228029"/>
                    </a:cubicBezTo>
                    <a:cubicBezTo>
                      <a:pt x="199168" y="240697"/>
                      <a:pt x="209931" y="250127"/>
                      <a:pt x="222790" y="250127"/>
                    </a:cubicBezTo>
                    <a:lnTo>
                      <a:pt x="223266" y="250127"/>
                    </a:lnTo>
                    <a:cubicBezTo>
                      <a:pt x="237839" y="250127"/>
                      <a:pt x="249650" y="238030"/>
                      <a:pt x="248984" y="223362"/>
                    </a:cubicBezTo>
                    <a:cubicBezTo>
                      <a:pt x="247174" y="184309"/>
                      <a:pt x="235363" y="117349"/>
                      <a:pt x="180785" y="62866"/>
                    </a:cubicBezTo>
                    <a:close/>
                  </a:path>
                </a:pathLst>
              </a:custGeom>
              <a:solidFill>
                <a:srgbClr val="EE730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" name="Forma Livre: Forma 18">
                <a:extLst>
                  <a:ext uri="{FF2B5EF4-FFF2-40B4-BE49-F238E27FC236}">
                    <a16:creationId xmlns:a16="http://schemas.microsoft.com/office/drawing/2014/main" id="{CA3E2622-C71D-51E9-6593-DD2ED7942F25}"/>
                  </a:ext>
                </a:extLst>
              </p:cNvPr>
              <p:cNvSpPr/>
              <p:nvPr/>
            </p:nvSpPr>
            <p:spPr>
              <a:xfrm>
                <a:off x="3363136" y="5002901"/>
                <a:ext cx="154859" cy="157038"/>
              </a:xfrm>
              <a:custGeom>
                <a:avLst/>
                <a:gdLst>
                  <a:gd name="connsiteX0" fmla="*/ 111157 w 154859"/>
                  <a:gd name="connsiteY0" fmla="*/ 34833 h 157038"/>
                  <a:gd name="connsiteX1" fmla="*/ 26765 w 154859"/>
                  <a:gd name="connsiteY1" fmla="*/ 67 h 157038"/>
                  <a:gd name="connsiteX2" fmla="*/ 0 w 154859"/>
                  <a:gd name="connsiteY2" fmla="*/ 24927 h 157038"/>
                  <a:gd name="connsiteX3" fmla="*/ 0 w 154859"/>
                  <a:gd name="connsiteY3" fmla="*/ 24927 h 157038"/>
                  <a:gd name="connsiteX4" fmla="*/ 23146 w 154859"/>
                  <a:gd name="connsiteY4" fmla="*/ 49692 h 157038"/>
                  <a:gd name="connsiteX5" fmla="*/ 75152 w 154859"/>
                  <a:gd name="connsiteY5" fmla="*/ 69123 h 157038"/>
                  <a:gd name="connsiteX6" fmla="*/ 104489 w 154859"/>
                  <a:gd name="connsiteY6" fmla="*/ 132559 h 157038"/>
                  <a:gd name="connsiteX7" fmla="*/ 129350 w 154859"/>
                  <a:gd name="connsiteY7" fmla="*/ 157039 h 157038"/>
                  <a:gd name="connsiteX8" fmla="*/ 129921 w 154859"/>
                  <a:gd name="connsiteY8" fmla="*/ 157039 h 157038"/>
                  <a:gd name="connsiteX9" fmla="*/ 154781 w 154859"/>
                  <a:gd name="connsiteY9" fmla="*/ 130369 h 157038"/>
                  <a:gd name="connsiteX10" fmla="*/ 111157 w 154859"/>
                  <a:gd name="connsiteY10" fmla="*/ 34833 h 1570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4859" h="157038">
                    <a:moveTo>
                      <a:pt x="111157" y="34833"/>
                    </a:moveTo>
                    <a:cubicBezTo>
                      <a:pt x="83725" y="9782"/>
                      <a:pt x="51435" y="1876"/>
                      <a:pt x="26765" y="67"/>
                    </a:cubicBezTo>
                    <a:cubicBezTo>
                      <a:pt x="12287" y="-981"/>
                      <a:pt x="0" y="10449"/>
                      <a:pt x="0" y="24927"/>
                    </a:cubicBezTo>
                    <a:lnTo>
                      <a:pt x="0" y="24927"/>
                    </a:lnTo>
                    <a:cubicBezTo>
                      <a:pt x="0" y="37976"/>
                      <a:pt x="10096" y="49025"/>
                      <a:pt x="23146" y="49692"/>
                    </a:cubicBezTo>
                    <a:cubicBezTo>
                      <a:pt x="38671" y="50454"/>
                      <a:pt x="57436" y="55121"/>
                      <a:pt x="75152" y="69123"/>
                    </a:cubicBezTo>
                    <a:cubicBezTo>
                      <a:pt x="99155" y="88078"/>
                      <a:pt x="104394" y="111985"/>
                      <a:pt x="104489" y="132559"/>
                    </a:cubicBezTo>
                    <a:cubicBezTo>
                      <a:pt x="104585" y="146180"/>
                      <a:pt x="115729" y="157039"/>
                      <a:pt x="129350" y="157039"/>
                    </a:cubicBezTo>
                    <a:lnTo>
                      <a:pt x="129921" y="157039"/>
                    </a:lnTo>
                    <a:cubicBezTo>
                      <a:pt x="144399" y="157039"/>
                      <a:pt x="155924" y="144751"/>
                      <a:pt x="154781" y="130369"/>
                    </a:cubicBezTo>
                    <a:cubicBezTo>
                      <a:pt x="152495" y="102746"/>
                      <a:pt x="143065" y="63884"/>
                      <a:pt x="111157" y="34833"/>
                    </a:cubicBezTo>
                    <a:close/>
                  </a:path>
                </a:pathLst>
              </a:custGeom>
              <a:solidFill>
                <a:srgbClr val="EE730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" name="Forma Livre: Forma 19">
                <a:extLst>
                  <a:ext uri="{FF2B5EF4-FFF2-40B4-BE49-F238E27FC236}">
                    <a16:creationId xmlns:a16="http://schemas.microsoft.com/office/drawing/2014/main" id="{B3BB18DD-586C-D488-877C-329C1A626C73}"/>
                  </a:ext>
                </a:extLst>
              </p:cNvPr>
              <p:cNvSpPr/>
              <p:nvPr/>
            </p:nvSpPr>
            <p:spPr>
              <a:xfrm>
                <a:off x="3353421" y="5082978"/>
                <a:ext cx="72961" cy="72961"/>
              </a:xfrm>
              <a:custGeom>
                <a:avLst/>
                <a:gdLst>
                  <a:gd name="connsiteX0" fmla="*/ 36481 w 72961"/>
                  <a:gd name="connsiteY0" fmla="*/ 0 h 72961"/>
                  <a:gd name="connsiteX1" fmla="*/ 0 w 72961"/>
                  <a:gd name="connsiteY1" fmla="*/ 36481 h 72961"/>
                  <a:gd name="connsiteX2" fmla="*/ 36481 w 72961"/>
                  <a:gd name="connsiteY2" fmla="*/ 72962 h 72961"/>
                  <a:gd name="connsiteX3" fmla="*/ 72961 w 72961"/>
                  <a:gd name="connsiteY3" fmla="*/ 36481 h 72961"/>
                  <a:gd name="connsiteX4" fmla="*/ 36481 w 72961"/>
                  <a:gd name="connsiteY4" fmla="*/ 0 h 729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961" h="72961">
                    <a:moveTo>
                      <a:pt x="36481" y="0"/>
                    </a:moveTo>
                    <a:cubicBezTo>
                      <a:pt x="16383" y="0"/>
                      <a:pt x="0" y="16288"/>
                      <a:pt x="0" y="36481"/>
                    </a:cubicBezTo>
                    <a:cubicBezTo>
                      <a:pt x="0" y="56578"/>
                      <a:pt x="16288" y="72962"/>
                      <a:pt x="36481" y="72962"/>
                    </a:cubicBezTo>
                    <a:cubicBezTo>
                      <a:pt x="56578" y="72962"/>
                      <a:pt x="72961" y="56674"/>
                      <a:pt x="72961" y="36481"/>
                    </a:cubicBezTo>
                    <a:cubicBezTo>
                      <a:pt x="72961" y="16383"/>
                      <a:pt x="56674" y="0"/>
                      <a:pt x="36481" y="0"/>
                    </a:cubicBezTo>
                    <a:close/>
                  </a:path>
                </a:pathLst>
              </a:custGeom>
              <a:solidFill>
                <a:srgbClr val="EE730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8" name="Gráfico 11">
              <a:extLst>
                <a:ext uri="{FF2B5EF4-FFF2-40B4-BE49-F238E27FC236}">
                  <a16:creationId xmlns:a16="http://schemas.microsoft.com/office/drawing/2014/main" id="{CFFFD011-91A6-9918-1F00-F8DC64010D2D}"/>
                </a:ext>
              </a:extLst>
            </p:cNvPr>
            <p:cNvGrpSpPr/>
            <p:nvPr/>
          </p:nvGrpSpPr>
          <p:grpSpPr>
            <a:xfrm>
              <a:off x="2919539" y="5463477"/>
              <a:ext cx="1003571" cy="1109020"/>
              <a:chOff x="2919539" y="5463477"/>
              <a:chExt cx="1003571" cy="1109020"/>
            </a:xfrm>
          </p:grpSpPr>
          <p:sp>
            <p:nvSpPr>
              <p:cNvPr id="10" name="Forma Livre: Forma 9">
                <a:extLst>
                  <a:ext uri="{FF2B5EF4-FFF2-40B4-BE49-F238E27FC236}">
                    <a16:creationId xmlns:a16="http://schemas.microsoft.com/office/drawing/2014/main" id="{0CB10880-E26E-4D3F-260C-3F435611B02B}"/>
                  </a:ext>
                </a:extLst>
              </p:cNvPr>
              <p:cNvSpPr/>
              <p:nvPr/>
            </p:nvSpPr>
            <p:spPr>
              <a:xfrm>
                <a:off x="3405237" y="5713315"/>
                <a:ext cx="517873" cy="484468"/>
              </a:xfrm>
              <a:custGeom>
                <a:avLst/>
                <a:gdLst>
                  <a:gd name="connsiteX0" fmla="*/ 33052 w 517873"/>
                  <a:gd name="connsiteY0" fmla="*/ 484468 h 484468"/>
                  <a:gd name="connsiteX1" fmla="*/ 503015 w 517873"/>
                  <a:gd name="connsiteY1" fmla="*/ 183383 h 484468"/>
                  <a:gd name="connsiteX2" fmla="*/ 387191 w 517873"/>
                  <a:gd name="connsiteY2" fmla="*/ 27 h 484468"/>
                  <a:gd name="connsiteX3" fmla="*/ 0 w 517873"/>
                  <a:gd name="connsiteY3" fmla="*/ 454941 h 484468"/>
                  <a:gd name="connsiteX4" fmla="*/ 33052 w 517873"/>
                  <a:gd name="connsiteY4" fmla="*/ 484468 h 484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7873" h="484468">
                    <a:moveTo>
                      <a:pt x="33052" y="484468"/>
                    </a:moveTo>
                    <a:cubicBezTo>
                      <a:pt x="33052" y="484468"/>
                      <a:pt x="408623" y="360739"/>
                      <a:pt x="503015" y="183383"/>
                    </a:cubicBezTo>
                    <a:cubicBezTo>
                      <a:pt x="548450" y="97944"/>
                      <a:pt x="483965" y="-1878"/>
                      <a:pt x="387191" y="27"/>
                    </a:cubicBezTo>
                    <a:cubicBezTo>
                      <a:pt x="104204" y="5551"/>
                      <a:pt x="0" y="454941"/>
                      <a:pt x="0" y="454941"/>
                    </a:cubicBezTo>
                    <a:lnTo>
                      <a:pt x="33052" y="484468"/>
                    </a:lnTo>
                    <a:close/>
                  </a:path>
                </a:pathLst>
              </a:custGeom>
              <a:solidFill>
                <a:srgbClr val="EE730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" name="Forma Livre: Forma 10">
                <a:extLst>
                  <a:ext uri="{FF2B5EF4-FFF2-40B4-BE49-F238E27FC236}">
                    <a16:creationId xmlns:a16="http://schemas.microsoft.com/office/drawing/2014/main" id="{AFFA1D33-7E29-960A-4B5B-166C470CB673}"/>
                  </a:ext>
                </a:extLst>
              </p:cNvPr>
              <p:cNvSpPr/>
              <p:nvPr/>
            </p:nvSpPr>
            <p:spPr>
              <a:xfrm>
                <a:off x="3400189" y="5754585"/>
                <a:ext cx="498157" cy="468058"/>
              </a:xfrm>
              <a:custGeom>
                <a:avLst/>
                <a:gdLst>
                  <a:gd name="connsiteX0" fmla="*/ 10001 w 498157"/>
                  <a:gd name="connsiteY0" fmla="*/ 468059 h 468058"/>
                  <a:gd name="connsiteX1" fmla="*/ 0 w 498157"/>
                  <a:gd name="connsiteY1" fmla="*/ 462153 h 468058"/>
                  <a:gd name="connsiteX2" fmla="*/ 489871 w 498157"/>
                  <a:gd name="connsiteY2" fmla="*/ 0 h 468058"/>
                  <a:gd name="connsiteX3" fmla="*/ 498157 w 498157"/>
                  <a:gd name="connsiteY3" fmla="*/ 10001 h 468058"/>
                  <a:gd name="connsiteX4" fmla="*/ 10001 w 498157"/>
                  <a:gd name="connsiteY4" fmla="*/ 468059 h 468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8157" h="468058">
                    <a:moveTo>
                      <a:pt x="10001" y="468059"/>
                    </a:moveTo>
                    <a:lnTo>
                      <a:pt x="0" y="462153"/>
                    </a:lnTo>
                    <a:cubicBezTo>
                      <a:pt x="10382" y="444627"/>
                      <a:pt x="252603" y="32195"/>
                      <a:pt x="489871" y="0"/>
                    </a:cubicBezTo>
                    <a:lnTo>
                      <a:pt x="498157" y="10001"/>
                    </a:lnTo>
                    <a:cubicBezTo>
                      <a:pt x="266510" y="41529"/>
                      <a:pt x="12478" y="463772"/>
                      <a:pt x="10001" y="468059"/>
                    </a:cubicBezTo>
                    <a:close/>
                  </a:path>
                </a:pathLst>
              </a:custGeom>
              <a:solidFill>
                <a:srgbClr val="E6E6E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" name="Forma Livre: Forma 11">
                <a:extLst>
                  <a:ext uri="{FF2B5EF4-FFF2-40B4-BE49-F238E27FC236}">
                    <a16:creationId xmlns:a16="http://schemas.microsoft.com/office/drawing/2014/main" id="{1678DB46-835D-8601-AD7A-125670DCBC95}"/>
                  </a:ext>
                </a:extLst>
              </p:cNvPr>
              <p:cNvSpPr/>
              <p:nvPr/>
            </p:nvSpPr>
            <p:spPr>
              <a:xfrm>
                <a:off x="3055628" y="5463477"/>
                <a:ext cx="500503" cy="790503"/>
              </a:xfrm>
              <a:custGeom>
                <a:avLst/>
                <a:gdLst>
                  <a:gd name="connsiteX0" fmla="*/ 94244 w 500503"/>
                  <a:gd name="connsiteY0" fmla="*/ 442937 h 790503"/>
                  <a:gd name="connsiteX1" fmla="*/ 9091 w 500503"/>
                  <a:gd name="connsiteY1" fmla="*/ 282917 h 790503"/>
                  <a:gd name="connsiteX2" fmla="*/ 185208 w 500503"/>
                  <a:gd name="connsiteY2" fmla="*/ 4120 h 790503"/>
                  <a:gd name="connsiteX3" fmla="*/ 432001 w 500503"/>
                  <a:gd name="connsiteY3" fmla="*/ 89273 h 790503"/>
                  <a:gd name="connsiteX4" fmla="*/ 367612 w 500503"/>
                  <a:gd name="connsiteY4" fmla="*/ 790504 h 790503"/>
                  <a:gd name="connsiteX5" fmla="*/ 277505 w 500503"/>
                  <a:gd name="connsiteY5" fmla="*/ 790504 h 790503"/>
                  <a:gd name="connsiteX6" fmla="*/ 94244 w 500503"/>
                  <a:gd name="connsiteY6" fmla="*/ 442937 h 7905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00503" h="790503">
                    <a:moveTo>
                      <a:pt x="94244" y="442937"/>
                    </a:moveTo>
                    <a:cubicBezTo>
                      <a:pt x="49191" y="382739"/>
                      <a:pt x="23092" y="329303"/>
                      <a:pt x="9091" y="282917"/>
                    </a:cubicBezTo>
                    <a:cubicBezTo>
                      <a:pt x="-28724" y="156996"/>
                      <a:pt x="55573" y="26123"/>
                      <a:pt x="185208" y="4120"/>
                    </a:cubicBezTo>
                    <a:cubicBezTo>
                      <a:pt x="257884" y="-8263"/>
                      <a:pt x="347609" y="3739"/>
                      <a:pt x="432001" y="89273"/>
                    </a:cubicBezTo>
                    <a:cubicBezTo>
                      <a:pt x="617452" y="277297"/>
                      <a:pt x="367612" y="790504"/>
                      <a:pt x="367612" y="790504"/>
                    </a:cubicBezTo>
                    <a:lnTo>
                      <a:pt x="277505" y="790504"/>
                    </a:lnTo>
                    <a:cubicBezTo>
                      <a:pt x="277505" y="790409"/>
                      <a:pt x="274076" y="683348"/>
                      <a:pt x="94244" y="442937"/>
                    </a:cubicBezTo>
                    <a:close/>
                  </a:path>
                </a:pathLst>
              </a:custGeom>
              <a:solidFill>
                <a:srgbClr val="FFC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Forma Livre: Forma 12">
                <a:extLst>
                  <a:ext uri="{FF2B5EF4-FFF2-40B4-BE49-F238E27FC236}">
                    <a16:creationId xmlns:a16="http://schemas.microsoft.com/office/drawing/2014/main" id="{8E168A0B-E882-B42C-E1DC-2AE4DBE317C8}"/>
                  </a:ext>
                </a:extLst>
              </p:cNvPr>
              <p:cNvSpPr/>
              <p:nvPr/>
            </p:nvSpPr>
            <p:spPr>
              <a:xfrm>
                <a:off x="2919539" y="5876664"/>
                <a:ext cx="413699" cy="377221"/>
              </a:xfrm>
              <a:custGeom>
                <a:avLst/>
                <a:gdLst>
                  <a:gd name="connsiteX0" fmla="*/ 313105 w 413699"/>
                  <a:gd name="connsiteY0" fmla="*/ 377222 h 377221"/>
                  <a:gd name="connsiteX1" fmla="*/ 2590 w 413699"/>
                  <a:gd name="connsiteY1" fmla="*/ 118808 h 377221"/>
                  <a:gd name="connsiteX2" fmla="*/ 103079 w 413699"/>
                  <a:gd name="connsiteY2" fmla="*/ 127 h 377221"/>
                  <a:gd name="connsiteX3" fmla="*/ 413594 w 413699"/>
                  <a:gd name="connsiteY3" fmla="*/ 377126 h 377221"/>
                  <a:gd name="connsiteX4" fmla="*/ 313105 w 413699"/>
                  <a:gd name="connsiteY4" fmla="*/ 377126 h 377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3699" h="377221">
                    <a:moveTo>
                      <a:pt x="313105" y="377222"/>
                    </a:moveTo>
                    <a:cubicBezTo>
                      <a:pt x="313105" y="377222"/>
                      <a:pt x="50215" y="319976"/>
                      <a:pt x="2590" y="118808"/>
                    </a:cubicBezTo>
                    <a:cubicBezTo>
                      <a:pt x="-12269" y="56229"/>
                      <a:pt x="38880" y="-3112"/>
                      <a:pt x="103079" y="127"/>
                    </a:cubicBezTo>
                    <a:cubicBezTo>
                      <a:pt x="428548" y="16700"/>
                      <a:pt x="413594" y="377126"/>
                      <a:pt x="413594" y="377126"/>
                    </a:cubicBezTo>
                    <a:lnTo>
                      <a:pt x="313105" y="377126"/>
                    </a:lnTo>
                    <a:close/>
                  </a:path>
                </a:pathLst>
              </a:custGeom>
              <a:solidFill>
                <a:srgbClr val="11458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" name="Forma Livre: Forma 13">
                <a:extLst>
                  <a:ext uri="{FF2B5EF4-FFF2-40B4-BE49-F238E27FC236}">
                    <a16:creationId xmlns:a16="http://schemas.microsoft.com/office/drawing/2014/main" id="{751D6F33-330F-6C61-6089-F2AA1A3E7610}"/>
                  </a:ext>
                </a:extLst>
              </p:cNvPr>
              <p:cNvSpPr/>
              <p:nvPr/>
            </p:nvSpPr>
            <p:spPr>
              <a:xfrm>
                <a:off x="3190067" y="5477598"/>
                <a:ext cx="209889" cy="777621"/>
              </a:xfrm>
              <a:custGeom>
                <a:avLst/>
                <a:gdLst>
                  <a:gd name="connsiteX0" fmla="*/ 184690 w 209889"/>
                  <a:gd name="connsiteY0" fmla="*/ 777621 h 777621"/>
                  <a:gd name="connsiteX1" fmla="*/ 173450 w 209889"/>
                  <a:gd name="connsiteY1" fmla="*/ 774954 h 777621"/>
                  <a:gd name="connsiteX2" fmla="*/ 0 w 209889"/>
                  <a:gd name="connsiteY2" fmla="*/ 4953 h 777621"/>
                  <a:gd name="connsiteX3" fmla="*/ 12478 w 209889"/>
                  <a:gd name="connsiteY3" fmla="*/ 0 h 777621"/>
                  <a:gd name="connsiteX4" fmla="*/ 184690 w 209889"/>
                  <a:gd name="connsiteY4" fmla="*/ 777621 h 777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9889" h="777621">
                    <a:moveTo>
                      <a:pt x="184690" y="777621"/>
                    </a:moveTo>
                    <a:lnTo>
                      <a:pt x="173450" y="774954"/>
                    </a:lnTo>
                    <a:cubicBezTo>
                      <a:pt x="174688" y="769811"/>
                      <a:pt x="287750" y="252603"/>
                      <a:pt x="0" y="4953"/>
                    </a:cubicBezTo>
                    <a:lnTo>
                      <a:pt x="12478" y="0"/>
                    </a:lnTo>
                    <a:cubicBezTo>
                      <a:pt x="305562" y="252413"/>
                      <a:pt x="185928" y="772382"/>
                      <a:pt x="184690" y="77762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" name="Forma Livre: Forma 14">
                <a:extLst>
                  <a:ext uri="{FF2B5EF4-FFF2-40B4-BE49-F238E27FC236}">
                    <a16:creationId xmlns:a16="http://schemas.microsoft.com/office/drawing/2014/main" id="{DA095EE7-7BE4-4A8F-7F52-EC6D5C84B828}"/>
                  </a:ext>
                </a:extLst>
              </p:cNvPr>
              <p:cNvSpPr/>
              <p:nvPr/>
            </p:nvSpPr>
            <p:spPr>
              <a:xfrm>
                <a:off x="2929749" y="5920130"/>
                <a:ext cx="370522" cy="336708"/>
              </a:xfrm>
              <a:custGeom>
                <a:avLst/>
                <a:gdLst>
                  <a:gd name="connsiteX0" fmla="*/ 360426 w 370522"/>
                  <a:gd name="connsiteY0" fmla="*/ 336709 h 336708"/>
                  <a:gd name="connsiteX1" fmla="*/ 0 w 370522"/>
                  <a:gd name="connsiteY1" fmla="*/ 11049 h 336708"/>
                  <a:gd name="connsiteX2" fmla="*/ 6572 w 370522"/>
                  <a:gd name="connsiteY2" fmla="*/ 0 h 336708"/>
                  <a:gd name="connsiteX3" fmla="*/ 370523 w 370522"/>
                  <a:gd name="connsiteY3" fmla="*/ 330899 h 336708"/>
                  <a:gd name="connsiteX4" fmla="*/ 360426 w 370522"/>
                  <a:gd name="connsiteY4" fmla="*/ 336709 h 3367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0522" h="336708">
                    <a:moveTo>
                      <a:pt x="360426" y="336709"/>
                    </a:moveTo>
                    <a:cubicBezTo>
                      <a:pt x="358616" y="333661"/>
                      <a:pt x="176117" y="29146"/>
                      <a:pt x="0" y="11049"/>
                    </a:cubicBezTo>
                    <a:lnTo>
                      <a:pt x="6572" y="0"/>
                    </a:lnTo>
                    <a:cubicBezTo>
                      <a:pt x="188500" y="18669"/>
                      <a:pt x="362998" y="318230"/>
                      <a:pt x="370523" y="330899"/>
                    </a:cubicBezTo>
                    <a:lnTo>
                      <a:pt x="360426" y="336709"/>
                    </a:lnTo>
                    <a:close/>
                  </a:path>
                </a:pathLst>
              </a:custGeom>
              <a:solidFill>
                <a:srgbClr val="E6E6E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" name="Forma Livre: Forma 15">
                <a:extLst>
                  <a:ext uri="{FF2B5EF4-FFF2-40B4-BE49-F238E27FC236}">
                    <a16:creationId xmlns:a16="http://schemas.microsoft.com/office/drawing/2014/main" id="{934E9C9D-4325-B2F6-DC80-C6A2FC95F0D6}"/>
                  </a:ext>
                </a:extLst>
              </p:cNvPr>
              <p:cNvSpPr/>
              <p:nvPr/>
            </p:nvSpPr>
            <p:spPr>
              <a:xfrm>
                <a:off x="3173399" y="6253886"/>
                <a:ext cx="335375" cy="318611"/>
              </a:xfrm>
              <a:custGeom>
                <a:avLst/>
                <a:gdLst>
                  <a:gd name="connsiteX0" fmla="*/ 0 w 335375"/>
                  <a:gd name="connsiteY0" fmla="*/ 0 h 318611"/>
                  <a:gd name="connsiteX1" fmla="*/ 335375 w 335375"/>
                  <a:gd name="connsiteY1" fmla="*/ 0 h 318611"/>
                  <a:gd name="connsiteX2" fmla="*/ 335375 w 335375"/>
                  <a:gd name="connsiteY2" fmla="*/ 318611 h 318611"/>
                  <a:gd name="connsiteX3" fmla="*/ 0 w 335375"/>
                  <a:gd name="connsiteY3" fmla="*/ 318611 h 318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75" h="318611">
                    <a:moveTo>
                      <a:pt x="0" y="0"/>
                    </a:moveTo>
                    <a:lnTo>
                      <a:pt x="335375" y="0"/>
                    </a:lnTo>
                    <a:lnTo>
                      <a:pt x="335375" y="318611"/>
                    </a:lnTo>
                    <a:lnTo>
                      <a:pt x="0" y="318611"/>
                    </a:lnTo>
                    <a:close/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" name="Forma Livre: Forma 16">
                <a:extLst>
                  <a:ext uri="{FF2B5EF4-FFF2-40B4-BE49-F238E27FC236}">
                    <a16:creationId xmlns:a16="http://schemas.microsoft.com/office/drawing/2014/main" id="{8C7EE9EE-09B0-09B4-2E49-BF5E30EED480}"/>
                  </a:ext>
                </a:extLst>
              </p:cNvPr>
              <p:cNvSpPr/>
              <p:nvPr/>
            </p:nvSpPr>
            <p:spPr>
              <a:xfrm>
                <a:off x="3126440" y="6248076"/>
                <a:ext cx="429672" cy="46291"/>
              </a:xfrm>
              <a:custGeom>
                <a:avLst/>
                <a:gdLst>
                  <a:gd name="connsiteX0" fmla="*/ 406527 w 429672"/>
                  <a:gd name="connsiteY0" fmla="*/ 46292 h 46291"/>
                  <a:gd name="connsiteX1" fmla="*/ 23146 w 429672"/>
                  <a:gd name="connsiteY1" fmla="*/ 46292 h 46291"/>
                  <a:gd name="connsiteX2" fmla="*/ 0 w 429672"/>
                  <a:gd name="connsiteY2" fmla="*/ 23146 h 46291"/>
                  <a:gd name="connsiteX3" fmla="*/ 0 w 429672"/>
                  <a:gd name="connsiteY3" fmla="*/ 23146 h 46291"/>
                  <a:gd name="connsiteX4" fmla="*/ 23146 w 429672"/>
                  <a:gd name="connsiteY4" fmla="*/ 0 h 46291"/>
                  <a:gd name="connsiteX5" fmla="*/ 406527 w 429672"/>
                  <a:gd name="connsiteY5" fmla="*/ 0 h 46291"/>
                  <a:gd name="connsiteX6" fmla="*/ 429673 w 429672"/>
                  <a:gd name="connsiteY6" fmla="*/ 23146 h 46291"/>
                  <a:gd name="connsiteX7" fmla="*/ 429673 w 429672"/>
                  <a:gd name="connsiteY7" fmla="*/ 23146 h 46291"/>
                  <a:gd name="connsiteX8" fmla="*/ 406527 w 429672"/>
                  <a:gd name="connsiteY8" fmla="*/ 46292 h 46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29672" h="46291">
                    <a:moveTo>
                      <a:pt x="406527" y="46292"/>
                    </a:moveTo>
                    <a:lnTo>
                      <a:pt x="23146" y="46292"/>
                    </a:lnTo>
                    <a:cubicBezTo>
                      <a:pt x="10382" y="46292"/>
                      <a:pt x="0" y="35814"/>
                      <a:pt x="0" y="23146"/>
                    </a:cubicBezTo>
                    <a:lnTo>
                      <a:pt x="0" y="23146"/>
                    </a:lnTo>
                    <a:cubicBezTo>
                      <a:pt x="0" y="10382"/>
                      <a:pt x="10477" y="0"/>
                      <a:pt x="23146" y="0"/>
                    </a:cubicBezTo>
                    <a:lnTo>
                      <a:pt x="406527" y="0"/>
                    </a:lnTo>
                    <a:cubicBezTo>
                      <a:pt x="419290" y="0"/>
                      <a:pt x="429673" y="10477"/>
                      <a:pt x="429673" y="23146"/>
                    </a:cubicBezTo>
                    <a:lnTo>
                      <a:pt x="429673" y="23146"/>
                    </a:lnTo>
                    <a:cubicBezTo>
                      <a:pt x="429673" y="35909"/>
                      <a:pt x="419290" y="46292"/>
                      <a:pt x="406527" y="46292"/>
                    </a:cubicBezTo>
                    <a:close/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9" name="Forma Livre: Forma 8">
              <a:extLst>
                <a:ext uri="{FF2B5EF4-FFF2-40B4-BE49-F238E27FC236}">
                  <a16:creationId xmlns:a16="http://schemas.microsoft.com/office/drawing/2014/main" id="{A5BAB41F-1F49-790C-DB61-B31166715E11}"/>
                </a:ext>
              </a:extLst>
            </p:cNvPr>
            <p:cNvSpPr/>
            <p:nvPr/>
          </p:nvSpPr>
          <p:spPr>
            <a:xfrm>
              <a:off x="1224918" y="4549761"/>
              <a:ext cx="988079" cy="243866"/>
            </a:xfrm>
            <a:custGeom>
              <a:avLst/>
              <a:gdLst>
                <a:gd name="connsiteX0" fmla="*/ 0 w 988079"/>
                <a:gd name="connsiteY0" fmla="*/ 210607 h 243866"/>
                <a:gd name="connsiteX1" fmla="*/ 930116 w 988079"/>
                <a:gd name="connsiteY1" fmla="*/ 218132 h 243866"/>
                <a:gd name="connsiteX2" fmla="*/ 982599 w 988079"/>
                <a:gd name="connsiteY2" fmla="*/ 116881 h 243866"/>
                <a:gd name="connsiteX3" fmla="*/ 906018 w 988079"/>
                <a:gd name="connsiteY3" fmla="*/ 62970 h 243866"/>
                <a:gd name="connsiteX4" fmla="*/ 775240 w 988079"/>
                <a:gd name="connsiteY4" fmla="*/ 100212 h 243866"/>
                <a:gd name="connsiteX5" fmla="*/ 738950 w 988079"/>
                <a:gd name="connsiteY5" fmla="*/ 88782 h 243866"/>
                <a:gd name="connsiteX6" fmla="*/ 682562 w 988079"/>
                <a:gd name="connsiteY6" fmla="*/ 34014 h 243866"/>
                <a:gd name="connsiteX7" fmla="*/ 515303 w 988079"/>
                <a:gd name="connsiteY7" fmla="*/ 89544 h 243866"/>
                <a:gd name="connsiteX8" fmla="*/ 489013 w 988079"/>
                <a:gd name="connsiteY8" fmla="*/ 74685 h 243866"/>
                <a:gd name="connsiteX9" fmla="*/ 378523 w 988079"/>
                <a:gd name="connsiteY9" fmla="*/ 3057 h 243866"/>
                <a:gd name="connsiteX10" fmla="*/ 226981 w 988079"/>
                <a:gd name="connsiteY10" fmla="*/ 114690 h 243866"/>
                <a:gd name="connsiteX11" fmla="*/ 186214 w 988079"/>
                <a:gd name="connsiteY11" fmla="*/ 126120 h 243866"/>
                <a:gd name="connsiteX12" fmla="*/ 80677 w 988079"/>
                <a:gd name="connsiteY12" fmla="*/ 119072 h 243866"/>
                <a:gd name="connsiteX13" fmla="*/ 0 w 988079"/>
                <a:gd name="connsiteY13" fmla="*/ 210607 h 243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88079" h="243866">
                  <a:moveTo>
                    <a:pt x="0" y="210607"/>
                  </a:moveTo>
                  <a:cubicBezTo>
                    <a:pt x="0" y="210607"/>
                    <a:pt x="701326" y="280140"/>
                    <a:pt x="930116" y="218132"/>
                  </a:cubicBezTo>
                  <a:cubicBezTo>
                    <a:pt x="973741" y="206321"/>
                    <a:pt x="1000125" y="158505"/>
                    <a:pt x="982599" y="116881"/>
                  </a:cubicBezTo>
                  <a:cubicBezTo>
                    <a:pt x="973360" y="94783"/>
                    <a:pt x="952405" y="76019"/>
                    <a:pt x="906018" y="62970"/>
                  </a:cubicBezTo>
                  <a:cubicBezTo>
                    <a:pt x="852106" y="47825"/>
                    <a:pt x="805148" y="74876"/>
                    <a:pt x="775240" y="100212"/>
                  </a:cubicBezTo>
                  <a:cubicBezTo>
                    <a:pt x="762667" y="110880"/>
                    <a:pt x="743902" y="104499"/>
                    <a:pt x="738950" y="88782"/>
                  </a:cubicBezTo>
                  <a:cubicBezTo>
                    <a:pt x="732568" y="68589"/>
                    <a:pt x="717233" y="46682"/>
                    <a:pt x="682562" y="34014"/>
                  </a:cubicBezTo>
                  <a:cubicBezTo>
                    <a:pt x="631126" y="15249"/>
                    <a:pt x="558165" y="58588"/>
                    <a:pt x="515303" y="89544"/>
                  </a:cubicBezTo>
                  <a:cubicBezTo>
                    <a:pt x="503777" y="97831"/>
                    <a:pt x="488156" y="88973"/>
                    <a:pt x="489013" y="74685"/>
                  </a:cubicBezTo>
                  <a:cubicBezTo>
                    <a:pt x="491395" y="36014"/>
                    <a:pt x="476345" y="-12754"/>
                    <a:pt x="378523" y="3057"/>
                  </a:cubicBezTo>
                  <a:cubicBezTo>
                    <a:pt x="281845" y="18583"/>
                    <a:pt x="242792" y="74400"/>
                    <a:pt x="226981" y="114690"/>
                  </a:cubicBezTo>
                  <a:cubicBezTo>
                    <a:pt x="220599" y="130978"/>
                    <a:pt x="200025" y="136884"/>
                    <a:pt x="186214" y="126120"/>
                  </a:cubicBezTo>
                  <a:cubicBezTo>
                    <a:pt x="162211" y="107451"/>
                    <a:pt x="125349" y="92307"/>
                    <a:pt x="80677" y="119072"/>
                  </a:cubicBezTo>
                  <a:cubicBezTo>
                    <a:pt x="0" y="167173"/>
                    <a:pt x="0" y="210607"/>
                    <a:pt x="0" y="210607"/>
                  </a:cubicBezTo>
                  <a:close/>
                </a:path>
              </a:pathLst>
            </a:custGeom>
            <a:solidFill>
              <a:srgbClr val="E6E6E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2064483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>
            <a:extLst>
              <a:ext uri="{FF2B5EF4-FFF2-40B4-BE49-F238E27FC236}">
                <a16:creationId xmlns:a16="http://schemas.microsoft.com/office/drawing/2014/main" id="{9B4C7F77-4288-7DB5-D3FF-68055FD5F0F9}"/>
              </a:ext>
            </a:extLst>
          </p:cNvPr>
          <p:cNvSpPr txBox="1"/>
          <p:nvPr/>
        </p:nvSpPr>
        <p:spPr>
          <a:xfrm>
            <a:off x="204874" y="388609"/>
            <a:ext cx="4651211" cy="4347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pt-BR"/>
            </a:defPPr>
            <a:lvl1pPr defTabSz="914411">
              <a:lnSpc>
                <a:spcPct val="75000"/>
              </a:lnSpc>
              <a:spcBef>
                <a:spcPts val="0"/>
              </a:spcBef>
              <a:buNone/>
              <a:defRPr kumimoji="0" sz="2800" b="0" i="0" u="none" strike="noStrike" cap="none" spc="0" normalizeH="0" baseline="0">
                <a:ln>
                  <a:noFill/>
                </a:ln>
                <a:solidFill>
                  <a:srgbClr val="FE9600"/>
                </a:solidFill>
                <a:effectLst/>
                <a:uLnTx/>
                <a:uFillTx/>
                <a:latin typeface="Itau Display Heavy" panose="020B0803020204020204" pitchFamily="34" charset="0"/>
                <a:cs typeface="Itau Display Heavy" panose="020B0803020204020204" pitchFamily="34" charset="0"/>
              </a:defRPr>
            </a:lvl1pPr>
            <a:lvl2pPr marL="539756" indent="-182566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>
                <a:solidFill>
                  <a:schemeClr val="accent6"/>
                </a:solidFill>
              </a:defRPr>
            </a:lvl2pPr>
            <a:lvl3pPr marL="898536" indent="-184152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accent6"/>
                </a:solidFill>
              </a:defRPr>
            </a:lvl3pPr>
            <a:lvl4pPr marL="1255729" indent="-184152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>
                <a:solidFill>
                  <a:schemeClr val="accent6"/>
                </a:solidFill>
              </a:defRPr>
            </a:lvl4pPr>
            <a:lvl5pPr marL="1612920" indent="-174628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>
                <a:solidFill>
                  <a:schemeClr val="accent6"/>
                </a:solidFill>
              </a:defRPr>
            </a:lvl5pPr>
            <a:lvl6pPr marL="2514632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6pPr>
            <a:lvl7pPr marL="2971838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7pPr>
            <a:lvl8pPr marL="3429044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8pPr>
            <a:lvl9pPr marL="3886249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9pPr>
          </a:lstStyle>
          <a:p>
            <a:pPr marL="0" marR="0" lvl="0" indent="0" algn="l" defTabSz="914411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0" i="0" u="none" strike="noStrike" kern="1200" cap="none" spc="0" normalizeH="0" baseline="0" noProof="0">
                <a:ln>
                  <a:noFill/>
                </a:ln>
                <a:solidFill>
                  <a:srgbClr val="FE9600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</a:rPr>
              <a:t>_nosso cliente: personas</a:t>
            </a:r>
          </a:p>
        </p:txBody>
      </p:sp>
      <p:grpSp>
        <p:nvGrpSpPr>
          <p:cNvPr id="49" name="Agrupar 48">
            <a:extLst>
              <a:ext uri="{FF2B5EF4-FFF2-40B4-BE49-F238E27FC236}">
                <a16:creationId xmlns:a16="http://schemas.microsoft.com/office/drawing/2014/main" id="{34541B76-F163-55C6-935B-6C6374088DC7}"/>
              </a:ext>
            </a:extLst>
          </p:cNvPr>
          <p:cNvGrpSpPr/>
          <p:nvPr/>
        </p:nvGrpSpPr>
        <p:grpSpPr>
          <a:xfrm>
            <a:off x="543477" y="1957406"/>
            <a:ext cx="106318" cy="78942"/>
            <a:chOff x="15248646" y="7780416"/>
            <a:chExt cx="114300" cy="84868"/>
          </a:xfrm>
        </p:grpSpPr>
        <p:sp>
          <p:nvSpPr>
            <p:cNvPr id="1027" name="Forma Livre: Forma 1026">
              <a:extLst>
                <a:ext uri="{FF2B5EF4-FFF2-40B4-BE49-F238E27FC236}">
                  <a16:creationId xmlns:a16="http://schemas.microsoft.com/office/drawing/2014/main" id="{4705FEFC-3E11-39E3-9553-14C21C75FC02}"/>
                </a:ext>
              </a:extLst>
            </p:cNvPr>
            <p:cNvSpPr/>
            <p:nvPr/>
          </p:nvSpPr>
          <p:spPr>
            <a:xfrm>
              <a:off x="15265791" y="7827184"/>
              <a:ext cx="19050" cy="38100"/>
            </a:xfrm>
            <a:custGeom>
              <a:avLst/>
              <a:gdLst>
                <a:gd name="connsiteX0" fmla="*/ 0 w 19050"/>
                <a:gd name="connsiteY0" fmla="*/ 45815 h 38100"/>
                <a:gd name="connsiteX1" fmla="*/ 25051 w 19050"/>
                <a:gd name="connsiteY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050" h="38100">
                  <a:moveTo>
                    <a:pt x="0" y="45815"/>
                  </a:moveTo>
                  <a:cubicBezTo>
                    <a:pt x="5429" y="23146"/>
                    <a:pt x="15716" y="3905"/>
                    <a:pt x="25051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8" name="Forma Livre: Forma 1027">
              <a:extLst>
                <a:ext uri="{FF2B5EF4-FFF2-40B4-BE49-F238E27FC236}">
                  <a16:creationId xmlns:a16="http://schemas.microsoft.com/office/drawing/2014/main" id="{6DEEB1FE-72D2-F621-0CED-7B22B5EF1B3B}"/>
                </a:ext>
              </a:extLst>
            </p:cNvPr>
            <p:cNvSpPr/>
            <p:nvPr/>
          </p:nvSpPr>
          <p:spPr>
            <a:xfrm>
              <a:off x="15248646" y="7780416"/>
              <a:ext cx="114300" cy="47625"/>
            </a:xfrm>
            <a:custGeom>
              <a:avLst/>
              <a:gdLst>
                <a:gd name="connsiteX0" fmla="*/ 0 w 114300"/>
                <a:gd name="connsiteY0" fmla="*/ 4382 h 47625"/>
                <a:gd name="connsiteX1" fmla="*/ 21812 w 114300"/>
                <a:gd name="connsiteY1" fmla="*/ 41053 h 47625"/>
                <a:gd name="connsiteX2" fmla="*/ 96107 w 114300"/>
                <a:gd name="connsiteY2" fmla="*/ 52959 h 47625"/>
                <a:gd name="connsiteX3" fmla="*/ 110204 w 114300"/>
                <a:gd name="connsiteY3" fmla="*/ 28670 h 47625"/>
                <a:gd name="connsiteX4" fmla="*/ 120967 w 114300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47625">
                  <a:moveTo>
                    <a:pt x="0" y="4382"/>
                  </a:moveTo>
                  <a:cubicBezTo>
                    <a:pt x="8096" y="27051"/>
                    <a:pt x="14097" y="38576"/>
                    <a:pt x="21812" y="41053"/>
                  </a:cubicBezTo>
                  <a:cubicBezTo>
                    <a:pt x="33338" y="44767"/>
                    <a:pt x="78867" y="59626"/>
                    <a:pt x="96107" y="52959"/>
                  </a:cubicBezTo>
                  <a:cubicBezTo>
                    <a:pt x="113347" y="46387"/>
                    <a:pt x="109918" y="33338"/>
                    <a:pt x="110204" y="28670"/>
                  </a:cubicBezTo>
                  <a:cubicBezTo>
                    <a:pt x="110871" y="17050"/>
                    <a:pt x="122682" y="15621"/>
                    <a:pt x="120967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4" name="Gráfico 33" descr="Lupa com preenchimento sólido">
            <a:hlinkClick r:id="rId4"/>
            <a:extLst>
              <a:ext uri="{FF2B5EF4-FFF2-40B4-BE49-F238E27FC236}">
                <a16:creationId xmlns:a16="http://schemas.microsoft.com/office/drawing/2014/main" id="{FE9CBB09-9286-4B6B-0930-091598CC4A6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355317" y="2220833"/>
            <a:ext cx="382330" cy="382330"/>
          </a:xfrm>
          <a:prstGeom prst="rect">
            <a:avLst/>
          </a:prstGeom>
        </p:spPr>
      </p:pic>
      <p:pic>
        <p:nvPicPr>
          <p:cNvPr id="1071" name="Imagem 1070">
            <a:extLst>
              <a:ext uri="{FF2B5EF4-FFF2-40B4-BE49-F238E27FC236}">
                <a16:creationId xmlns:a16="http://schemas.microsoft.com/office/drawing/2014/main" id="{5F3EA8CE-A1E2-CD43-A790-13BFE677190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816" t="2451" r="-816" b="11399"/>
          <a:stretch/>
        </p:blipFill>
        <p:spPr>
          <a:xfrm>
            <a:off x="10788661" y="1001727"/>
            <a:ext cx="1083125" cy="1080601"/>
          </a:xfrm>
          <a:prstGeom prst="flowChartProcess">
            <a:avLst/>
          </a:prstGeom>
          <a:ln w="38100">
            <a:solidFill>
              <a:srgbClr val="0970C0"/>
            </a:solidFill>
          </a:ln>
        </p:spPr>
      </p:pic>
      <p:pic>
        <p:nvPicPr>
          <p:cNvPr id="1101" name="Imagem 1100">
            <a:extLst>
              <a:ext uri="{FF2B5EF4-FFF2-40B4-BE49-F238E27FC236}">
                <a16:creationId xmlns:a16="http://schemas.microsoft.com/office/drawing/2014/main" id="{2C00993B-00D1-71E2-5BC4-E612B508A64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5622" t="-1037" r="3752" b="23209"/>
          <a:stretch/>
        </p:blipFill>
        <p:spPr>
          <a:xfrm>
            <a:off x="-1929949" y="5645552"/>
            <a:ext cx="1015508" cy="997657"/>
          </a:xfrm>
          <a:prstGeom prst="rect">
            <a:avLst/>
          </a:prstGeom>
          <a:ln w="38100">
            <a:solidFill>
              <a:srgbClr val="FCB03C"/>
            </a:solidFill>
          </a:ln>
        </p:spPr>
      </p:pic>
      <p:pic>
        <p:nvPicPr>
          <p:cNvPr id="1102" name="Imagem 1101" descr="Interface gráfica do usuário, Texto, Aplicativo&#10;&#10;Descrição gerada automaticamente">
            <a:extLst>
              <a:ext uri="{FF2B5EF4-FFF2-40B4-BE49-F238E27FC236}">
                <a16:creationId xmlns:a16="http://schemas.microsoft.com/office/drawing/2014/main" id="{E78D45B8-2DC8-3CCD-2629-9A720F78E4FC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50" r="66083" b="26750"/>
          <a:stretch/>
        </p:blipFill>
        <p:spPr>
          <a:xfrm>
            <a:off x="495108" y="1032411"/>
            <a:ext cx="1015508" cy="1019232"/>
          </a:xfrm>
          <a:prstGeom prst="rect">
            <a:avLst/>
          </a:prstGeom>
          <a:ln w="38100">
            <a:solidFill>
              <a:srgbClr val="FCB03C"/>
            </a:solidFill>
          </a:ln>
        </p:spPr>
      </p:pic>
      <p:pic>
        <p:nvPicPr>
          <p:cNvPr id="1104" name="Imagem 1103">
            <a:extLst>
              <a:ext uri="{FF2B5EF4-FFF2-40B4-BE49-F238E27FC236}">
                <a16:creationId xmlns:a16="http://schemas.microsoft.com/office/drawing/2014/main" id="{FC01A974-D8E5-6BBF-04F9-484C0CFA0ADD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5600" b="6869"/>
          <a:stretch/>
        </p:blipFill>
        <p:spPr>
          <a:xfrm>
            <a:off x="486932" y="3971135"/>
            <a:ext cx="1031860" cy="1044000"/>
          </a:xfrm>
          <a:prstGeom prst="rect">
            <a:avLst/>
          </a:prstGeom>
          <a:ln w="38100">
            <a:solidFill>
              <a:srgbClr val="FCB03C"/>
            </a:solidFill>
          </a:ln>
        </p:spPr>
      </p:pic>
      <p:pic>
        <p:nvPicPr>
          <p:cNvPr id="1106" name="Imagem 1105">
            <a:extLst>
              <a:ext uri="{FF2B5EF4-FFF2-40B4-BE49-F238E27FC236}">
                <a16:creationId xmlns:a16="http://schemas.microsoft.com/office/drawing/2014/main" id="{8D2E44EF-5279-2D44-D82B-C30A466A1831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2350" t="4438" r="6703" b="16627"/>
          <a:stretch/>
        </p:blipFill>
        <p:spPr>
          <a:xfrm>
            <a:off x="-1929949" y="4448856"/>
            <a:ext cx="1031860" cy="1044850"/>
          </a:xfrm>
          <a:prstGeom prst="rect">
            <a:avLst/>
          </a:prstGeom>
          <a:ln w="38100">
            <a:solidFill>
              <a:srgbClr val="FCB03C"/>
            </a:solidFill>
          </a:ln>
        </p:spPr>
      </p:pic>
      <p:pic>
        <p:nvPicPr>
          <p:cNvPr id="1108" name="Imagem 1107">
            <a:extLst>
              <a:ext uri="{FF2B5EF4-FFF2-40B4-BE49-F238E27FC236}">
                <a16:creationId xmlns:a16="http://schemas.microsoft.com/office/drawing/2014/main" id="{003F1170-D2EB-AA7B-807E-C9FFDDA3B7B7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2839" t="854" r="-62" b="15822"/>
          <a:stretch/>
        </p:blipFill>
        <p:spPr>
          <a:xfrm>
            <a:off x="469374" y="2482347"/>
            <a:ext cx="1066977" cy="1058084"/>
          </a:xfrm>
          <a:prstGeom prst="rect">
            <a:avLst/>
          </a:prstGeom>
          <a:ln w="38100">
            <a:solidFill>
              <a:srgbClr val="FCB03C"/>
            </a:solidFill>
          </a:ln>
        </p:spPr>
      </p:pic>
      <p:pic>
        <p:nvPicPr>
          <p:cNvPr id="1110" name="Imagem 1109">
            <a:extLst>
              <a:ext uri="{FF2B5EF4-FFF2-40B4-BE49-F238E27FC236}">
                <a16:creationId xmlns:a16="http://schemas.microsoft.com/office/drawing/2014/main" id="{16AAF943-CFB4-12D8-14DF-2D03E2D7D956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t="3614" b="8932"/>
          <a:stretch/>
        </p:blipFill>
        <p:spPr>
          <a:xfrm>
            <a:off x="485685" y="5445839"/>
            <a:ext cx="1034354" cy="1044000"/>
          </a:xfrm>
          <a:prstGeom prst="rect">
            <a:avLst/>
          </a:prstGeom>
          <a:ln w="38100">
            <a:solidFill>
              <a:srgbClr val="FCB03C"/>
            </a:solidFill>
          </a:ln>
        </p:spPr>
      </p:pic>
      <p:pic>
        <p:nvPicPr>
          <p:cNvPr id="1112" name="Imagem 1111">
            <a:extLst>
              <a:ext uri="{FF2B5EF4-FFF2-40B4-BE49-F238E27FC236}">
                <a16:creationId xmlns:a16="http://schemas.microsoft.com/office/drawing/2014/main" id="{A34C9D65-FE22-993C-52D7-67D908C12905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t="-1" b="10058"/>
          <a:stretch/>
        </p:blipFill>
        <p:spPr>
          <a:xfrm>
            <a:off x="10802387" y="5430632"/>
            <a:ext cx="1055672" cy="1074415"/>
          </a:xfrm>
          <a:prstGeom prst="rect">
            <a:avLst/>
          </a:prstGeom>
          <a:ln w="38100">
            <a:solidFill>
              <a:srgbClr val="FCB03C"/>
            </a:solidFill>
          </a:ln>
        </p:spPr>
      </p:pic>
      <p:pic>
        <p:nvPicPr>
          <p:cNvPr id="1114" name="Imagem 1113">
            <a:extLst>
              <a:ext uri="{FF2B5EF4-FFF2-40B4-BE49-F238E27FC236}">
                <a16:creationId xmlns:a16="http://schemas.microsoft.com/office/drawing/2014/main" id="{E8F04985-94F2-32A0-468C-B06978891A43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l="13900" t="27715" r="12098" b="3554"/>
          <a:stretch/>
        </p:blipFill>
        <p:spPr>
          <a:xfrm>
            <a:off x="10774461" y="2442142"/>
            <a:ext cx="1111525" cy="1171472"/>
          </a:xfrm>
          <a:prstGeom prst="rect">
            <a:avLst/>
          </a:prstGeom>
          <a:ln w="38100">
            <a:solidFill>
              <a:srgbClr val="0970C0"/>
            </a:solidFill>
          </a:ln>
        </p:spPr>
      </p:pic>
      <p:pic>
        <p:nvPicPr>
          <p:cNvPr id="1117" name="Imagem 1116">
            <a:extLst>
              <a:ext uri="{FF2B5EF4-FFF2-40B4-BE49-F238E27FC236}">
                <a16:creationId xmlns:a16="http://schemas.microsoft.com/office/drawing/2014/main" id="{266B984E-C7D7-2FEC-C1C5-6BEF4E1F814A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l="2251" t="2972" b="13344"/>
          <a:stretch/>
        </p:blipFill>
        <p:spPr>
          <a:xfrm>
            <a:off x="10776098" y="3973428"/>
            <a:ext cx="1108250" cy="1097389"/>
          </a:xfrm>
          <a:prstGeom prst="rect">
            <a:avLst/>
          </a:prstGeom>
          <a:ln w="38100">
            <a:solidFill>
              <a:srgbClr val="0970C0"/>
            </a:solidFill>
          </a:ln>
        </p:spPr>
      </p:pic>
      <p:grpSp>
        <p:nvGrpSpPr>
          <p:cNvPr id="1196" name="Agrupar 1195">
            <a:extLst>
              <a:ext uri="{FF2B5EF4-FFF2-40B4-BE49-F238E27FC236}">
                <a16:creationId xmlns:a16="http://schemas.microsoft.com/office/drawing/2014/main" id="{C921FD63-A1CB-DAB0-82F0-FA0BCD03F6E2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3449639" y="1157091"/>
            <a:ext cx="5400000" cy="5220000"/>
            <a:chOff x="3215553" y="1040256"/>
            <a:chExt cx="5580000" cy="5410109"/>
          </a:xfrm>
        </p:grpSpPr>
        <p:grpSp>
          <p:nvGrpSpPr>
            <p:cNvPr id="1182" name="Agrupar 1181">
              <a:extLst>
                <a:ext uri="{FF2B5EF4-FFF2-40B4-BE49-F238E27FC236}">
                  <a16:creationId xmlns:a16="http://schemas.microsoft.com/office/drawing/2014/main" id="{687D0225-8216-93FB-7D2A-A1FE449DC810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3215553" y="1040256"/>
              <a:ext cx="5580000" cy="5410109"/>
              <a:chOff x="3215553" y="1040256"/>
              <a:chExt cx="5580000" cy="5410109"/>
            </a:xfrm>
          </p:grpSpPr>
          <p:grpSp>
            <p:nvGrpSpPr>
              <p:cNvPr id="1176" name="Agrupar 1175">
                <a:extLst>
                  <a:ext uri="{FF2B5EF4-FFF2-40B4-BE49-F238E27FC236}">
                    <a16:creationId xmlns:a16="http://schemas.microsoft.com/office/drawing/2014/main" id="{31E7A46F-A485-F5AE-8853-90326E63AA74}"/>
                  </a:ext>
                </a:extLst>
              </p:cNvPr>
              <p:cNvGrpSpPr>
                <a:grpSpLocks noGrp="1" noUngrp="1" noRot="1" noMove="1" noResize="1"/>
              </p:cNvGrpSpPr>
              <p:nvPr/>
            </p:nvGrpSpPr>
            <p:grpSpPr>
              <a:xfrm>
                <a:off x="3215553" y="1040256"/>
                <a:ext cx="5580000" cy="5410109"/>
                <a:chOff x="3215553" y="1040256"/>
                <a:chExt cx="5580000" cy="5410109"/>
              </a:xfrm>
            </p:grpSpPr>
            <p:grpSp>
              <p:nvGrpSpPr>
                <p:cNvPr id="1172" name="Agrupar 1171">
                  <a:extLst>
                    <a:ext uri="{FF2B5EF4-FFF2-40B4-BE49-F238E27FC236}">
                      <a16:creationId xmlns:a16="http://schemas.microsoft.com/office/drawing/2014/main" id="{A53DDF96-4776-B3E9-5B71-E71FAEFF748F}"/>
                    </a:ext>
                  </a:extLst>
                </p:cNvPr>
                <p:cNvGrpSpPr>
                  <a:grpSpLocks noGrp="1" noUngrp="1" noRot="1" noMove="1" noResize="1"/>
                </p:cNvGrpSpPr>
                <p:nvPr/>
              </p:nvGrpSpPr>
              <p:grpSpPr>
                <a:xfrm>
                  <a:off x="3215553" y="1040256"/>
                  <a:ext cx="5580000" cy="5410109"/>
                  <a:chOff x="3215553" y="1040256"/>
                  <a:chExt cx="5580000" cy="5410109"/>
                </a:xfrm>
              </p:grpSpPr>
              <p:sp>
                <p:nvSpPr>
                  <p:cNvPr id="62" name="Fluxograma: Conector 61">
                    <a:extLst>
                      <a:ext uri="{FF2B5EF4-FFF2-40B4-BE49-F238E27FC236}">
                        <a16:creationId xmlns:a16="http://schemas.microsoft.com/office/drawing/2014/main" id="{A0F642F6-8490-C39F-6E4A-8366E5A35A40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>
                  <a:xfrm>
                    <a:off x="3215553" y="1040257"/>
                    <a:ext cx="5580000" cy="5399999"/>
                  </a:xfrm>
                  <a:prstGeom prst="flowChartConnector">
                    <a:avLst/>
                  </a:prstGeom>
                  <a:solidFill>
                    <a:srgbClr val="FCB03C"/>
                  </a:solidFill>
                  <a:ln w="19050">
                    <a:solidFill>
                      <a:srgbClr val="FCB03C"/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171" name="Agrupar 1170">
                    <a:extLst>
                      <a:ext uri="{FF2B5EF4-FFF2-40B4-BE49-F238E27FC236}">
                        <a16:creationId xmlns:a16="http://schemas.microsoft.com/office/drawing/2014/main" id="{F3645B39-F950-1DD7-9FC3-293284E48EDE}"/>
                      </a:ext>
                    </a:extLst>
                  </p:cNvPr>
                  <p:cNvGrpSpPr>
                    <a:grpSpLocks noGrp="1" noUngrp="1" noRot="1" noMove="1" noResize="1"/>
                  </p:cNvGrpSpPr>
                  <p:nvPr/>
                </p:nvGrpSpPr>
                <p:grpSpPr>
                  <a:xfrm>
                    <a:off x="3215553" y="1040256"/>
                    <a:ext cx="5580000" cy="5410109"/>
                    <a:chOff x="3215553" y="1040256"/>
                    <a:chExt cx="5580000" cy="5410109"/>
                  </a:xfrm>
                </p:grpSpPr>
                <p:sp>
                  <p:nvSpPr>
                    <p:cNvPr id="63" name="Corda 62">
                      <a:extLst>
                        <a:ext uri="{FF2B5EF4-FFF2-40B4-BE49-F238E27FC236}">
                          <a16:creationId xmlns:a16="http://schemas.microsoft.com/office/drawing/2014/main" id="{4E8E556A-F554-E087-F9FD-8D0516FA3394}"/>
                        </a:ext>
                      </a:extLst>
                    </p:cNvPr>
                    <p:cNvSpPr>
                      <a:spLocks noGrp="1" noRot="1" noMove="1" noResize="1" noEditPoints="1" noAdjustHandles="1" noChangeArrowheads="1" noChangeShapeType="1"/>
                    </p:cNvSpPr>
                    <p:nvPr/>
                  </p:nvSpPr>
                  <p:spPr>
                    <a:xfrm rot="10800000">
                      <a:off x="3215553" y="1040256"/>
                      <a:ext cx="5580000" cy="5399999"/>
                    </a:xfrm>
                    <a:prstGeom prst="chord">
                      <a:avLst>
                        <a:gd name="adj1" fmla="val 5377788"/>
                        <a:gd name="adj2" fmla="val 16200728"/>
                      </a:avLst>
                    </a:prstGeom>
                    <a:solidFill>
                      <a:srgbClr val="0970C0"/>
                    </a:solidFill>
                    <a:ln>
                      <a:solidFill>
                        <a:srgbClr val="0970C0"/>
                      </a:solidFill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pt-BR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pic>
                  <p:nvPicPr>
                    <p:cNvPr id="1170" name="Imagem 1169">
                      <a:extLst>
                        <a:ext uri="{FF2B5EF4-FFF2-40B4-BE49-F238E27FC236}">
                          <a16:creationId xmlns:a16="http://schemas.microsoft.com/office/drawing/2014/main" id="{F0C3F1F1-F703-D5C7-4492-EAC890CBC546}"/>
                        </a:ext>
                      </a:extLst>
                    </p:cNvPr>
                    <p:cNvPicPr>
                      <a:picLocks noGrp="1" noRot="1" noChangeAspect="1" noMove="1" noResize="1" noEditPoints="1" noAdjustHandles="1" noChangeArrowheads="1" noChangeShapeType="1" noCrop="1"/>
                    </p:cNvPicPr>
                    <p:nvPr/>
                  </p:nvPicPr>
                  <p:blipFill rotWithShape="1">
                    <a:blip r:embed="rId17"/>
                    <a:srcRect l="-1" t="70580" r="33413" b="1"/>
                    <a:stretch/>
                  </p:blipFill>
                  <p:spPr>
                    <a:xfrm>
                      <a:off x="5974407" y="4859502"/>
                      <a:ext cx="1879551" cy="1590863"/>
                    </a:xfrm>
                    <a:prstGeom prst="rect">
                      <a:avLst/>
                    </a:prstGeom>
                  </p:spPr>
                </p:pic>
              </p:grpSp>
            </p:grpSp>
            <p:grpSp>
              <p:nvGrpSpPr>
                <p:cNvPr id="1175" name="Agrupar 1174">
                  <a:extLst>
                    <a:ext uri="{FF2B5EF4-FFF2-40B4-BE49-F238E27FC236}">
                      <a16:creationId xmlns:a16="http://schemas.microsoft.com/office/drawing/2014/main" id="{E5CA5D51-C8C1-1B5C-F7C4-0F4B642FE929}"/>
                    </a:ext>
                  </a:extLst>
                </p:cNvPr>
                <p:cNvGrpSpPr>
                  <a:grpSpLocks noGrp="1" noUngrp="1" noRot="1" noMove="1" noResize="1"/>
                </p:cNvGrpSpPr>
                <p:nvPr/>
              </p:nvGrpSpPr>
              <p:grpSpPr>
                <a:xfrm>
                  <a:off x="7800658" y="5611464"/>
                  <a:ext cx="148280" cy="160511"/>
                  <a:chOff x="7807232" y="5602453"/>
                  <a:chExt cx="155746" cy="155746"/>
                </a:xfrm>
              </p:grpSpPr>
              <p:sp>
                <p:nvSpPr>
                  <p:cNvPr id="1173" name="Triângulo isósceles 1172">
                    <a:extLst>
                      <a:ext uri="{FF2B5EF4-FFF2-40B4-BE49-F238E27FC236}">
                        <a16:creationId xmlns:a16="http://schemas.microsoft.com/office/drawing/2014/main" id="{CDC627E4-0666-C1D3-0689-06DDAB9B53E3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>
                  <a:xfrm rot="11934842">
                    <a:off x="7819982" y="5602453"/>
                    <a:ext cx="122072" cy="155746"/>
                  </a:xfrm>
                  <a:prstGeom prst="triangle">
                    <a:avLst>
                      <a:gd name="adj" fmla="val 48866"/>
                    </a:avLst>
                  </a:prstGeom>
                  <a:solidFill>
                    <a:srgbClr val="FCB03C"/>
                  </a:solidFill>
                  <a:ln>
                    <a:solidFill>
                      <a:srgbClr val="FCB03C"/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74" name="Triângulo isósceles 1173">
                    <a:extLst>
                      <a:ext uri="{FF2B5EF4-FFF2-40B4-BE49-F238E27FC236}">
                        <a16:creationId xmlns:a16="http://schemas.microsoft.com/office/drawing/2014/main" id="{8D141A0F-50A5-CFE5-1B99-C8225E826070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>
                  <a:xfrm rot="3395208">
                    <a:off x="7824069" y="5587219"/>
                    <a:ext cx="122072" cy="155746"/>
                  </a:xfrm>
                  <a:prstGeom prst="triangle">
                    <a:avLst>
                      <a:gd name="adj" fmla="val 86873"/>
                    </a:avLst>
                  </a:prstGeom>
                  <a:solidFill>
                    <a:srgbClr val="FCB03C"/>
                  </a:solidFill>
                  <a:ln>
                    <a:solidFill>
                      <a:srgbClr val="FCB03C"/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cxnSp>
            <p:nvCxnSpPr>
              <p:cNvPr id="1179" name="Conector reto 1178">
                <a:extLst>
                  <a:ext uri="{FF2B5EF4-FFF2-40B4-BE49-F238E27FC236}">
                    <a16:creationId xmlns:a16="http://schemas.microsoft.com/office/drawing/2014/main" id="{ECDB86CF-FC50-C698-8F90-D86DCDBA9015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/>
            </p:nvCxnSpPr>
            <p:spPr>
              <a:xfrm>
                <a:off x="7887290" y="5572096"/>
                <a:ext cx="78627" cy="70093"/>
              </a:xfrm>
              <a:prstGeom prst="line">
                <a:avLst/>
              </a:prstGeom>
              <a:ln w="76200">
                <a:solidFill>
                  <a:srgbClr val="097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24" name="Fluxograma: Conector 1023">
              <a:extLst>
                <a:ext uri="{FF2B5EF4-FFF2-40B4-BE49-F238E27FC236}">
                  <a16:creationId xmlns:a16="http://schemas.microsoft.com/office/drawing/2014/main" id="{0B9A3723-7F50-AE1E-D18E-4F692D08E738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3372808" y="1192732"/>
              <a:ext cx="5265491" cy="5095047"/>
            </a:xfrm>
            <a:prstGeom prst="flowChartConnector">
              <a:avLst/>
            </a:prstGeom>
            <a:solidFill>
              <a:srgbClr val="66656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53" name="Fluxograma: Conector 1052">
              <a:extLst>
                <a:ext uri="{FF2B5EF4-FFF2-40B4-BE49-F238E27FC236}">
                  <a16:creationId xmlns:a16="http://schemas.microsoft.com/office/drawing/2014/main" id="{91F6F859-82F0-A644-531E-68E4FED5F74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4652826" y="2431165"/>
              <a:ext cx="2705455" cy="2618181"/>
            </a:xfrm>
            <a:prstGeom prst="flowChartConnector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066" name="Agrupar 1065">
              <a:extLst>
                <a:ext uri="{FF2B5EF4-FFF2-40B4-BE49-F238E27FC236}">
                  <a16:creationId xmlns:a16="http://schemas.microsoft.com/office/drawing/2014/main" id="{A74B5A27-6A03-5986-C720-D9727C5FCA18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3372808" y="1192732"/>
              <a:ext cx="5265491" cy="5095047"/>
              <a:chOff x="3080195" y="991073"/>
              <a:chExt cx="5605200" cy="5604553"/>
            </a:xfrm>
          </p:grpSpPr>
          <p:cxnSp>
            <p:nvCxnSpPr>
              <p:cNvPr id="1059" name="Conector reto 1058">
                <a:extLst>
                  <a:ext uri="{FF2B5EF4-FFF2-40B4-BE49-F238E27FC236}">
                    <a16:creationId xmlns:a16="http://schemas.microsoft.com/office/drawing/2014/main" id="{E99C7231-59D5-39E7-AD4A-40CE42783645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  <a:stCxn id="1024" idx="1"/>
                <a:endCxn id="1024" idx="5"/>
              </p:cNvCxnSpPr>
              <p:nvPr/>
            </p:nvCxnSpPr>
            <p:spPr>
              <a:xfrm>
                <a:off x="3901058" y="1811841"/>
                <a:ext cx="3963474" cy="3963017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1" name="Conector reto 1060">
                <a:extLst>
                  <a:ext uri="{FF2B5EF4-FFF2-40B4-BE49-F238E27FC236}">
                    <a16:creationId xmlns:a16="http://schemas.microsoft.com/office/drawing/2014/main" id="{EBE02C16-3073-5D21-AFFA-FC22632F9336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  <a:stCxn id="1024" idx="0"/>
                <a:endCxn id="1024" idx="4"/>
              </p:cNvCxnSpPr>
              <p:nvPr/>
            </p:nvCxnSpPr>
            <p:spPr>
              <a:xfrm>
                <a:off x="5882795" y="991073"/>
                <a:ext cx="0" cy="5604553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3" name="Conector reto 1062">
                <a:extLst>
                  <a:ext uri="{FF2B5EF4-FFF2-40B4-BE49-F238E27FC236}">
                    <a16:creationId xmlns:a16="http://schemas.microsoft.com/office/drawing/2014/main" id="{0FF6EE67-FDAC-3722-F912-FE1020348E92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  <a:stCxn id="1024" idx="7"/>
                <a:endCxn id="1024" idx="3"/>
              </p:cNvCxnSpPr>
              <p:nvPr/>
            </p:nvCxnSpPr>
            <p:spPr>
              <a:xfrm flipH="1">
                <a:off x="3901058" y="1811841"/>
                <a:ext cx="3963474" cy="3963017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5" name="Conector reto 1064">
                <a:extLst>
                  <a:ext uri="{FF2B5EF4-FFF2-40B4-BE49-F238E27FC236}">
                    <a16:creationId xmlns:a16="http://schemas.microsoft.com/office/drawing/2014/main" id="{B4D50638-2818-26F7-9423-52545B692BDF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  <a:stCxn id="1024" idx="6"/>
                <a:endCxn id="1024" idx="2"/>
              </p:cNvCxnSpPr>
              <p:nvPr/>
            </p:nvCxnSpPr>
            <p:spPr>
              <a:xfrm flipH="1">
                <a:off x="3080195" y="3793350"/>
                <a:ext cx="5605200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087" name="CaixaDeTexto 1086">
            <a:extLst>
              <a:ext uri="{FF2B5EF4-FFF2-40B4-BE49-F238E27FC236}">
                <a16:creationId xmlns:a16="http://schemas.microsoft.com/office/drawing/2014/main" id="{313C1329-F873-1FAA-110D-8053E62C5801}"/>
              </a:ext>
            </a:extLst>
          </p:cNvPr>
          <p:cNvSpPr txBox="1"/>
          <p:nvPr/>
        </p:nvSpPr>
        <p:spPr>
          <a:xfrm>
            <a:off x="6600148" y="1901592"/>
            <a:ext cx="9361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J</a:t>
            </a:r>
          </a:p>
        </p:txBody>
      </p:sp>
      <p:sp>
        <p:nvSpPr>
          <p:cNvPr id="1088" name="CaixaDeTexto 1087">
            <a:extLst>
              <a:ext uri="{FF2B5EF4-FFF2-40B4-BE49-F238E27FC236}">
                <a16:creationId xmlns:a16="http://schemas.microsoft.com/office/drawing/2014/main" id="{A8211A65-5731-2AF6-DAA9-C54D06DBF48C}"/>
              </a:ext>
            </a:extLst>
          </p:cNvPr>
          <p:cNvSpPr txBox="1"/>
          <p:nvPr/>
        </p:nvSpPr>
        <p:spPr>
          <a:xfrm>
            <a:off x="7718743" y="2896296"/>
            <a:ext cx="9361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J</a:t>
            </a:r>
          </a:p>
        </p:txBody>
      </p:sp>
      <p:sp>
        <p:nvSpPr>
          <p:cNvPr id="1089" name="CaixaDeTexto 1088">
            <a:extLst>
              <a:ext uri="{FF2B5EF4-FFF2-40B4-BE49-F238E27FC236}">
                <a16:creationId xmlns:a16="http://schemas.microsoft.com/office/drawing/2014/main" id="{FBA2911B-0441-57A9-3549-F5E39905A19F}"/>
              </a:ext>
            </a:extLst>
          </p:cNvPr>
          <p:cNvSpPr txBox="1"/>
          <p:nvPr/>
        </p:nvSpPr>
        <p:spPr>
          <a:xfrm>
            <a:off x="4903894" y="1732086"/>
            <a:ext cx="10203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F PRIVATE</a:t>
            </a:r>
          </a:p>
        </p:txBody>
      </p:sp>
      <p:sp>
        <p:nvSpPr>
          <p:cNvPr id="1090" name="CaixaDeTexto 1089">
            <a:extLst>
              <a:ext uri="{FF2B5EF4-FFF2-40B4-BE49-F238E27FC236}">
                <a16:creationId xmlns:a16="http://schemas.microsoft.com/office/drawing/2014/main" id="{629F1D0C-68F7-BD9A-54F5-F41DD2545608}"/>
              </a:ext>
            </a:extLst>
          </p:cNvPr>
          <p:cNvSpPr txBox="1"/>
          <p:nvPr/>
        </p:nvSpPr>
        <p:spPr>
          <a:xfrm>
            <a:off x="4112013" y="2848250"/>
            <a:ext cx="10203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F </a:t>
            </a:r>
          </a:p>
        </p:txBody>
      </p:sp>
      <p:sp>
        <p:nvSpPr>
          <p:cNvPr id="1093" name="CaixaDeTexto 1092">
            <a:extLst>
              <a:ext uri="{FF2B5EF4-FFF2-40B4-BE49-F238E27FC236}">
                <a16:creationId xmlns:a16="http://schemas.microsoft.com/office/drawing/2014/main" id="{B9B14B75-3805-8125-BB78-9A133779E079}"/>
              </a:ext>
            </a:extLst>
          </p:cNvPr>
          <p:cNvSpPr txBox="1"/>
          <p:nvPr/>
        </p:nvSpPr>
        <p:spPr>
          <a:xfrm>
            <a:off x="5124743" y="5404117"/>
            <a:ext cx="10203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F</a:t>
            </a:r>
          </a:p>
        </p:txBody>
      </p:sp>
      <p:sp>
        <p:nvSpPr>
          <p:cNvPr id="1096" name="CaixaDeTexto 1095">
            <a:extLst>
              <a:ext uri="{FF2B5EF4-FFF2-40B4-BE49-F238E27FC236}">
                <a16:creationId xmlns:a16="http://schemas.microsoft.com/office/drawing/2014/main" id="{47215F93-18CC-1E95-F4B8-65A5462AF05A}"/>
              </a:ext>
            </a:extLst>
          </p:cNvPr>
          <p:cNvSpPr txBox="1"/>
          <p:nvPr/>
        </p:nvSpPr>
        <p:spPr>
          <a:xfrm>
            <a:off x="4178047" y="4289946"/>
            <a:ext cx="10203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F</a:t>
            </a:r>
          </a:p>
        </p:txBody>
      </p:sp>
      <p:sp>
        <p:nvSpPr>
          <p:cNvPr id="1097" name="CaixaDeTexto 1096">
            <a:extLst>
              <a:ext uri="{FF2B5EF4-FFF2-40B4-BE49-F238E27FC236}">
                <a16:creationId xmlns:a16="http://schemas.microsoft.com/office/drawing/2014/main" id="{F4CCA62D-D16D-BE5D-6FBB-0665DA53796A}"/>
              </a:ext>
            </a:extLst>
          </p:cNvPr>
          <p:cNvSpPr txBox="1"/>
          <p:nvPr/>
        </p:nvSpPr>
        <p:spPr>
          <a:xfrm>
            <a:off x="6729396" y="5574444"/>
            <a:ext cx="10203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F</a:t>
            </a:r>
          </a:p>
        </p:txBody>
      </p:sp>
      <p:sp>
        <p:nvSpPr>
          <p:cNvPr id="1098" name="CaixaDeTexto 1097">
            <a:extLst>
              <a:ext uri="{FF2B5EF4-FFF2-40B4-BE49-F238E27FC236}">
                <a16:creationId xmlns:a16="http://schemas.microsoft.com/office/drawing/2014/main" id="{C1458B8C-0C58-25C4-70A1-D6CD73960E8C}"/>
              </a:ext>
            </a:extLst>
          </p:cNvPr>
          <p:cNvSpPr txBox="1"/>
          <p:nvPr/>
        </p:nvSpPr>
        <p:spPr>
          <a:xfrm>
            <a:off x="7727415" y="4338803"/>
            <a:ext cx="10203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J</a:t>
            </a:r>
          </a:p>
        </p:txBody>
      </p:sp>
      <p:cxnSp>
        <p:nvCxnSpPr>
          <p:cNvPr id="1202" name="Conector: Angulado 1201">
            <a:extLst>
              <a:ext uri="{FF2B5EF4-FFF2-40B4-BE49-F238E27FC236}">
                <a16:creationId xmlns:a16="http://schemas.microsoft.com/office/drawing/2014/main" id="{D690274E-4072-06C8-5363-3A593C6EBA1C}"/>
              </a:ext>
            </a:extLst>
          </p:cNvPr>
          <p:cNvCxnSpPr>
            <a:cxnSpLocks/>
            <a:stCxn id="1093" idx="2"/>
            <a:endCxn id="1110" idx="3"/>
          </p:cNvCxnSpPr>
          <p:nvPr/>
        </p:nvCxnSpPr>
        <p:spPr>
          <a:xfrm rot="5400000">
            <a:off x="3480276" y="3813213"/>
            <a:ext cx="194390" cy="4114863"/>
          </a:xfrm>
          <a:prstGeom prst="bentConnector2">
            <a:avLst/>
          </a:prstGeom>
          <a:ln w="19050">
            <a:solidFill>
              <a:srgbClr val="FCB03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4" name="Conector de Seta Reta 1203">
            <a:extLst>
              <a:ext uri="{FF2B5EF4-FFF2-40B4-BE49-F238E27FC236}">
                <a16:creationId xmlns:a16="http://schemas.microsoft.com/office/drawing/2014/main" id="{0CEACAB2-D250-5CA0-337D-3D9DA9EF9117}"/>
              </a:ext>
            </a:extLst>
          </p:cNvPr>
          <p:cNvCxnSpPr>
            <a:stCxn id="1096" idx="1"/>
            <a:endCxn id="1104" idx="3"/>
          </p:cNvCxnSpPr>
          <p:nvPr/>
        </p:nvCxnSpPr>
        <p:spPr>
          <a:xfrm flipH="1">
            <a:off x="1518792" y="4474612"/>
            <a:ext cx="2659255" cy="18523"/>
          </a:xfrm>
          <a:prstGeom prst="straightConnector1">
            <a:avLst/>
          </a:prstGeom>
          <a:ln w="19050">
            <a:solidFill>
              <a:srgbClr val="FCB03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7" name="Conector de Seta Reta 1206">
            <a:extLst>
              <a:ext uri="{FF2B5EF4-FFF2-40B4-BE49-F238E27FC236}">
                <a16:creationId xmlns:a16="http://schemas.microsoft.com/office/drawing/2014/main" id="{10AA9751-2EF0-0B43-A465-B96908289799}"/>
              </a:ext>
            </a:extLst>
          </p:cNvPr>
          <p:cNvCxnSpPr>
            <a:stCxn id="1090" idx="1"/>
            <a:endCxn id="1108" idx="3"/>
          </p:cNvCxnSpPr>
          <p:nvPr/>
        </p:nvCxnSpPr>
        <p:spPr>
          <a:xfrm flipH="1" flipV="1">
            <a:off x="1536351" y="3011389"/>
            <a:ext cx="2575662" cy="21527"/>
          </a:xfrm>
          <a:prstGeom prst="straightConnector1">
            <a:avLst/>
          </a:prstGeom>
          <a:ln w="19050">
            <a:solidFill>
              <a:srgbClr val="FCB03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2" name="Conector: Angulado 1211">
            <a:extLst>
              <a:ext uri="{FF2B5EF4-FFF2-40B4-BE49-F238E27FC236}">
                <a16:creationId xmlns:a16="http://schemas.microsoft.com/office/drawing/2014/main" id="{90D2394F-E796-288D-81B2-8375970F5047}"/>
              </a:ext>
            </a:extLst>
          </p:cNvPr>
          <p:cNvCxnSpPr>
            <a:stCxn id="1089" idx="0"/>
            <a:endCxn id="1102" idx="3"/>
          </p:cNvCxnSpPr>
          <p:nvPr/>
        </p:nvCxnSpPr>
        <p:spPr>
          <a:xfrm rot="16200000" flipV="1">
            <a:off x="3367306" y="-314662"/>
            <a:ext cx="190059" cy="3903437"/>
          </a:xfrm>
          <a:prstGeom prst="bentConnector2">
            <a:avLst/>
          </a:prstGeom>
          <a:ln w="19050">
            <a:solidFill>
              <a:srgbClr val="FCB03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5" name="Conector: Angulado 1144">
            <a:extLst>
              <a:ext uri="{FF2B5EF4-FFF2-40B4-BE49-F238E27FC236}">
                <a16:creationId xmlns:a16="http://schemas.microsoft.com/office/drawing/2014/main" id="{1D473B90-5D59-60D0-D031-5C5B31D4304C}"/>
              </a:ext>
            </a:extLst>
          </p:cNvPr>
          <p:cNvCxnSpPr>
            <a:cxnSpLocks/>
            <a:stCxn id="1097" idx="2"/>
          </p:cNvCxnSpPr>
          <p:nvPr/>
        </p:nvCxnSpPr>
        <p:spPr>
          <a:xfrm rot="16200000" flipH="1">
            <a:off x="9126021" y="4057310"/>
            <a:ext cx="172676" cy="3945608"/>
          </a:xfrm>
          <a:prstGeom prst="bentConnector2">
            <a:avLst/>
          </a:prstGeom>
          <a:ln w="19050">
            <a:solidFill>
              <a:srgbClr val="FCB03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9" name="Conector: Angulado 1128">
            <a:extLst>
              <a:ext uri="{FF2B5EF4-FFF2-40B4-BE49-F238E27FC236}">
                <a16:creationId xmlns:a16="http://schemas.microsoft.com/office/drawing/2014/main" id="{56258EA6-DC0D-9779-815B-F8CD9F9E3C31}"/>
              </a:ext>
            </a:extLst>
          </p:cNvPr>
          <p:cNvCxnSpPr>
            <a:cxnSpLocks/>
            <a:stCxn id="1098" idx="3"/>
            <a:endCxn id="1117" idx="1"/>
          </p:cNvCxnSpPr>
          <p:nvPr/>
        </p:nvCxnSpPr>
        <p:spPr>
          <a:xfrm flipV="1">
            <a:off x="8747732" y="4522123"/>
            <a:ext cx="2028366" cy="1346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2" name="Conector de Seta Reta 1121">
            <a:extLst>
              <a:ext uri="{FF2B5EF4-FFF2-40B4-BE49-F238E27FC236}">
                <a16:creationId xmlns:a16="http://schemas.microsoft.com/office/drawing/2014/main" id="{A15724A0-31D4-3AF7-7AD3-85E69EC98430}"/>
              </a:ext>
            </a:extLst>
          </p:cNvPr>
          <p:cNvCxnSpPr>
            <a:cxnSpLocks/>
            <a:stCxn id="1088" idx="3"/>
            <a:endCxn id="1114" idx="1"/>
          </p:cNvCxnSpPr>
          <p:nvPr/>
        </p:nvCxnSpPr>
        <p:spPr>
          <a:xfrm flipV="1">
            <a:off x="8654853" y="3027878"/>
            <a:ext cx="2119608" cy="53084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5" name="Conector: Angulado 1074">
            <a:extLst>
              <a:ext uri="{FF2B5EF4-FFF2-40B4-BE49-F238E27FC236}">
                <a16:creationId xmlns:a16="http://schemas.microsoft.com/office/drawing/2014/main" id="{64DD07C6-FD82-8739-4DB4-2765A3173FC4}"/>
              </a:ext>
            </a:extLst>
          </p:cNvPr>
          <p:cNvCxnSpPr>
            <a:cxnSpLocks/>
            <a:stCxn id="1087" idx="0"/>
            <a:endCxn id="1071" idx="1"/>
          </p:cNvCxnSpPr>
          <p:nvPr/>
        </p:nvCxnSpPr>
        <p:spPr>
          <a:xfrm rot="5400000" flipH="1" flipV="1">
            <a:off x="8748650" y="-138419"/>
            <a:ext cx="359564" cy="3720458"/>
          </a:xfrm>
          <a:prstGeom prst="bentConnector2">
            <a:avLst/>
          </a:prstGeom>
          <a:ln w="19050">
            <a:solidFill>
              <a:srgbClr val="0970C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227" name="Gráfico 1226" descr="Lupa com preenchimento sólido">
            <a:hlinkClick r:id="rId18"/>
            <a:extLst>
              <a:ext uri="{FF2B5EF4-FFF2-40B4-BE49-F238E27FC236}">
                <a16:creationId xmlns:a16="http://schemas.microsoft.com/office/drawing/2014/main" id="{F0AF6967-0D2B-FA79-0295-F09C3E2137A3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9460856" y="2221198"/>
            <a:ext cx="381600" cy="381600"/>
          </a:xfrm>
          <a:prstGeom prst="rect">
            <a:avLst/>
          </a:prstGeom>
        </p:spPr>
      </p:pic>
      <p:sp>
        <p:nvSpPr>
          <p:cNvPr id="1228" name="CaixaDeTexto 1227">
            <a:extLst>
              <a:ext uri="{FF2B5EF4-FFF2-40B4-BE49-F238E27FC236}">
                <a16:creationId xmlns:a16="http://schemas.microsoft.com/office/drawing/2014/main" id="{7550F706-A844-8DD7-92F8-905DE8F7ABEF}"/>
              </a:ext>
            </a:extLst>
          </p:cNvPr>
          <p:cNvSpPr txBox="1"/>
          <p:nvPr/>
        </p:nvSpPr>
        <p:spPr>
          <a:xfrm>
            <a:off x="5244607" y="3145669"/>
            <a:ext cx="171446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>
                <a:ln>
                  <a:noFill/>
                </a:ln>
                <a:solidFill>
                  <a:srgbClr val="666566"/>
                </a:solidFill>
                <a:effectLst/>
                <a:uLnTx/>
                <a:uFillTx/>
                <a:latin typeface="Itau Text" panose="020B0503020204020203" pitchFamily="34" charset="0"/>
                <a:ea typeface="+mn-ea"/>
                <a:cs typeface="Itau Text" panose="020B0503020204020203" pitchFamily="34" charset="0"/>
              </a:rPr>
              <a:t>70 milhõ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>
                <a:ln>
                  <a:noFill/>
                </a:ln>
                <a:solidFill>
                  <a:srgbClr val="666566"/>
                </a:solidFill>
                <a:effectLst/>
                <a:uLnTx/>
                <a:uFillTx/>
                <a:latin typeface="Itau Text" panose="020B0503020204020203" pitchFamily="34" charset="0"/>
                <a:ea typeface="+mn-ea"/>
                <a:cs typeface="Itau Text" panose="020B0503020204020203" pitchFamily="34" charset="0"/>
              </a:rPr>
              <a:t>de client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srgbClr val="666566"/>
                </a:solidFill>
                <a:effectLst/>
                <a:uLnTx/>
                <a:uFillTx/>
                <a:latin typeface="Itau Text" panose="020B0503020204020203" pitchFamily="34" charset="0"/>
                <a:ea typeface="+mn-ea"/>
                <a:cs typeface="Itau Text" panose="020B0503020204020203" pitchFamily="34" charset="0"/>
              </a:rPr>
              <a:t>Pessoas física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srgbClr val="666566"/>
                </a:solidFill>
                <a:effectLst/>
                <a:uLnTx/>
                <a:uFillTx/>
                <a:latin typeface="Itau Text" panose="020B0503020204020203" pitchFamily="34" charset="0"/>
                <a:ea typeface="+mn-ea"/>
                <a:cs typeface="Itau Text" panose="020B0503020204020203" pitchFamily="34" charset="0"/>
              </a:rPr>
              <a:t>e jurídicas</a:t>
            </a:r>
          </a:p>
        </p:txBody>
      </p:sp>
    </p:spTree>
    <p:extLst>
      <p:ext uri="{BB962C8B-B14F-4D97-AF65-F5344CB8AC3E}">
        <p14:creationId xmlns:p14="http://schemas.microsoft.com/office/powerpoint/2010/main" val="4002404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6" name="Conector reto 165">
            <a:extLst>
              <a:ext uri="{FF2B5EF4-FFF2-40B4-BE49-F238E27FC236}">
                <a16:creationId xmlns:a16="http://schemas.microsoft.com/office/drawing/2014/main" id="{9E37C724-9347-4654-AB0F-BCAD9D8563EC}"/>
              </a:ext>
            </a:extLst>
          </p:cNvPr>
          <p:cNvCxnSpPr>
            <a:cxnSpLocks/>
          </p:cNvCxnSpPr>
          <p:nvPr/>
        </p:nvCxnSpPr>
        <p:spPr>
          <a:xfrm>
            <a:off x="6413228" y="1207770"/>
            <a:ext cx="0" cy="5242560"/>
          </a:xfrm>
          <a:prstGeom prst="line">
            <a:avLst/>
          </a:prstGeom>
          <a:noFill/>
          <a:ln w="12700" cap="rnd" cmpd="sng" algn="ctr">
            <a:solidFill>
              <a:srgbClr val="FFFFFF">
                <a:lumMod val="75000"/>
              </a:srgbClr>
            </a:solidFill>
            <a:prstDash val="solid"/>
            <a:round/>
          </a:ln>
          <a:effectLst/>
        </p:spPr>
      </p:cxn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C3D22026-65B3-401E-A266-72C1E29CB201}"/>
              </a:ext>
            </a:extLst>
          </p:cNvPr>
          <p:cNvSpPr txBox="1"/>
          <p:nvPr/>
        </p:nvSpPr>
        <p:spPr>
          <a:xfrm>
            <a:off x="9074150" y="1753340"/>
            <a:ext cx="3015068" cy="1837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Mapeamos as etapas necessárias para conseguir informações sobre conteúdos no </a:t>
            </a: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3B3838"/>
                </a:solidFill>
                <a:effectLst/>
                <a:uLnTx/>
                <a:uFillTx/>
                <a:latin typeface="Itau Display XBold" panose="020B0803020204020204" pitchFamily="34" charset="0"/>
                <a:ea typeface="+mn-ea"/>
                <a:cs typeface="Itau Display XBold" panose="020B0803020204020204" pitchFamily="34" charset="0"/>
              </a:rPr>
              <a:t>app PF, Portal de Correspondências, Pasta de Documentos, </a:t>
            </a:r>
            <a:r>
              <a:rPr kumimoji="0" lang="pt-BR" sz="1400" b="0" i="0" u="none" strike="noStrike" kern="1200" cap="none" spc="0" normalizeH="0" baseline="0" noProof="0" err="1">
                <a:ln>
                  <a:noFill/>
                </a:ln>
                <a:solidFill>
                  <a:srgbClr val="3B3838"/>
                </a:solidFill>
                <a:effectLst/>
                <a:uLnTx/>
                <a:uFillTx/>
                <a:latin typeface="Itau Display XBold" panose="020B0803020204020204" pitchFamily="34" charset="0"/>
                <a:ea typeface="+mn-ea"/>
                <a:cs typeface="Itau Display XBold" panose="020B0803020204020204" pitchFamily="34" charset="0"/>
              </a:rPr>
              <a:t>iti</a:t>
            </a: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3B3838"/>
                </a:solidFill>
                <a:effectLst/>
                <a:uLnTx/>
                <a:uFillTx/>
                <a:latin typeface="Itau Display XBold" panose="020B0803020204020204" pitchFamily="34" charset="0"/>
                <a:ea typeface="+mn-ea"/>
                <a:cs typeface="Itau Display XBold" panose="020B0803020204020204" pitchFamily="34" charset="0"/>
              </a:rPr>
              <a:t> e </a:t>
            </a:r>
            <a:r>
              <a:rPr kumimoji="0" lang="pt-BR" sz="1400" b="0" i="0" u="none" strike="noStrike" kern="1200" cap="none" spc="0" normalizeH="0" baseline="0" noProof="0" err="1">
                <a:ln>
                  <a:noFill/>
                </a:ln>
                <a:solidFill>
                  <a:srgbClr val="3B3838"/>
                </a:solidFill>
                <a:effectLst/>
                <a:uLnTx/>
                <a:uFillTx/>
                <a:latin typeface="Itau Display XBold" panose="020B0803020204020204" pitchFamily="34" charset="0"/>
                <a:ea typeface="+mn-ea"/>
                <a:cs typeface="Itau Display XBold" panose="020B0803020204020204" pitchFamily="34" charset="0"/>
              </a:rPr>
              <a:t>bankline</a:t>
            </a: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, o que mostrou informações divergentes e confusas. Além de avaliar várias pesquisas feitas por todos produtos, relacionadas à conteúdos.</a:t>
            </a:r>
          </a:p>
        </p:txBody>
      </p: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1777FD8A-0680-4BC6-9981-4813A31E0A8E}"/>
              </a:ext>
            </a:extLst>
          </p:cNvPr>
          <p:cNvSpPr txBox="1"/>
          <p:nvPr/>
        </p:nvSpPr>
        <p:spPr>
          <a:xfrm>
            <a:off x="9074150" y="4148396"/>
            <a:ext cx="3015068" cy="24191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3B3838"/>
                </a:solidFill>
                <a:effectLst/>
                <a:uLnTx/>
                <a:uFillTx/>
                <a:latin typeface="Itau Display XBold" panose="020B0803020204020204" pitchFamily="34" charset="0"/>
                <a:ea typeface="+mn-ea"/>
                <a:cs typeface="Itau Display XBold" panose="020B0803020204020204" pitchFamily="34" charset="0"/>
              </a:rPr>
              <a:t>Maior robustez na cesta de indicadores de satisfação: </a:t>
            </a: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acompanharemos mais ferramentas e métodos do Itaú, além disso, começaremos a </a:t>
            </a: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3B3838"/>
                </a:solidFill>
                <a:effectLst/>
                <a:uLnTx/>
                <a:uFillTx/>
                <a:latin typeface="Itau Display XBold" panose="020B0803020204020204" pitchFamily="34" charset="0"/>
                <a:ea typeface="+mn-ea"/>
                <a:cs typeface="Itau Display XBold" panose="020B0803020204020204" pitchFamily="34" charset="0"/>
              </a:rPr>
              <a:t>validar diretamente com nossos usuários </a:t>
            </a: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o que queremos construir, garantindo que estamos resolvendo o problema de forma clara e intuitiva.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Estruturação dos processos de monitoramento contínuo dos dados de todos produtos do banco. </a:t>
            </a:r>
          </a:p>
        </p:txBody>
      </p:sp>
      <p:sp>
        <p:nvSpPr>
          <p:cNvPr id="35" name="CaixaDeTexto 34">
            <a:extLst>
              <a:ext uri="{FF2B5EF4-FFF2-40B4-BE49-F238E27FC236}">
                <a16:creationId xmlns:a16="http://schemas.microsoft.com/office/drawing/2014/main" id="{87693433-BB71-4B2C-B8AE-C63966811196}"/>
              </a:ext>
            </a:extLst>
          </p:cNvPr>
          <p:cNvSpPr txBox="1"/>
          <p:nvPr/>
        </p:nvSpPr>
        <p:spPr>
          <a:xfrm>
            <a:off x="6474774" y="1753340"/>
            <a:ext cx="2549826" cy="1837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3B3838"/>
                </a:solidFill>
                <a:effectLst/>
                <a:uLnTx/>
                <a:uFillTx/>
                <a:latin typeface="Itau Display XBold" panose="020B0803020204020204" pitchFamily="34" charset="0"/>
                <a:ea typeface="+mn-ea"/>
                <a:cs typeface="Itau Display XBold" panose="020B0803020204020204" pitchFamily="34" charset="0"/>
              </a:rPr>
              <a:t>Indicadores já existentes no banco </a:t>
            </a: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foram a nossa primeira forma de entender o nosso cliente. </a:t>
            </a:r>
            <a:r>
              <a:rPr kumimoji="0" lang="pt-BR" sz="1400" b="1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Estudamos os dados já monitorados </a:t>
            </a: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com filtro nos assuntos relacionados à conteúdos e começamos a nos aproximar dos negócios impactados.</a:t>
            </a:r>
          </a:p>
        </p:txBody>
      </p: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420862E4-0E1D-40CE-88FE-E77EE7BF453A}"/>
              </a:ext>
            </a:extLst>
          </p:cNvPr>
          <p:cNvSpPr txBox="1"/>
          <p:nvPr/>
        </p:nvSpPr>
        <p:spPr>
          <a:xfrm>
            <a:off x="6480483" y="4148396"/>
            <a:ext cx="2037689" cy="1837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3B3838"/>
                </a:solidFill>
                <a:effectLst/>
                <a:uLnTx/>
                <a:uFillTx/>
                <a:latin typeface="Itau Display XBold" panose="020B0803020204020204" pitchFamily="34" charset="0"/>
                <a:ea typeface="+mn-ea"/>
                <a:cs typeface="Itau Display XBold" panose="020B0803020204020204" pitchFamily="34" charset="0"/>
              </a:rPr>
              <a:t>Começamos a ouvir diretamente o nosso cliente</a:t>
            </a: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 através da implantação do </a:t>
            </a:r>
            <a:r>
              <a:rPr kumimoji="0" lang="pt-BR" sz="1400" b="0" i="0" u="none" strike="noStrike" kern="1200" cap="none" spc="0" normalizeH="0" baseline="0" noProof="0" err="1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Likert</a:t>
            </a: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 no Portal de Correspondências e o envio da pesquisa quantitativa para 27 mil clientes!</a:t>
            </a:r>
          </a:p>
        </p:txBody>
      </p:sp>
      <p:cxnSp>
        <p:nvCxnSpPr>
          <p:cNvPr id="39" name="Conector reto 38">
            <a:extLst>
              <a:ext uri="{FF2B5EF4-FFF2-40B4-BE49-F238E27FC236}">
                <a16:creationId xmlns:a16="http://schemas.microsoft.com/office/drawing/2014/main" id="{F6672A20-F178-48F7-B47B-DA5586728338}"/>
              </a:ext>
            </a:extLst>
          </p:cNvPr>
          <p:cNvCxnSpPr>
            <a:cxnSpLocks/>
          </p:cNvCxnSpPr>
          <p:nvPr/>
        </p:nvCxnSpPr>
        <p:spPr>
          <a:xfrm>
            <a:off x="6578617" y="3676477"/>
            <a:ext cx="324304" cy="0"/>
          </a:xfrm>
          <a:prstGeom prst="line">
            <a:avLst/>
          </a:prstGeom>
          <a:ln w="76200"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ector reto 39">
            <a:extLst>
              <a:ext uri="{FF2B5EF4-FFF2-40B4-BE49-F238E27FC236}">
                <a16:creationId xmlns:a16="http://schemas.microsoft.com/office/drawing/2014/main" id="{F06D1C36-863E-4BF5-BA73-B2ECCDBEEA89}"/>
              </a:ext>
            </a:extLst>
          </p:cNvPr>
          <p:cNvCxnSpPr>
            <a:cxnSpLocks/>
          </p:cNvCxnSpPr>
          <p:nvPr/>
        </p:nvCxnSpPr>
        <p:spPr>
          <a:xfrm>
            <a:off x="9074150" y="3676477"/>
            <a:ext cx="324304" cy="0"/>
          </a:xfrm>
          <a:prstGeom prst="line">
            <a:avLst/>
          </a:prstGeom>
          <a:ln w="76200">
            <a:solidFill>
              <a:srgbClr val="FF78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ector reto 40">
            <a:extLst>
              <a:ext uri="{FF2B5EF4-FFF2-40B4-BE49-F238E27FC236}">
                <a16:creationId xmlns:a16="http://schemas.microsoft.com/office/drawing/2014/main" id="{F54CF4EB-14CB-489E-91BE-C64E479D1E47}"/>
              </a:ext>
            </a:extLst>
          </p:cNvPr>
          <p:cNvCxnSpPr>
            <a:cxnSpLocks/>
          </p:cNvCxnSpPr>
          <p:nvPr/>
        </p:nvCxnSpPr>
        <p:spPr>
          <a:xfrm>
            <a:off x="6578617" y="6619728"/>
            <a:ext cx="324304" cy="0"/>
          </a:xfrm>
          <a:prstGeom prst="line">
            <a:avLst/>
          </a:prstGeom>
          <a:ln w="76200">
            <a:solidFill>
              <a:srgbClr val="114585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ector reto 41">
            <a:extLst>
              <a:ext uri="{FF2B5EF4-FFF2-40B4-BE49-F238E27FC236}">
                <a16:creationId xmlns:a16="http://schemas.microsoft.com/office/drawing/2014/main" id="{6047D581-DE57-4261-9761-0896EAA5208B}"/>
              </a:ext>
            </a:extLst>
          </p:cNvPr>
          <p:cNvCxnSpPr>
            <a:cxnSpLocks/>
          </p:cNvCxnSpPr>
          <p:nvPr/>
        </p:nvCxnSpPr>
        <p:spPr>
          <a:xfrm>
            <a:off x="9074150" y="6585046"/>
            <a:ext cx="324304" cy="0"/>
          </a:xfrm>
          <a:prstGeom prst="line">
            <a:avLst/>
          </a:prstGeom>
          <a:ln w="76200">
            <a:solidFill>
              <a:srgbClr val="0070C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67">
            <a:extLst>
              <a:ext uri="{FF2B5EF4-FFF2-40B4-BE49-F238E27FC236}">
                <a16:creationId xmlns:a16="http://schemas.microsoft.com/office/drawing/2014/main" id="{213306DE-9848-456B-B7A9-080B80AF6EB0}"/>
              </a:ext>
            </a:extLst>
          </p:cNvPr>
          <p:cNvSpPr txBox="1"/>
          <p:nvPr/>
        </p:nvSpPr>
        <p:spPr>
          <a:xfrm>
            <a:off x="6480483" y="931756"/>
            <a:ext cx="4806043" cy="79868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17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Itau Display XBold"/>
                <a:ea typeface="+mn-ea"/>
                <a:cs typeface="+mn-cs"/>
              </a:rPr>
              <a:t>Estamos construindo indicadores, métodos e processos de acompanhamento da satisfação dos nossos clientes</a:t>
            </a:r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D638CD15-927A-4196-AD01-79A70B6C0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4262" y="453672"/>
            <a:ext cx="11595716" cy="348339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pPr defTabSz="914411"/>
            <a:r>
              <a:rPr lang="pt-BR">
                <a:solidFill>
                  <a:srgbClr val="FE9600"/>
                </a:solidFill>
              </a:rPr>
              <a:t>_evolução do acompanhamento da satisfação dos clientes</a:t>
            </a:r>
          </a:p>
        </p:txBody>
      </p:sp>
      <p:grpSp>
        <p:nvGrpSpPr>
          <p:cNvPr id="9" name="Agrupar 8">
            <a:extLst>
              <a:ext uri="{FF2B5EF4-FFF2-40B4-BE49-F238E27FC236}">
                <a16:creationId xmlns:a16="http://schemas.microsoft.com/office/drawing/2014/main" id="{DC4EAA2A-58A8-4C54-991C-6B16AEE1C3F8}"/>
              </a:ext>
            </a:extLst>
          </p:cNvPr>
          <p:cNvGrpSpPr/>
          <p:nvPr/>
        </p:nvGrpSpPr>
        <p:grpSpPr>
          <a:xfrm>
            <a:off x="336953" y="1149583"/>
            <a:ext cx="5660326" cy="5357763"/>
            <a:chOff x="336953" y="1149583"/>
            <a:chExt cx="5660326" cy="5357763"/>
          </a:xfrm>
        </p:grpSpPr>
        <p:grpSp>
          <p:nvGrpSpPr>
            <p:cNvPr id="3" name="Agrupar 2">
              <a:extLst>
                <a:ext uri="{FF2B5EF4-FFF2-40B4-BE49-F238E27FC236}">
                  <a16:creationId xmlns:a16="http://schemas.microsoft.com/office/drawing/2014/main" id="{E60F466C-A78E-42C7-A9FA-0954053B174A}"/>
                </a:ext>
              </a:extLst>
            </p:cNvPr>
            <p:cNvGrpSpPr/>
            <p:nvPr/>
          </p:nvGrpSpPr>
          <p:grpSpPr>
            <a:xfrm>
              <a:off x="336953" y="1149583"/>
              <a:ext cx="5660326" cy="5318093"/>
              <a:chOff x="336953" y="1212647"/>
              <a:chExt cx="5660326" cy="5318093"/>
            </a:xfrm>
          </p:grpSpPr>
          <p:sp>
            <p:nvSpPr>
              <p:cNvPr id="25" name="Forma Livre: Forma 24">
                <a:extLst>
                  <a:ext uri="{FF2B5EF4-FFF2-40B4-BE49-F238E27FC236}">
                    <a16:creationId xmlns:a16="http://schemas.microsoft.com/office/drawing/2014/main" id="{89236FE0-0D0D-4A4B-8881-25BEBC5F5544}"/>
                  </a:ext>
                </a:extLst>
              </p:cNvPr>
              <p:cNvSpPr/>
              <p:nvPr/>
            </p:nvSpPr>
            <p:spPr>
              <a:xfrm>
                <a:off x="1359843" y="1548403"/>
                <a:ext cx="3455970" cy="1161669"/>
              </a:xfrm>
              <a:custGeom>
                <a:avLst/>
                <a:gdLst>
                  <a:gd name="connsiteX0" fmla="*/ 2598611 w 3026949"/>
                  <a:gd name="connsiteY0" fmla="*/ 1161669 h 1161669"/>
                  <a:gd name="connsiteX1" fmla="*/ 0 w 3026949"/>
                  <a:gd name="connsiteY1" fmla="*/ 1161669 h 1161669"/>
                  <a:gd name="connsiteX2" fmla="*/ 0 w 3026949"/>
                  <a:gd name="connsiteY2" fmla="*/ 0 h 1161669"/>
                  <a:gd name="connsiteX3" fmla="*/ 2598611 w 3026949"/>
                  <a:gd name="connsiteY3" fmla="*/ 0 h 1161669"/>
                  <a:gd name="connsiteX4" fmla="*/ 3026950 w 3026949"/>
                  <a:gd name="connsiteY4" fmla="*/ 580835 h 1161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26949" h="1161669">
                    <a:moveTo>
                      <a:pt x="2598611" y="1161669"/>
                    </a:moveTo>
                    <a:lnTo>
                      <a:pt x="0" y="1161669"/>
                    </a:lnTo>
                    <a:lnTo>
                      <a:pt x="0" y="0"/>
                    </a:lnTo>
                    <a:lnTo>
                      <a:pt x="2598611" y="0"/>
                    </a:lnTo>
                    <a:lnTo>
                      <a:pt x="3026950" y="580835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FDA100"/>
                  </a:gs>
                  <a:gs pos="0">
                    <a:schemeClr val="accent4"/>
                  </a:gs>
                </a:gsLst>
                <a:lin ang="1800000" scaled="0"/>
                <a:tileRect/>
              </a:gra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" name="Forma Livre: Forma 19">
                <a:extLst>
                  <a:ext uri="{FF2B5EF4-FFF2-40B4-BE49-F238E27FC236}">
                    <a16:creationId xmlns:a16="http://schemas.microsoft.com/office/drawing/2014/main" id="{7A4D15A0-D7E9-49A5-9FDB-388C695FC15A}"/>
                  </a:ext>
                </a:extLst>
              </p:cNvPr>
              <p:cNvSpPr/>
              <p:nvPr/>
            </p:nvSpPr>
            <p:spPr>
              <a:xfrm>
                <a:off x="1253924" y="2710643"/>
                <a:ext cx="3681126" cy="1161669"/>
              </a:xfrm>
              <a:custGeom>
                <a:avLst/>
                <a:gdLst>
                  <a:gd name="connsiteX0" fmla="*/ 3252788 w 3681126"/>
                  <a:gd name="connsiteY0" fmla="*/ 1161669 h 1161669"/>
                  <a:gd name="connsiteX1" fmla="*/ 0 w 3681126"/>
                  <a:gd name="connsiteY1" fmla="*/ 1161669 h 1161669"/>
                  <a:gd name="connsiteX2" fmla="*/ 0 w 3681126"/>
                  <a:gd name="connsiteY2" fmla="*/ 0 h 1161669"/>
                  <a:gd name="connsiteX3" fmla="*/ 3252788 w 3681126"/>
                  <a:gd name="connsiteY3" fmla="*/ 0 h 1161669"/>
                  <a:gd name="connsiteX4" fmla="*/ 3681127 w 3681126"/>
                  <a:gd name="connsiteY4" fmla="*/ 580834 h 1161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1126" h="1161669">
                    <a:moveTo>
                      <a:pt x="3252788" y="1161669"/>
                    </a:moveTo>
                    <a:lnTo>
                      <a:pt x="0" y="1161669"/>
                    </a:lnTo>
                    <a:lnTo>
                      <a:pt x="0" y="0"/>
                    </a:lnTo>
                    <a:lnTo>
                      <a:pt x="3252788" y="0"/>
                    </a:lnTo>
                    <a:lnTo>
                      <a:pt x="3681127" y="580834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FF5900"/>
                  </a:gs>
                  <a:gs pos="0">
                    <a:srgbClr val="FD9D00"/>
                  </a:gs>
                </a:gsLst>
                <a:lin ang="1800000" scaled="0"/>
                <a:tileRect/>
              </a:gra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" name="Forma Livre: Forma 14">
                <a:extLst>
                  <a:ext uri="{FF2B5EF4-FFF2-40B4-BE49-F238E27FC236}">
                    <a16:creationId xmlns:a16="http://schemas.microsoft.com/office/drawing/2014/main" id="{75CC8880-82F5-46C7-A084-643BC993FF72}"/>
                  </a:ext>
                </a:extLst>
              </p:cNvPr>
              <p:cNvSpPr/>
              <p:nvPr/>
            </p:nvSpPr>
            <p:spPr>
              <a:xfrm>
                <a:off x="1359843" y="3872312"/>
                <a:ext cx="4097750" cy="1161573"/>
              </a:xfrm>
              <a:custGeom>
                <a:avLst/>
                <a:gdLst>
                  <a:gd name="connsiteX0" fmla="*/ 3669411 w 4097750"/>
                  <a:gd name="connsiteY0" fmla="*/ 1161574 h 1161573"/>
                  <a:gd name="connsiteX1" fmla="*/ 0 w 4097750"/>
                  <a:gd name="connsiteY1" fmla="*/ 1161574 h 1161573"/>
                  <a:gd name="connsiteX2" fmla="*/ 0 w 4097750"/>
                  <a:gd name="connsiteY2" fmla="*/ 0 h 1161573"/>
                  <a:gd name="connsiteX3" fmla="*/ 3669411 w 4097750"/>
                  <a:gd name="connsiteY3" fmla="*/ 0 h 1161573"/>
                  <a:gd name="connsiteX4" fmla="*/ 4097750 w 4097750"/>
                  <a:gd name="connsiteY4" fmla="*/ 580834 h 1161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97750" h="1161573">
                    <a:moveTo>
                      <a:pt x="3669411" y="1161574"/>
                    </a:moveTo>
                    <a:lnTo>
                      <a:pt x="0" y="1161574"/>
                    </a:lnTo>
                    <a:lnTo>
                      <a:pt x="0" y="0"/>
                    </a:lnTo>
                    <a:lnTo>
                      <a:pt x="3669411" y="0"/>
                    </a:lnTo>
                    <a:lnTo>
                      <a:pt x="4097750" y="580834"/>
                    </a:lnTo>
                    <a:close/>
                  </a:path>
                </a:pathLst>
              </a:custGeom>
              <a:gradFill flip="none" rotWithShape="1">
                <a:gsLst>
                  <a:gs pos="83000">
                    <a:srgbClr val="002060"/>
                  </a:gs>
                  <a:gs pos="58000">
                    <a:srgbClr val="114585"/>
                  </a:gs>
                  <a:gs pos="0">
                    <a:srgbClr val="024F92"/>
                  </a:gs>
                </a:gsLst>
                <a:lin ang="1800000" scaled="0"/>
                <a:tileRect/>
              </a:gra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" name="Forma Livre: Forma 9">
                <a:extLst>
                  <a:ext uri="{FF2B5EF4-FFF2-40B4-BE49-F238E27FC236}">
                    <a16:creationId xmlns:a16="http://schemas.microsoft.com/office/drawing/2014/main" id="{7271534D-9BF8-4AD6-AF4B-42FD2B2FC2BD}"/>
                  </a:ext>
                </a:extLst>
              </p:cNvPr>
              <p:cNvSpPr/>
              <p:nvPr/>
            </p:nvSpPr>
            <p:spPr>
              <a:xfrm>
                <a:off x="1359843" y="5033886"/>
                <a:ext cx="4637436" cy="1161669"/>
              </a:xfrm>
              <a:custGeom>
                <a:avLst/>
                <a:gdLst>
                  <a:gd name="connsiteX0" fmla="*/ 4209098 w 4637436"/>
                  <a:gd name="connsiteY0" fmla="*/ 1161669 h 1161669"/>
                  <a:gd name="connsiteX1" fmla="*/ 0 w 4637436"/>
                  <a:gd name="connsiteY1" fmla="*/ 1161669 h 1161669"/>
                  <a:gd name="connsiteX2" fmla="*/ 0 w 4637436"/>
                  <a:gd name="connsiteY2" fmla="*/ 0 h 1161669"/>
                  <a:gd name="connsiteX3" fmla="*/ 4209098 w 4637436"/>
                  <a:gd name="connsiteY3" fmla="*/ 0 h 1161669"/>
                  <a:gd name="connsiteX4" fmla="*/ 4637437 w 4637436"/>
                  <a:gd name="connsiteY4" fmla="*/ 580835 h 1161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37436" h="1161669">
                    <a:moveTo>
                      <a:pt x="4209098" y="1161669"/>
                    </a:moveTo>
                    <a:lnTo>
                      <a:pt x="0" y="1161669"/>
                    </a:lnTo>
                    <a:lnTo>
                      <a:pt x="0" y="0"/>
                    </a:lnTo>
                    <a:lnTo>
                      <a:pt x="4209098" y="0"/>
                    </a:lnTo>
                    <a:lnTo>
                      <a:pt x="4637437" y="580835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114585"/>
                  </a:gs>
                  <a:gs pos="32000">
                    <a:srgbClr val="0070C0"/>
                  </a:gs>
                </a:gsLst>
                <a:lin ang="1800000" scaled="0"/>
                <a:tileRect/>
              </a:gra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" name="Forma Livre: Forma 29">
                <a:extLst>
                  <a:ext uri="{FF2B5EF4-FFF2-40B4-BE49-F238E27FC236}">
                    <a16:creationId xmlns:a16="http://schemas.microsoft.com/office/drawing/2014/main" id="{3065F520-5EF2-4E1C-A3F6-AC81AEDA519D}"/>
                  </a:ext>
                </a:extLst>
              </p:cNvPr>
              <p:cNvSpPr/>
              <p:nvPr/>
            </p:nvSpPr>
            <p:spPr>
              <a:xfrm>
                <a:off x="336953" y="4697654"/>
                <a:ext cx="1497330" cy="1833086"/>
              </a:xfrm>
              <a:custGeom>
                <a:avLst/>
                <a:gdLst>
                  <a:gd name="connsiteX0" fmla="*/ 1276350 w 1497330"/>
                  <a:gd name="connsiteY0" fmla="*/ 780193 h 1833086"/>
                  <a:gd name="connsiteX1" fmla="*/ 1407033 w 1497330"/>
                  <a:gd name="connsiteY1" fmla="*/ 847344 h 1833086"/>
                  <a:gd name="connsiteX2" fmla="*/ 1497330 w 1497330"/>
                  <a:gd name="connsiteY2" fmla="*/ 779431 h 1833086"/>
                  <a:gd name="connsiteX3" fmla="*/ 1497330 w 1497330"/>
                  <a:gd name="connsiteY3" fmla="*/ 440627 h 1833086"/>
                  <a:gd name="connsiteX4" fmla="*/ 1392555 w 1497330"/>
                  <a:gd name="connsiteY4" fmla="*/ 335756 h 1833086"/>
                  <a:gd name="connsiteX5" fmla="*/ 1053656 w 1497330"/>
                  <a:gd name="connsiteY5" fmla="*/ 335756 h 1833086"/>
                  <a:gd name="connsiteX6" fmla="*/ 985742 w 1497330"/>
                  <a:gd name="connsiteY6" fmla="*/ 245459 h 1833086"/>
                  <a:gd name="connsiteX7" fmla="*/ 1052894 w 1497330"/>
                  <a:gd name="connsiteY7" fmla="*/ 114776 h 1833086"/>
                  <a:gd name="connsiteX8" fmla="*/ 916591 w 1497330"/>
                  <a:gd name="connsiteY8" fmla="*/ 0 h 1833086"/>
                  <a:gd name="connsiteX9" fmla="*/ 780193 w 1497330"/>
                  <a:gd name="connsiteY9" fmla="*/ 114776 h 1833086"/>
                  <a:gd name="connsiteX10" fmla="*/ 847344 w 1497330"/>
                  <a:gd name="connsiteY10" fmla="*/ 245459 h 1833086"/>
                  <a:gd name="connsiteX11" fmla="*/ 779431 w 1497330"/>
                  <a:gd name="connsiteY11" fmla="*/ 335756 h 1833086"/>
                  <a:gd name="connsiteX12" fmla="*/ 440531 w 1497330"/>
                  <a:gd name="connsiteY12" fmla="*/ 335756 h 1833086"/>
                  <a:gd name="connsiteX13" fmla="*/ 335756 w 1497330"/>
                  <a:gd name="connsiteY13" fmla="*/ 440627 h 1833086"/>
                  <a:gd name="connsiteX14" fmla="*/ 335756 w 1497330"/>
                  <a:gd name="connsiteY14" fmla="*/ 779431 h 1833086"/>
                  <a:gd name="connsiteX15" fmla="*/ 245459 w 1497330"/>
                  <a:gd name="connsiteY15" fmla="*/ 847344 h 1833086"/>
                  <a:gd name="connsiteX16" fmla="*/ 114776 w 1497330"/>
                  <a:gd name="connsiteY16" fmla="*/ 780193 h 1833086"/>
                  <a:gd name="connsiteX17" fmla="*/ 0 w 1497330"/>
                  <a:gd name="connsiteY17" fmla="*/ 916496 h 1833086"/>
                  <a:gd name="connsiteX18" fmla="*/ 114776 w 1497330"/>
                  <a:gd name="connsiteY18" fmla="*/ 1052894 h 1833086"/>
                  <a:gd name="connsiteX19" fmla="*/ 245459 w 1497330"/>
                  <a:gd name="connsiteY19" fmla="*/ 985742 h 1833086"/>
                  <a:gd name="connsiteX20" fmla="*/ 335756 w 1497330"/>
                  <a:gd name="connsiteY20" fmla="*/ 1053656 h 1833086"/>
                  <a:gd name="connsiteX21" fmla="*/ 335756 w 1497330"/>
                  <a:gd name="connsiteY21" fmla="*/ 1392555 h 1833086"/>
                  <a:gd name="connsiteX22" fmla="*/ 440531 w 1497330"/>
                  <a:gd name="connsiteY22" fmla="*/ 1497330 h 1833086"/>
                  <a:gd name="connsiteX23" fmla="*/ 779431 w 1497330"/>
                  <a:gd name="connsiteY23" fmla="*/ 1497330 h 1833086"/>
                  <a:gd name="connsiteX24" fmla="*/ 847344 w 1497330"/>
                  <a:gd name="connsiteY24" fmla="*/ 1587627 h 1833086"/>
                  <a:gd name="connsiteX25" fmla="*/ 780193 w 1497330"/>
                  <a:gd name="connsiteY25" fmla="*/ 1718310 h 1833086"/>
                  <a:gd name="connsiteX26" fmla="*/ 916496 w 1497330"/>
                  <a:gd name="connsiteY26" fmla="*/ 1833086 h 1833086"/>
                  <a:gd name="connsiteX27" fmla="*/ 1052894 w 1497330"/>
                  <a:gd name="connsiteY27" fmla="*/ 1718310 h 1833086"/>
                  <a:gd name="connsiteX28" fmla="*/ 985742 w 1497330"/>
                  <a:gd name="connsiteY28" fmla="*/ 1587627 h 1833086"/>
                  <a:gd name="connsiteX29" fmla="*/ 1053656 w 1497330"/>
                  <a:gd name="connsiteY29" fmla="*/ 1497330 h 1833086"/>
                  <a:gd name="connsiteX30" fmla="*/ 1392555 w 1497330"/>
                  <a:gd name="connsiteY30" fmla="*/ 1497330 h 1833086"/>
                  <a:gd name="connsiteX31" fmla="*/ 1497330 w 1497330"/>
                  <a:gd name="connsiteY31" fmla="*/ 1392555 h 1833086"/>
                  <a:gd name="connsiteX32" fmla="*/ 1497330 w 1497330"/>
                  <a:gd name="connsiteY32" fmla="*/ 1053656 h 1833086"/>
                  <a:gd name="connsiteX33" fmla="*/ 1407033 w 1497330"/>
                  <a:gd name="connsiteY33" fmla="*/ 985742 h 1833086"/>
                  <a:gd name="connsiteX34" fmla="*/ 1276350 w 1497330"/>
                  <a:gd name="connsiteY34" fmla="*/ 1052894 h 1833086"/>
                  <a:gd name="connsiteX35" fmla="*/ 1161574 w 1497330"/>
                  <a:gd name="connsiteY35" fmla="*/ 916496 h 1833086"/>
                  <a:gd name="connsiteX36" fmla="*/ 1276350 w 1497330"/>
                  <a:gd name="connsiteY36" fmla="*/ 780193 h 1833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1497330" h="1833086">
                    <a:moveTo>
                      <a:pt x="1276350" y="780193"/>
                    </a:moveTo>
                    <a:cubicBezTo>
                      <a:pt x="1323213" y="780859"/>
                      <a:pt x="1354265" y="847344"/>
                      <a:pt x="1407033" y="847344"/>
                    </a:cubicBezTo>
                    <a:cubicBezTo>
                      <a:pt x="1477232" y="847344"/>
                      <a:pt x="1497330" y="779431"/>
                      <a:pt x="1497330" y="779431"/>
                    </a:cubicBezTo>
                    <a:lnTo>
                      <a:pt x="1497330" y="440627"/>
                    </a:lnTo>
                    <a:cubicBezTo>
                      <a:pt x="1497330" y="382714"/>
                      <a:pt x="1450372" y="335756"/>
                      <a:pt x="1392555" y="335756"/>
                    </a:cubicBezTo>
                    <a:lnTo>
                      <a:pt x="1053656" y="335756"/>
                    </a:lnTo>
                    <a:cubicBezTo>
                      <a:pt x="1053656" y="335756"/>
                      <a:pt x="985742" y="315658"/>
                      <a:pt x="985742" y="245459"/>
                    </a:cubicBezTo>
                    <a:cubicBezTo>
                      <a:pt x="985742" y="192691"/>
                      <a:pt x="1052132" y="161639"/>
                      <a:pt x="1052894" y="114776"/>
                    </a:cubicBezTo>
                    <a:cubicBezTo>
                      <a:pt x="1053656" y="63151"/>
                      <a:pt x="993839" y="476"/>
                      <a:pt x="916591" y="0"/>
                    </a:cubicBezTo>
                    <a:cubicBezTo>
                      <a:pt x="839343" y="476"/>
                      <a:pt x="779431" y="63151"/>
                      <a:pt x="780193" y="114776"/>
                    </a:cubicBezTo>
                    <a:cubicBezTo>
                      <a:pt x="780955" y="161639"/>
                      <a:pt x="847344" y="192691"/>
                      <a:pt x="847344" y="245459"/>
                    </a:cubicBezTo>
                    <a:cubicBezTo>
                      <a:pt x="847344" y="315658"/>
                      <a:pt x="779431" y="335756"/>
                      <a:pt x="779431" y="335756"/>
                    </a:cubicBezTo>
                    <a:lnTo>
                      <a:pt x="440531" y="335756"/>
                    </a:lnTo>
                    <a:cubicBezTo>
                      <a:pt x="382619" y="335756"/>
                      <a:pt x="335756" y="382714"/>
                      <a:pt x="335756" y="440627"/>
                    </a:cubicBezTo>
                    <a:lnTo>
                      <a:pt x="335756" y="779431"/>
                    </a:lnTo>
                    <a:cubicBezTo>
                      <a:pt x="335756" y="779431"/>
                      <a:pt x="315659" y="847344"/>
                      <a:pt x="245459" y="847344"/>
                    </a:cubicBezTo>
                    <a:cubicBezTo>
                      <a:pt x="192691" y="847344"/>
                      <a:pt x="161639" y="780955"/>
                      <a:pt x="114776" y="780193"/>
                    </a:cubicBezTo>
                    <a:cubicBezTo>
                      <a:pt x="63151" y="779431"/>
                      <a:pt x="476" y="839248"/>
                      <a:pt x="0" y="916496"/>
                    </a:cubicBezTo>
                    <a:cubicBezTo>
                      <a:pt x="476" y="993743"/>
                      <a:pt x="63151" y="1053656"/>
                      <a:pt x="114776" y="1052894"/>
                    </a:cubicBezTo>
                    <a:cubicBezTo>
                      <a:pt x="161639" y="1052131"/>
                      <a:pt x="192691" y="985742"/>
                      <a:pt x="245459" y="985742"/>
                    </a:cubicBezTo>
                    <a:cubicBezTo>
                      <a:pt x="315659" y="985742"/>
                      <a:pt x="335756" y="1053656"/>
                      <a:pt x="335756" y="1053656"/>
                    </a:cubicBezTo>
                    <a:lnTo>
                      <a:pt x="335756" y="1392555"/>
                    </a:lnTo>
                    <a:cubicBezTo>
                      <a:pt x="335756" y="1450467"/>
                      <a:pt x="382715" y="1497330"/>
                      <a:pt x="440531" y="1497330"/>
                    </a:cubicBezTo>
                    <a:lnTo>
                      <a:pt x="779431" y="1497330"/>
                    </a:lnTo>
                    <a:cubicBezTo>
                      <a:pt x="779431" y="1497330"/>
                      <a:pt x="847344" y="1517428"/>
                      <a:pt x="847344" y="1587627"/>
                    </a:cubicBezTo>
                    <a:cubicBezTo>
                      <a:pt x="847344" y="1640395"/>
                      <a:pt x="780955" y="1671447"/>
                      <a:pt x="780193" y="1718310"/>
                    </a:cubicBezTo>
                    <a:cubicBezTo>
                      <a:pt x="779431" y="1769936"/>
                      <a:pt x="839248" y="1832610"/>
                      <a:pt x="916496" y="1833086"/>
                    </a:cubicBezTo>
                    <a:cubicBezTo>
                      <a:pt x="993743" y="1832610"/>
                      <a:pt x="1053656" y="1769936"/>
                      <a:pt x="1052894" y="1718310"/>
                    </a:cubicBezTo>
                    <a:cubicBezTo>
                      <a:pt x="1052132" y="1671447"/>
                      <a:pt x="985742" y="1640395"/>
                      <a:pt x="985742" y="1587627"/>
                    </a:cubicBezTo>
                    <a:cubicBezTo>
                      <a:pt x="985742" y="1517428"/>
                      <a:pt x="1053656" y="1497330"/>
                      <a:pt x="1053656" y="1497330"/>
                    </a:cubicBezTo>
                    <a:lnTo>
                      <a:pt x="1392555" y="1497330"/>
                    </a:lnTo>
                    <a:cubicBezTo>
                      <a:pt x="1450467" y="1497330"/>
                      <a:pt x="1497330" y="1450467"/>
                      <a:pt x="1497330" y="1392555"/>
                    </a:cubicBezTo>
                    <a:lnTo>
                      <a:pt x="1497330" y="1053656"/>
                    </a:lnTo>
                    <a:cubicBezTo>
                      <a:pt x="1497330" y="1053656"/>
                      <a:pt x="1477232" y="985742"/>
                      <a:pt x="1407033" y="985742"/>
                    </a:cubicBezTo>
                    <a:cubicBezTo>
                      <a:pt x="1354265" y="985742"/>
                      <a:pt x="1323213" y="1052131"/>
                      <a:pt x="1276350" y="1052894"/>
                    </a:cubicBezTo>
                    <a:cubicBezTo>
                      <a:pt x="1224725" y="1053656"/>
                      <a:pt x="1162050" y="993838"/>
                      <a:pt x="1161574" y="916496"/>
                    </a:cubicBezTo>
                    <a:cubicBezTo>
                      <a:pt x="1162050" y="839248"/>
                      <a:pt x="1224725" y="779336"/>
                      <a:pt x="1276350" y="780193"/>
                    </a:cubicBezTo>
                    <a:close/>
                  </a:path>
                </a:pathLst>
              </a:custGeom>
              <a:gradFill flip="none" rotWithShape="1">
                <a:gsLst>
                  <a:gs pos="100000">
                    <a:srgbClr val="114585"/>
                  </a:gs>
                  <a:gs pos="32000">
                    <a:srgbClr val="0070C0"/>
                  </a:gs>
                </a:gsLst>
                <a:lin ang="1800000" scaled="0"/>
                <a:tileRect/>
              </a:gradFill>
              <a:ln w="28575">
                <a:solidFill>
                  <a:srgbClr val="E6E6E6"/>
                </a:solidFill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" name="Forma Livre: Forma 37">
                <a:extLst>
                  <a:ext uri="{FF2B5EF4-FFF2-40B4-BE49-F238E27FC236}">
                    <a16:creationId xmlns:a16="http://schemas.microsoft.com/office/drawing/2014/main" id="{A2514D86-8ED2-4445-B140-2B68DDC5735C}"/>
                  </a:ext>
                </a:extLst>
              </p:cNvPr>
              <p:cNvSpPr/>
              <p:nvPr/>
            </p:nvSpPr>
            <p:spPr>
              <a:xfrm>
                <a:off x="672899" y="3872312"/>
                <a:ext cx="1497425" cy="1161764"/>
              </a:xfrm>
              <a:custGeom>
                <a:avLst/>
                <a:gdLst>
                  <a:gd name="connsiteX0" fmla="*/ 1382649 w 1497425"/>
                  <a:gd name="connsiteY0" fmla="*/ 444532 h 1161764"/>
                  <a:gd name="connsiteX1" fmla="*/ 1251966 w 1497425"/>
                  <a:gd name="connsiteY1" fmla="*/ 511683 h 1161764"/>
                  <a:gd name="connsiteX2" fmla="*/ 1161669 w 1497425"/>
                  <a:gd name="connsiteY2" fmla="*/ 443770 h 1161764"/>
                  <a:gd name="connsiteX3" fmla="*/ 1161669 w 1497425"/>
                  <a:gd name="connsiteY3" fmla="*/ 104870 h 1161764"/>
                  <a:gd name="connsiteX4" fmla="*/ 1056894 w 1497425"/>
                  <a:gd name="connsiteY4" fmla="*/ 0 h 1161764"/>
                  <a:gd name="connsiteX5" fmla="*/ 717995 w 1497425"/>
                  <a:gd name="connsiteY5" fmla="*/ 0 h 1161764"/>
                  <a:gd name="connsiteX6" fmla="*/ 650081 w 1497425"/>
                  <a:gd name="connsiteY6" fmla="*/ 90297 h 1161764"/>
                  <a:gd name="connsiteX7" fmla="*/ 717233 w 1497425"/>
                  <a:gd name="connsiteY7" fmla="*/ 220980 h 1161764"/>
                  <a:gd name="connsiteX8" fmla="*/ 580835 w 1497425"/>
                  <a:gd name="connsiteY8" fmla="*/ 335756 h 1161764"/>
                  <a:gd name="connsiteX9" fmla="*/ 444532 w 1497425"/>
                  <a:gd name="connsiteY9" fmla="*/ 220980 h 1161764"/>
                  <a:gd name="connsiteX10" fmla="*/ 511683 w 1497425"/>
                  <a:gd name="connsiteY10" fmla="*/ 90297 h 1161764"/>
                  <a:gd name="connsiteX11" fmla="*/ 443770 w 1497425"/>
                  <a:gd name="connsiteY11" fmla="*/ 0 h 1161764"/>
                  <a:gd name="connsiteX12" fmla="*/ 104870 w 1497425"/>
                  <a:gd name="connsiteY12" fmla="*/ 0 h 1161764"/>
                  <a:gd name="connsiteX13" fmla="*/ 0 w 1497425"/>
                  <a:gd name="connsiteY13" fmla="*/ 104870 h 1161764"/>
                  <a:gd name="connsiteX14" fmla="*/ 0 w 1497425"/>
                  <a:gd name="connsiteY14" fmla="*/ 443770 h 1161764"/>
                  <a:gd name="connsiteX15" fmla="*/ 90297 w 1497425"/>
                  <a:gd name="connsiteY15" fmla="*/ 511683 h 1161764"/>
                  <a:gd name="connsiteX16" fmla="*/ 220980 w 1497425"/>
                  <a:gd name="connsiteY16" fmla="*/ 444532 h 1161764"/>
                  <a:gd name="connsiteX17" fmla="*/ 335756 w 1497425"/>
                  <a:gd name="connsiteY17" fmla="*/ 580930 h 1161764"/>
                  <a:gd name="connsiteX18" fmla="*/ 220980 w 1497425"/>
                  <a:gd name="connsiteY18" fmla="*/ 717232 h 1161764"/>
                  <a:gd name="connsiteX19" fmla="*/ 90297 w 1497425"/>
                  <a:gd name="connsiteY19" fmla="*/ 650081 h 1161764"/>
                  <a:gd name="connsiteX20" fmla="*/ 0 w 1497425"/>
                  <a:gd name="connsiteY20" fmla="*/ 717994 h 1161764"/>
                  <a:gd name="connsiteX21" fmla="*/ 0 w 1497425"/>
                  <a:gd name="connsiteY21" fmla="*/ 1056894 h 1161764"/>
                  <a:gd name="connsiteX22" fmla="*/ 104870 w 1497425"/>
                  <a:gd name="connsiteY22" fmla="*/ 1161764 h 1161764"/>
                  <a:gd name="connsiteX23" fmla="*/ 443770 w 1497425"/>
                  <a:gd name="connsiteY23" fmla="*/ 1161764 h 1161764"/>
                  <a:gd name="connsiteX24" fmla="*/ 511683 w 1497425"/>
                  <a:gd name="connsiteY24" fmla="*/ 1071467 h 1161764"/>
                  <a:gd name="connsiteX25" fmla="*/ 444532 w 1497425"/>
                  <a:gd name="connsiteY25" fmla="*/ 940784 h 1161764"/>
                  <a:gd name="connsiteX26" fmla="*/ 580930 w 1497425"/>
                  <a:gd name="connsiteY26" fmla="*/ 826008 h 1161764"/>
                  <a:gd name="connsiteX27" fmla="*/ 717233 w 1497425"/>
                  <a:gd name="connsiteY27" fmla="*/ 940784 h 1161764"/>
                  <a:gd name="connsiteX28" fmla="*/ 650081 w 1497425"/>
                  <a:gd name="connsiteY28" fmla="*/ 1071467 h 1161764"/>
                  <a:gd name="connsiteX29" fmla="*/ 717995 w 1497425"/>
                  <a:gd name="connsiteY29" fmla="*/ 1161764 h 1161764"/>
                  <a:gd name="connsiteX30" fmla="*/ 1056894 w 1497425"/>
                  <a:gd name="connsiteY30" fmla="*/ 1161764 h 1161764"/>
                  <a:gd name="connsiteX31" fmla="*/ 1161669 w 1497425"/>
                  <a:gd name="connsiteY31" fmla="*/ 1056894 h 1161764"/>
                  <a:gd name="connsiteX32" fmla="*/ 1161669 w 1497425"/>
                  <a:gd name="connsiteY32" fmla="*/ 717994 h 1161764"/>
                  <a:gd name="connsiteX33" fmla="*/ 1251966 w 1497425"/>
                  <a:gd name="connsiteY33" fmla="*/ 650081 h 1161764"/>
                  <a:gd name="connsiteX34" fmla="*/ 1382649 w 1497425"/>
                  <a:gd name="connsiteY34" fmla="*/ 717232 h 1161764"/>
                  <a:gd name="connsiteX35" fmla="*/ 1497425 w 1497425"/>
                  <a:gd name="connsiteY35" fmla="*/ 580930 h 1161764"/>
                  <a:gd name="connsiteX36" fmla="*/ 1382649 w 1497425"/>
                  <a:gd name="connsiteY36" fmla="*/ 444532 h 1161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1497425" h="1161764">
                    <a:moveTo>
                      <a:pt x="1382649" y="444532"/>
                    </a:moveTo>
                    <a:cubicBezTo>
                      <a:pt x="1335786" y="445294"/>
                      <a:pt x="1304735" y="511683"/>
                      <a:pt x="1251966" y="511683"/>
                    </a:cubicBezTo>
                    <a:cubicBezTo>
                      <a:pt x="1181767" y="511683"/>
                      <a:pt x="1161669" y="443770"/>
                      <a:pt x="1161669" y="443770"/>
                    </a:cubicBezTo>
                    <a:lnTo>
                      <a:pt x="1161669" y="104870"/>
                    </a:lnTo>
                    <a:cubicBezTo>
                      <a:pt x="1161669" y="46958"/>
                      <a:pt x="1114711" y="0"/>
                      <a:pt x="1056894" y="0"/>
                    </a:cubicBezTo>
                    <a:lnTo>
                      <a:pt x="717995" y="0"/>
                    </a:lnTo>
                    <a:cubicBezTo>
                      <a:pt x="717995" y="0"/>
                      <a:pt x="650081" y="20098"/>
                      <a:pt x="650081" y="90297"/>
                    </a:cubicBezTo>
                    <a:cubicBezTo>
                      <a:pt x="650081" y="143065"/>
                      <a:pt x="716471" y="174117"/>
                      <a:pt x="717233" y="220980"/>
                    </a:cubicBezTo>
                    <a:cubicBezTo>
                      <a:pt x="717995" y="272605"/>
                      <a:pt x="658178" y="335280"/>
                      <a:pt x="580835" y="335756"/>
                    </a:cubicBezTo>
                    <a:cubicBezTo>
                      <a:pt x="503587" y="335280"/>
                      <a:pt x="443675" y="272605"/>
                      <a:pt x="444532" y="220980"/>
                    </a:cubicBezTo>
                    <a:cubicBezTo>
                      <a:pt x="445198" y="174117"/>
                      <a:pt x="511683" y="143065"/>
                      <a:pt x="511683" y="90297"/>
                    </a:cubicBezTo>
                    <a:cubicBezTo>
                      <a:pt x="511683" y="20098"/>
                      <a:pt x="443770" y="0"/>
                      <a:pt x="443770" y="0"/>
                    </a:cubicBezTo>
                    <a:lnTo>
                      <a:pt x="104870" y="0"/>
                    </a:lnTo>
                    <a:cubicBezTo>
                      <a:pt x="46958" y="0"/>
                      <a:pt x="0" y="46958"/>
                      <a:pt x="0" y="104870"/>
                    </a:cubicBezTo>
                    <a:lnTo>
                      <a:pt x="0" y="443770"/>
                    </a:lnTo>
                    <a:cubicBezTo>
                      <a:pt x="0" y="443770"/>
                      <a:pt x="20098" y="511683"/>
                      <a:pt x="90297" y="511683"/>
                    </a:cubicBezTo>
                    <a:cubicBezTo>
                      <a:pt x="143066" y="511683"/>
                      <a:pt x="174117" y="445294"/>
                      <a:pt x="220980" y="444532"/>
                    </a:cubicBezTo>
                    <a:cubicBezTo>
                      <a:pt x="272606" y="443770"/>
                      <a:pt x="335280" y="503587"/>
                      <a:pt x="335756" y="580930"/>
                    </a:cubicBezTo>
                    <a:cubicBezTo>
                      <a:pt x="335280" y="658177"/>
                      <a:pt x="272606" y="718090"/>
                      <a:pt x="220980" y="717232"/>
                    </a:cubicBezTo>
                    <a:cubicBezTo>
                      <a:pt x="174117" y="716566"/>
                      <a:pt x="143066" y="650081"/>
                      <a:pt x="90297" y="650081"/>
                    </a:cubicBezTo>
                    <a:cubicBezTo>
                      <a:pt x="20098" y="650081"/>
                      <a:pt x="0" y="717994"/>
                      <a:pt x="0" y="717994"/>
                    </a:cubicBezTo>
                    <a:lnTo>
                      <a:pt x="0" y="1056894"/>
                    </a:lnTo>
                    <a:cubicBezTo>
                      <a:pt x="0" y="1114806"/>
                      <a:pt x="46958" y="1161764"/>
                      <a:pt x="104870" y="1161764"/>
                    </a:cubicBezTo>
                    <a:lnTo>
                      <a:pt x="443770" y="1161764"/>
                    </a:lnTo>
                    <a:cubicBezTo>
                      <a:pt x="443770" y="1161764"/>
                      <a:pt x="511683" y="1141666"/>
                      <a:pt x="511683" y="1071467"/>
                    </a:cubicBezTo>
                    <a:cubicBezTo>
                      <a:pt x="511683" y="1018699"/>
                      <a:pt x="445294" y="987647"/>
                      <a:pt x="444532" y="940784"/>
                    </a:cubicBezTo>
                    <a:cubicBezTo>
                      <a:pt x="443770" y="889159"/>
                      <a:pt x="503587" y="826484"/>
                      <a:pt x="580930" y="826008"/>
                    </a:cubicBezTo>
                    <a:cubicBezTo>
                      <a:pt x="658178" y="826484"/>
                      <a:pt x="718090" y="889159"/>
                      <a:pt x="717233" y="940784"/>
                    </a:cubicBezTo>
                    <a:cubicBezTo>
                      <a:pt x="716566" y="987647"/>
                      <a:pt x="650081" y="1018699"/>
                      <a:pt x="650081" y="1071467"/>
                    </a:cubicBezTo>
                    <a:cubicBezTo>
                      <a:pt x="650081" y="1141666"/>
                      <a:pt x="717995" y="1161764"/>
                      <a:pt x="717995" y="1161764"/>
                    </a:cubicBezTo>
                    <a:lnTo>
                      <a:pt x="1056894" y="1161764"/>
                    </a:lnTo>
                    <a:cubicBezTo>
                      <a:pt x="1114806" y="1161764"/>
                      <a:pt x="1161669" y="1114806"/>
                      <a:pt x="1161669" y="1056894"/>
                    </a:cubicBezTo>
                    <a:lnTo>
                      <a:pt x="1161669" y="717994"/>
                    </a:lnTo>
                    <a:cubicBezTo>
                      <a:pt x="1161669" y="717994"/>
                      <a:pt x="1181767" y="650081"/>
                      <a:pt x="1251966" y="650081"/>
                    </a:cubicBezTo>
                    <a:cubicBezTo>
                      <a:pt x="1304735" y="650081"/>
                      <a:pt x="1335786" y="716471"/>
                      <a:pt x="1382649" y="717232"/>
                    </a:cubicBezTo>
                    <a:cubicBezTo>
                      <a:pt x="1434275" y="717994"/>
                      <a:pt x="1496949" y="658177"/>
                      <a:pt x="1497425" y="580930"/>
                    </a:cubicBezTo>
                    <a:cubicBezTo>
                      <a:pt x="1496949" y="503587"/>
                      <a:pt x="1434275" y="443770"/>
                      <a:pt x="1382649" y="444532"/>
                    </a:cubicBezTo>
                    <a:close/>
                  </a:path>
                </a:pathLst>
              </a:custGeom>
              <a:gradFill flip="none" rotWithShape="1">
                <a:gsLst>
                  <a:gs pos="100000">
                    <a:srgbClr val="000224"/>
                  </a:gs>
                  <a:gs pos="0">
                    <a:srgbClr val="024F92"/>
                  </a:gs>
                </a:gsLst>
                <a:lin ang="1800000" scaled="0"/>
                <a:tileRect/>
              </a:gradFill>
              <a:ln w="25400">
                <a:solidFill>
                  <a:srgbClr val="E6E6E6"/>
                </a:solidFill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7" name="Forma Livre: Forma 46">
                <a:extLst>
                  <a:ext uri="{FF2B5EF4-FFF2-40B4-BE49-F238E27FC236}">
                    <a16:creationId xmlns:a16="http://schemas.microsoft.com/office/drawing/2014/main" id="{98AA2E5D-89B9-475D-9A8F-B2CB87B2614C}"/>
                  </a:ext>
                </a:extLst>
              </p:cNvPr>
              <p:cNvSpPr/>
              <p:nvPr/>
            </p:nvSpPr>
            <p:spPr>
              <a:xfrm>
                <a:off x="337429" y="2374792"/>
                <a:ext cx="1497425" cy="1833181"/>
              </a:xfrm>
              <a:custGeom>
                <a:avLst/>
                <a:gdLst>
                  <a:gd name="connsiteX0" fmla="*/ 1276350 w 1497425"/>
                  <a:gd name="connsiteY0" fmla="*/ 780288 h 1833181"/>
                  <a:gd name="connsiteX1" fmla="*/ 1407033 w 1497425"/>
                  <a:gd name="connsiteY1" fmla="*/ 847439 h 1833181"/>
                  <a:gd name="connsiteX2" fmla="*/ 1497330 w 1497425"/>
                  <a:gd name="connsiteY2" fmla="*/ 779526 h 1833181"/>
                  <a:gd name="connsiteX3" fmla="*/ 1497330 w 1497425"/>
                  <a:gd name="connsiteY3" fmla="*/ 440627 h 1833181"/>
                  <a:gd name="connsiteX4" fmla="*/ 1392460 w 1497425"/>
                  <a:gd name="connsiteY4" fmla="*/ 335756 h 1833181"/>
                  <a:gd name="connsiteX5" fmla="*/ 1053560 w 1497425"/>
                  <a:gd name="connsiteY5" fmla="*/ 335756 h 1833181"/>
                  <a:gd name="connsiteX6" fmla="*/ 985647 w 1497425"/>
                  <a:gd name="connsiteY6" fmla="*/ 245459 h 1833181"/>
                  <a:gd name="connsiteX7" fmla="*/ 1052798 w 1497425"/>
                  <a:gd name="connsiteY7" fmla="*/ 114776 h 1833181"/>
                  <a:gd name="connsiteX8" fmla="*/ 916496 w 1497425"/>
                  <a:gd name="connsiteY8" fmla="*/ 0 h 1833181"/>
                  <a:gd name="connsiteX9" fmla="*/ 780098 w 1497425"/>
                  <a:gd name="connsiteY9" fmla="*/ 114776 h 1833181"/>
                  <a:gd name="connsiteX10" fmla="*/ 847249 w 1497425"/>
                  <a:gd name="connsiteY10" fmla="*/ 245459 h 1833181"/>
                  <a:gd name="connsiteX11" fmla="*/ 779336 w 1497425"/>
                  <a:gd name="connsiteY11" fmla="*/ 335756 h 1833181"/>
                  <a:gd name="connsiteX12" fmla="*/ 440531 w 1497425"/>
                  <a:gd name="connsiteY12" fmla="*/ 335756 h 1833181"/>
                  <a:gd name="connsiteX13" fmla="*/ 335756 w 1497425"/>
                  <a:gd name="connsiteY13" fmla="*/ 440627 h 1833181"/>
                  <a:gd name="connsiteX14" fmla="*/ 335756 w 1497425"/>
                  <a:gd name="connsiteY14" fmla="*/ 779526 h 1833181"/>
                  <a:gd name="connsiteX15" fmla="*/ 245459 w 1497425"/>
                  <a:gd name="connsiteY15" fmla="*/ 847439 h 1833181"/>
                  <a:gd name="connsiteX16" fmla="*/ 114776 w 1497425"/>
                  <a:gd name="connsiteY16" fmla="*/ 780288 h 1833181"/>
                  <a:gd name="connsiteX17" fmla="*/ 0 w 1497425"/>
                  <a:gd name="connsiteY17" fmla="*/ 916591 h 1833181"/>
                  <a:gd name="connsiteX18" fmla="*/ 114776 w 1497425"/>
                  <a:gd name="connsiteY18" fmla="*/ 1052989 h 1833181"/>
                  <a:gd name="connsiteX19" fmla="*/ 245459 w 1497425"/>
                  <a:gd name="connsiteY19" fmla="*/ 985837 h 1833181"/>
                  <a:gd name="connsiteX20" fmla="*/ 335756 w 1497425"/>
                  <a:gd name="connsiteY20" fmla="*/ 1053751 h 1833181"/>
                  <a:gd name="connsiteX21" fmla="*/ 335756 w 1497425"/>
                  <a:gd name="connsiteY21" fmla="*/ 1392650 h 1833181"/>
                  <a:gd name="connsiteX22" fmla="*/ 440531 w 1497425"/>
                  <a:gd name="connsiteY22" fmla="*/ 1497425 h 1833181"/>
                  <a:gd name="connsiteX23" fmla="*/ 779431 w 1497425"/>
                  <a:gd name="connsiteY23" fmla="*/ 1497425 h 1833181"/>
                  <a:gd name="connsiteX24" fmla="*/ 847344 w 1497425"/>
                  <a:gd name="connsiteY24" fmla="*/ 1587722 h 1833181"/>
                  <a:gd name="connsiteX25" fmla="*/ 780193 w 1497425"/>
                  <a:gd name="connsiteY25" fmla="*/ 1718405 h 1833181"/>
                  <a:gd name="connsiteX26" fmla="*/ 916496 w 1497425"/>
                  <a:gd name="connsiteY26" fmla="*/ 1833182 h 1833181"/>
                  <a:gd name="connsiteX27" fmla="*/ 1052894 w 1497425"/>
                  <a:gd name="connsiteY27" fmla="*/ 1718405 h 1833181"/>
                  <a:gd name="connsiteX28" fmla="*/ 985742 w 1497425"/>
                  <a:gd name="connsiteY28" fmla="*/ 1587722 h 1833181"/>
                  <a:gd name="connsiteX29" fmla="*/ 1053656 w 1497425"/>
                  <a:gd name="connsiteY29" fmla="*/ 1497425 h 1833181"/>
                  <a:gd name="connsiteX30" fmla="*/ 1392555 w 1497425"/>
                  <a:gd name="connsiteY30" fmla="*/ 1497425 h 1833181"/>
                  <a:gd name="connsiteX31" fmla="*/ 1497425 w 1497425"/>
                  <a:gd name="connsiteY31" fmla="*/ 1392650 h 1833181"/>
                  <a:gd name="connsiteX32" fmla="*/ 1497425 w 1497425"/>
                  <a:gd name="connsiteY32" fmla="*/ 1053751 h 1833181"/>
                  <a:gd name="connsiteX33" fmla="*/ 1407128 w 1497425"/>
                  <a:gd name="connsiteY33" fmla="*/ 985837 h 1833181"/>
                  <a:gd name="connsiteX34" fmla="*/ 1276445 w 1497425"/>
                  <a:gd name="connsiteY34" fmla="*/ 1052989 h 1833181"/>
                  <a:gd name="connsiteX35" fmla="*/ 1161669 w 1497425"/>
                  <a:gd name="connsiteY35" fmla="*/ 916591 h 1833181"/>
                  <a:gd name="connsiteX36" fmla="*/ 1276350 w 1497425"/>
                  <a:gd name="connsiteY36" fmla="*/ 780288 h 1833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1497425" h="1833181">
                    <a:moveTo>
                      <a:pt x="1276350" y="780288"/>
                    </a:moveTo>
                    <a:cubicBezTo>
                      <a:pt x="1323213" y="780955"/>
                      <a:pt x="1354265" y="847439"/>
                      <a:pt x="1407033" y="847439"/>
                    </a:cubicBezTo>
                    <a:cubicBezTo>
                      <a:pt x="1477232" y="847439"/>
                      <a:pt x="1497330" y="779526"/>
                      <a:pt x="1497330" y="779526"/>
                    </a:cubicBezTo>
                    <a:lnTo>
                      <a:pt x="1497330" y="440627"/>
                    </a:lnTo>
                    <a:cubicBezTo>
                      <a:pt x="1497330" y="382715"/>
                      <a:pt x="1450372" y="335756"/>
                      <a:pt x="1392460" y="335756"/>
                    </a:cubicBezTo>
                    <a:lnTo>
                      <a:pt x="1053560" y="335756"/>
                    </a:lnTo>
                    <a:cubicBezTo>
                      <a:pt x="1053560" y="335756"/>
                      <a:pt x="985647" y="315658"/>
                      <a:pt x="985647" y="245459"/>
                    </a:cubicBezTo>
                    <a:cubicBezTo>
                      <a:pt x="985647" y="192691"/>
                      <a:pt x="1052036" y="161639"/>
                      <a:pt x="1052798" y="114776"/>
                    </a:cubicBezTo>
                    <a:cubicBezTo>
                      <a:pt x="1053560" y="63151"/>
                      <a:pt x="993743" y="476"/>
                      <a:pt x="916496" y="0"/>
                    </a:cubicBezTo>
                    <a:cubicBezTo>
                      <a:pt x="839248" y="476"/>
                      <a:pt x="779336" y="63151"/>
                      <a:pt x="780098" y="114776"/>
                    </a:cubicBezTo>
                    <a:cubicBezTo>
                      <a:pt x="780860" y="161639"/>
                      <a:pt x="847249" y="192691"/>
                      <a:pt x="847249" y="245459"/>
                    </a:cubicBezTo>
                    <a:cubicBezTo>
                      <a:pt x="847249" y="315658"/>
                      <a:pt x="779336" y="335756"/>
                      <a:pt x="779336" y="335756"/>
                    </a:cubicBezTo>
                    <a:lnTo>
                      <a:pt x="440531" y="335756"/>
                    </a:lnTo>
                    <a:cubicBezTo>
                      <a:pt x="382619" y="335756"/>
                      <a:pt x="335756" y="382715"/>
                      <a:pt x="335756" y="440627"/>
                    </a:cubicBezTo>
                    <a:lnTo>
                      <a:pt x="335756" y="779526"/>
                    </a:lnTo>
                    <a:cubicBezTo>
                      <a:pt x="335756" y="779526"/>
                      <a:pt x="315659" y="847439"/>
                      <a:pt x="245459" y="847439"/>
                    </a:cubicBezTo>
                    <a:cubicBezTo>
                      <a:pt x="192691" y="847439"/>
                      <a:pt x="161639" y="781050"/>
                      <a:pt x="114776" y="780288"/>
                    </a:cubicBezTo>
                    <a:cubicBezTo>
                      <a:pt x="63151" y="779526"/>
                      <a:pt x="476" y="839343"/>
                      <a:pt x="0" y="916591"/>
                    </a:cubicBezTo>
                    <a:cubicBezTo>
                      <a:pt x="476" y="993839"/>
                      <a:pt x="63151" y="1053751"/>
                      <a:pt x="114776" y="1052989"/>
                    </a:cubicBezTo>
                    <a:cubicBezTo>
                      <a:pt x="161639" y="1052227"/>
                      <a:pt x="192691" y="985837"/>
                      <a:pt x="245459" y="985837"/>
                    </a:cubicBezTo>
                    <a:cubicBezTo>
                      <a:pt x="315659" y="985837"/>
                      <a:pt x="335756" y="1053751"/>
                      <a:pt x="335756" y="1053751"/>
                    </a:cubicBezTo>
                    <a:lnTo>
                      <a:pt x="335756" y="1392650"/>
                    </a:lnTo>
                    <a:cubicBezTo>
                      <a:pt x="335756" y="1450562"/>
                      <a:pt x="382715" y="1497425"/>
                      <a:pt x="440531" y="1497425"/>
                    </a:cubicBezTo>
                    <a:lnTo>
                      <a:pt x="779431" y="1497425"/>
                    </a:lnTo>
                    <a:cubicBezTo>
                      <a:pt x="779431" y="1497425"/>
                      <a:pt x="847344" y="1517523"/>
                      <a:pt x="847344" y="1587722"/>
                    </a:cubicBezTo>
                    <a:cubicBezTo>
                      <a:pt x="847344" y="1640491"/>
                      <a:pt x="780955" y="1671542"/>
                      <a:pt x="780193" y="1718405"/>
                    </a:cubicBezTo>
                    <a:cubicBezTo>
                      <a:pt x="779431" y="1770031"/>
                      <a:pt x="839248" y="1832705"/>
                      <a:pt x="916496" y="1833182"/>
                    </a:cubicBezTo>
                    <a:cubicBezTo>
                      <a:pt x="993743" y="1832705"/>
                      <a:pt x="1053656" y="1770031"/>
                      <a:pt x="1052894" y="1718405"/>
                    </a:cubicBezTo>
                    <a:cubicBezTo>
                      <a:pt x="1052132" y="1671542"/>
                      <a:pt x="985742" y="1640491"/>
                      <a:pt x="985742" y="1587722"/>
                    </a:cubicBezTo>
                    <a:cubicBezTo>
                      <a:pt x="985742" y="1517523"/>
                      <a:pt x="1053656" y="1497425"/>
                      <a:pt x="1053656" y="1497425"/>
                    </a:cubicBezTo>
                    <a:lnTo>
                      <a:pt x="1392555" y="1497425"/>
                    </a:lnTo>
                    <a:cubicBezTo>
                      <a:pt x="1450467" y="1497425"/>
                      <a:pt x="1497425" y="1450467"/>
                      <a:pt x="1497425" y="1392650"/>
                    </a:cubicBezTo>
                    <a:lnTo>
                      <a:pt x="1497425" y="1053751"/>
                    </a:lnTo>
                    <a:cubicBezTo>
                      <a:pt x="1497425" y="1053751"/>
                      <a:pt x="1477328" y="985837"/>
                      <a:pt x="1407128" y="985837"/>
                    </a:cubicBezTo>
                    <a:cubicBezTo>
                      <a:pt x="1354360" y="985837"/>
                      <a:pt x="1323308" y="1052227"/>
                      <a:pt x="1276445" y="1052989"/>
                    </a:cubicBezTo>
                    <a:cubicBezTo>
                      <a:pt x="1224820" y="1053751"/>
                      <a:pt x="1162145" y="993934"/>
                      <a:pt x="1161669" y="916591"/>
                    </a:cubicBezTo>
                    <a:cubicBezTo>
                      <a:pt x="1162050" y="839438"/>
                      <a:pt x="1224725" y="779526"/>
                      <a:pt x="1276350" y="780288"/>
                    </a:cubicBezTo>
                    <a:close/>
                  </a:path>
                </a:pathLst>
              </a:custGeom>
              <a:gradFill flip="none" rotWithShape="1">
                <a:gsLst>
                  <a:gs pos="100000">
                    <a:srgbClr val="FF5900"/>
                  </a:gs>
                  <a:gs pos="0">
                    <a:srgbClr val="FD9D00"/>
                  </a:gs>
                </a:gsLst>
                <a:lin ang="1800000" scaled="0"/>
                <a:tileRect/>
              </a:gradFill>
              <a:ln w="25400">
                <a:solidFill>
                  <a:srgbClr val="E6E6E6"/>
                </a:solidFill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0" name="Forma Livre: Forma 49">
                <a:extLst>
                  <a:ext uri="{FF2B5EF4-FFF2-40B4-BE49-F238E27FC236}">
                    <a16:creationId xmlns:a16="http://schemas.microsoft.com/office/drawing/2014/main" id="{C8D80A68-1B40-4DD2-BAE3-5E78655319A5}"/>
                  </a:ext>
                </a:extLst>
              </p:cNvPr>
              <p:cNvSpPr/>
              <p:nvPr/>
            </p:nvSpPr>
            <p:spPr>
              <a:xfrm>
                <a:off x="673471" y="1212647"/>
                <a:ext cx="1497520" cy="1497425"/>
              </a:xfrm>
              <a:custGeom>
                <a:avLst/>
                <a:gdLst>
                  <a:gd name="connsiteX0" fmla="*/ 1382649 w 1497520"/>
                  <a:gd name="connsiteY0" fmla="*/ 780193 h 1497425"/>
                  <a:gd name="connsiteX1" fmla="*/ 1251966 w 1497520"/>
                  <a:gd name="connsiteY1" fmla="*/ 847344 h 1497425"/>
                  <a:gd name="connsiteX2" fmla="*/ 1161669 w 1497520"/>
                  <a:gd name="connsiteY2" fmla="*/ 779431 h 1497425"/>
                  <a:gd name="connsiteX3" fmla="*/ 1161669 w 1497520"/>
                  <a:gd name="connsiteY3" fmla="*/ 440626 h 1497425"/>
                  <a:gd name="connsiteX4" fmla="*/ 1056894 w 1497520"/>
                  <a:gd name="connsiteY4" fmla="*/ 335756 h 1497425"/>
                  <a:gd name="connsiteX5" fmla="*/ 717995 w 1497520"/>
                  <a:gd name="connsiteY5" fmla="*/ 335756 h 1497425"/>
                  <a:gd name="connsiteX6" fmla="*/ 650081 w 1497520"/>
                  <a:gd name="connsiteY6" fmla="*/ 245459 h 1497425"/>
                  <a:gd name="connsiteX7" fmla="*/ 717233 w 1497520"/>
                  <a:gd name="connsiteY7" fmla="*/ 114776 h 1497425"/>
                  <a:gd name="connsiteX8" fmla="*/ 580835 w 1497520"/>
                  <a:gd name="connsiteY8" fmla="*/ 0 h 1497425"/>
                  <a:gd name="connsiteX9" fmla="*/ 444437 w 1497520"/>
                  <a:gd name="connsiteY9" fmla="*/ 114776 h 1497425"/>
                  <a:gd name="connsiteX10" fmla="*/ 511588 w 1497520"/>
                  <a:gd name="connsiteY10" fmla="*/ 245459 h 1497425"/>
                  <a:gd name="connsiteX11" fmla="*/ 443674 w 1497520"/>
                  <a:gd name="connsiteY11" fmla="*/ 335756 h 1497425"/>
                  <a:gd name="connsiteX12" fmla="*/ 104870 w 1497520"/>
                  <a:gd name="connsiteY12" fmla="*/ 335756 h 1497425"/>
                  <a:gd name="connsiteX13" fmla="*/ 0 w 1497520"/>
                  <a:gd name="connsiteY13" fmla="*/ 440626 h 1497425"/>
                  <a:gd name="connsiteX14" fmla="*/ 0 w 1497520"/>
                  <a:gd name="connsiteY14" fmla="*/ 779526 h 1497425"/>
                  <a:gd name="connsiteX15" fmla="*/ 90297 w 1497520"/>
                  <a:gd name="connsiteY15" fmla="*/ 847439 h 1497425"/>
                  <a:gd name="connsiteX16" fmla="*/ 220980 w 1497520"/>
                  <a:gd name="connsiteY16" fmla="*/ 780288 h 1497425"/>
                  <a:gd name="connsiteX17" fmla="*/ 335756 w 1497520"/>
                  <a:gd name="connsiteY17" fmla="*/ 916591 h 1497425"/>
                  <a:gd name="connsiteX18" fmla="*/ 220980 w 1497520"/>
                  <a:gd name="connsiteY18" fmla="*/ 1052989 h 1497425"/>
                  <a:gd name="connsiteX19" fmla="*/ 90297 w 1497520"/>
                  <a:gd name="connsiteY19" fmla="*/ 985838 h 1497425"/>
                  <a:gd name="connsiteX20" fmla="*/ 0 w 1497520"/>
                  <a:gd name="connsiteY20" fmla="*/ 1053751 h 1497425"/>
                  <a:gd name="connsiteX21" fmla="*/ 0 w 1497520"/>
                  <a:gd name="connsiteY21" fmla="*/ 1392650 h 1497425"/>
                  <a:gd name="connsiteX22" fmla="*/ 104870 w 1497520"/>
                  <a:gd name="connsiteY22" fmla="*/ 1497425 h 1497425"/>
                  <a:gd name="connsiteX23" fmla="*/ 443770 w 1497520"/>
                  <a:gd name="connsiteY23" fmla="*/ 1497425 h 1497425"/>
                  <a:gd name="connsiteX24" fmla="*/ 511683 w 1497520"/>
                  <a:gd name="connsiteY24" fmla="*/ 1407128 h 1497425"/>
                  <a:gd name="connsiteX25" fmla="*/ 444532 w 1497520"/>
                  <a:gd name="connsiteY25" fmla="*/ 1276445 h 1497425"/>
                  <a:gd name="connsiteX26" fmla="*/ 580930 w 1497520"/>
                  <a:gd name="connsiteY26" fmla="*/ 1161669 h 1497425"/>
                  <a:gd name="connsiteX27" fmla="*/ 717328 w 1497520"/>
                  <a:gd name="connsiteY27" fmla="*/ 1276445 h 1497425"/>
                  <a:gd name="connsiteX28" fmla="*/ 650177 w 1497520"/>
                  <a:gd name="connsiteY28" fmla="*/ 1407128 h 1497425"/>
                  <a:gd name="connsiteX29" fmla="*/ 718090 w 1497520"/>
                  <a:gd name="connsiteY29" fmla="*/ 1497425 h 1497425"/>
                  <a:gd name="connsiteX30" fmla="*/ 1056989 w 1497520"/>
                  <a:gd name="connsiteY30" fmla="*/ 1497425 h 1497425"/>
                  <a:gd name="connsiteX31" fmla="*/ 1161764 w 1497520"/>
                  <a:gd name="connsiteY31" fmla="*/ 1392650 h 1497425"/>
                  <a:gd name="connsiteX32" fmla="*/ 1161764 w 1497520"/>
                  <a:gd name="connsiteY32" fmla="*/ 1053751 h 1497425"/>
                  <a:gd name="connsiteX33" fmla="*/ 1252061 w 1497520"/>
                  <a:gd name="connsiteY33" fmla="*/ 985838 h 1497425"/>
                  <a:gd name="connsiteX34" fmla="*/ 1382744 w 1497520"/>
                  <a:gd name="connsiteY34" fmla="*/ 1052989 h 1497425"/>
                  <a:gd name="connsiteX35" fmla="*/ 1497521 w 1497520"/>
                  <a:gd name="connsiteY35" fmla="*/ 916591 h 1497425"/>
                  <a:gd name="connsiteX36" fmla="*/ 1382649 w 1497520"/>
                  <a:gd name="connsiteY36" fmla="*/ 780193 h 149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1497520" h="1497425">
                    <a:moveTo>
                      <a:pt x="1382649" y="780193"/>
                    </a:moveTo>
                    <a:cubicBezTo>
                      <a:pt x="1335786" y="780860"/>
                      <a:pt x="1304735" y="847344"/>
                      <a:pt x="1251966" y="847344"/>
                    </a:cubicBezTo>
                    <a:cubicBezTo>
                      <a:pt x="1181767" y="847344"/>
                      <a:pt x="1161669" y="779431"/>
                      <a:pt x="1161669" y="779431"/>
                    </a:cubicBezTo>
                    <a:lnTo>
                      <a:pt x="1161669" y="440626"/>
                    </a:lnTo>
                    <a:cubicBezTo>
                      <a:pt x="1161669" y="382715"/>
                      <a:pt x="1114711" y="335756"/>
                      <a:pt x="1056894" y="335756"/>
                    </a:cubicBezTo>
                    <a:lnTo>
                      <a:pt x="717995" y="335756"/>
                    </a:lnTo>
                    <a:cubicBezTo>
                      <a:pt x="717995" y="335756"/>
                      <a:pt x="650081" y="315659"/>
                      <a:pt x="650081" y="245459"/>
                    </a:cubicBezTo>
                    <a:cubicBezTo>
                      <a:pt x="650081" y="192691"/>
                      <a:pt x="716471" y="161639"/>
                      <a:pt x="717233" y="114776"/>
                    </a:cubicBezTo>
                    <a:cubicBezTo>
                      <a:pt x="717995" y="63151"/>
                      <a:pt x="658178" y="476"/>
                      <a:pt x="580835" y="0"/>
                    </a:cubicBezTo>
                    <a:cubicBezTo>
                      <a:pt x="503587" y="476"/>
                      <a:pt x="443674" y="63151"/>
                      <a:pt x="444437" y="114776"/>
                    </a:cubicBezTo>
                    <a:cubicBezTo>
                      <a:pt x="445103" y="161639"/>
                      <a:pt x="511588" y="192691"/>
                      <a:pt x="511588" y="245459"/>
                    </a:cubicBezTo>
                    <a:cubicBezTo>
                      <a:pt x="511588" y="315659"/>
                      <a:pt x="443674" y="335756"/>
                      <a:pt x="443674" y="335756"/>
                    </a:cubicBezTo>
                    <a:lnTo>
                      <a:pt x="104870" y="335756"/>
                    </a:lnTo>
                    <a:cubicBezTo>
                      <a:pt x="46958" y="335756"/>
                      <a:pt x="0" y="382715"/>
                      <a:pt x="0" y="440626"/>
                    </a:cubicBezTo>
                    <a:lnTo>
                      <a:pt x="0" y="779526"/>
                    </a:lnTo>
                    <a:cubicBezTo>
                      <a:pt x="0" y="779526"/>
                      <a:pt x="20098" y="847439"/>
                      <a:pt x="90297" y="847439"/>
                    </a:cubicBezTo>
                    <a:cubicBezTo>
                      <a:pt x="143066" y="847439"/>
                      <a:pt x="174117" y="781050"/>
                      <a:pt x="220980" y="780288"/>
                    </a:cubicBezTo>
                    <a:cubicBezTo>
                      <a:pt x="272606" y="779526"/>
                      <a:pt x="335280" y="839343"/>
                      <a:pt x="335756" y="916591"/>
                    </a:cubicBezTo>
                    <a:cubicBezTo>
                      <a:pt x="335280" y="993838"/>
                      <a:pt x="272606" y="1053751"/>
                      <a:pt x="220980" y="1052989"/>
                    </a:cubicBezTo>
                    <a:cubicBezTo>
                      <a:pt x="174117" y="1052227"/>
                      <a:pt x="143066" y="985838"/>
                      <a:pt x="90297" y="985838"/>
                    </a:cubicBezTo>
                    <a:cubicBezTo>
                      <a:pt x="20098" y="985838"/>
                      <a:pt x="0" y="1053751"/>
                      <a:pt x="0" y="1053751"/>
                    </a:cubicBezTo>
                    <a:lnTo>
                      <a:pt x="0" y="1392650"/>
                    </a:lnTo>
                    <a:cubicBezTo>
                      <a:pt x="0" y="1450562"/>
                      <a:pt x="46958" y="1497425"/>
                      <a:pt x="104870" y="1497425"/>
                    </a:cubicBezTo>
                    <a:lnTo>
                      <a:pt x="443770" y="1497425"/>
                    </a:lnTo>
                    <a:cubicBezTo>
                      <a:pt x="443770" y="1497425"/>
                      <a:pt x="511683" y="1477328"/>
                      <a:pt x="511683" y="1407128"/>
                    </a:cubicBezTo>
                    <a:cubicBezTo>
                      <a:pt x="511683" y="1354360"/>
                      <a:pt x="445294" y="1323308"/>
                      <a:pt x="444532" y="1276445"/>
                    </a:cubicBezTo>
                    <a:cubicBezTo>
                      <a:pt x="443770" y="1224820"/>
                      <a:pt x="503587" y="1162145"/>
                      <a:pt x="580930" y="1161669"/>
                    </a:cubicBezTo>
                    <a:cubicBezTo>
                      <a:pt x="658178" y="1162145"/>
                      <a:pt x="718090" y="1224820"/>
                      <a:pt x="717328" y="1276445"/>
                    </a:cubicBezTo>
                    <a:cubicBezTo>
                      <a:pt x="716566" y="1323308"/>
                      <a:pt x="650177" y="1354360"/>
                      <a:pt x="650177" y="1407128"/>
                    </a:cubicBezTo>
                    <a:cubicBezTo>
                      <a:pt x="650177" y="1477328"/>
                      <a:pt x="718090" y="1497425"/>
                      <a:pt x="718090" y="1497425"/>
                    </a:cubicBezTo>
                    <a:lnTo>
                      <a:pt x="1056989" y="1497425"/>
                    </a:lnTo>
                    <a:cubicBezTo>
                      <a:pt x="1114901" y="1497425"/>
                      <a:pt x="1161764" y="1450467"/>
                      <a:pt x="1161764" y="1392650"/>
                    </a:cubicBezTo>
                    <a:lnTo>
                      <a:pt x="1161764" y="1053751"/>
                    </a:lnTo>
                    <a:cubicBezTo>
                      <a:pt x="1161764" y="1053751"/>
                      <a:pt x="1181862" y="985838"/>
                      <a:pt x="1252061" y="985838"/>
                    </a:cubicBezTo>
                    <a:cubicBezTo>
                      <a:pt x="1304830" y="985838"/>
                      <a:pt x="1335881" y="1052227"/>
                      <a:pt x="1382744" y="1052989"/>
                    </a:cubicBezTo>
                    <a:cubicBezTo>
                      <a:pt x="1434370" y="1053751"/>
                      <a:pt x="1497044" y="993934"/>
                      <a:pt x="1497521" y="916591"/>
                    </a:cubicBezTo>
                    <a:cubicBezTo>
                      <a:pt x="1497044" y="839343"/>
                      <a:pt x="1434275" y="779431"/>
                      <a:pt x="1382649" y="780193"/>
                    </a:cubicBezTo>
                    <a:close/>
                  </a:path>
                </a:pathLst>
              </a:custGeom>
              <a:gradFill flip="none" rotWithShape="1">
                <a:gsLst>
                  <a:gs pos="100000">
                    <a:srgbClr val="FDA100"/>
                  </a:gs>
                  <a:gs pos="0">
                    <a:schemeClr val="accent4"/>
                  </a:gs>
                </a:gsLst>
                <a:lin ang="1800000" scaled="0"/>
                <a:tileRect/>
              </a:gradFill>
              <a:ln w="25400">
                <a:solidFill>
                  <a:srgbClr val="E6E6E6"/>
                </a:solidFill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34" name="CaixaDeTexto 133">
              <a:extLst>
                <a:ext uri="{FF2B5EF4-FFF2-40B4-BE49-F238E27FC236}">
                  <a16:creationId xmlns:a16="http://schemas.microsoft.com/office/drawing/2014/main" id="{0657124F-78AF-4DEB-A816-729B3BA18D89}"/>
                </a:ext>
              </a:extLst>
            </p:cNvPr>
            <p:cNvSpPr txBox="1"/>
            <p:nvPr/>
          </p:nvSpPr>
          <p:spPr>
            <a:xfrm>
              <a:off x="2231358" y="1672793"/>
              <a:ext cx="2214868" cy="7017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1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Reclamações (</a:t>
              </a:r>
              <a:r>
                <a:rPr kumimoji="0" lang="pt-BR" sz="1100" b="1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FQs</a:t>
              </a:r>
              <a:r>
                <a:rPr kumimoji="0" lang="pt-BR" sz="11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, HQs, BP4)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1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NPS (_</a:t>
              </a:r>
              <a:r>
                <a:rPr kumimoji="0" lang="pt-BR" sz="1100" b="1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gis</a:t>
              </a:r>
              <a:r>
                <a:rPr kumimoji="0" lang="pt-BR" sz="11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)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100" b="1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Likert</a:t>
              </a:r>
              <a:r>
                <a:rPr kumimoji="0" lang="pt-BR" sz="11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 (</a:t>
              </a:r>
              <a:r>
                <a:rPr kumimoji="0" lang="pt-BR" sz="1100" b="1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Medallia</a:t>
              </a:r>
              <a:r>
                <a:rPr kumimoji="0" lang="pt-BR" sz="11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)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1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Speech </a:t>
              </a:r>
              <a:r>
                <a:rPr kumimoji="0" lang="pt-BR" sz="1100" b="1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Analytics</a:t>
              </a:r>
              <a:r>
                <a:rPr kumimoji="0" lang="pt-BR" sz="11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 (Monitoria 2.0)</a:t>
              </a:r>
            </a:p>
          </p:txBody>
        </p:sp>
        <p:sp>
          <p:nvSpPr>
            <p:cNvPr id="135" name="CaixaDeTexto 134">
              <a:extLst>
                <a:ext uri="{FF2B5EF4-FFF2-40B4-BE49-F238E27FC236}">
                  <a16:creationId xmlns:a16="http://schemas.microsoft.com/office/drawing/2014/main" id="{37A789ED-0A15-485E-85E2-87E4D0156D96}"/>
                </a:ext>
              </a:extLst>
            </p:cNvPr>
            <p:cNvSpPr txBox="1"/>
            <p:nvPr/>
          </p:nvSpPr>
          <p:spPr>
            <a:xfrm>
              <a:off x="2178060" y="2876882"/>
              <a:ext cx="2439183" cy="7017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Mapeamento da jornada PF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Desk </a:t>
              </a:r>
              <a:r>
                <a:rPr kumimoji="0" lang="pt-BR" sz="11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Research</a:t>
              </a:r>
              <a:r>
                <a:rPr kumimoji="0" lang="pt-BR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 (Sharepoint UX)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endParaRPr>
            </a:p>
          </p:txBody>
        </p:sp>
        <p:sp>
          <p:nvSpPr>
            <p:cNvPr id="137" name="CaixaDeTexto 136">
              <a:extLst>
                <a:ext uri="{FF2B5EF4-FFF2-40B4-BE49-F238E27FC236}">
                  <a16:creationId xmlns:a16="http://schemas.microsoft.com/office/drawing/2014/main" id="{A78FE61B-1390-46EB-B1C6-D9BFA81DEE75}"/>
                </a:ext>
              </a:extLst>
            </p:cNvPr>
            <p:cNvSpPr txBox="1"/>
            <p:nvPr/>
          </p:nvSpPr>
          <p:spPr>
            <a:xfrm>
              <a:off x="2178060" y="4041256"/>
              <a:ext cx="2439183" cy="3970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1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Likert</a:t>
              </a:r>
              <a:r>
                <a:rPr kumimoji="0" lang="pt-BR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 (Portal Corresp.)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Pesquisa Quant  (UX)</a:t>
              </a:r>
            </a:p>
          </p:txBody>
        </p:sp>
        <p:sp>
          <p:nvSpPr>
            <p:cNvPr id="138" name="CaixaDeTexto 137">
              <a:extLst>
                <a:ext uri="{FF2B5EF4-FFF2-40B4-BE49-F238E27FC236}">
                  <a16:creationId xmlns:a16="http://schemas.microsoft.com/office/drawing/2014/main" id="{56479FC4-1448-4F69-883E-EE942139336F}"/>
                </a:ext>
              </a:extLst>
            </p:cNvPr>
            <p:cNvSpPr txBox="1"/>
            <p:nvPr/>
          </p:nvSpPr>
          <p:spPr>
            <a:xfrm>
              <a:off x="2170324" y="5196218"/>
              <a:ext cx="2439183" cy="13111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Pesquisa </a:t>
              </a:r>
              <a:r>
                <a:rPr kumimoji="0" lang="pt-BR" sz="11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Quali</a:t>
              </a:r>
              <a:r>
                <a:rPr kumimoji="0" lang="pt-BR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  (UX)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Hórus (Esforço do cliente)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Sentinela (NPS +</a:t>
              </a:r>
              <a:r>
                <a:rPr kumimoji="0" lang="pt-BR" sz="11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Text</a:t>
              </a:r>
              <a:r>
                <a:rPr kumimoji="0" lang="pt-BR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 </a:t>
              </a:r>
              <a:r>
                <a:rPr kumimoji="0" lang="pt-BR" sz="11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minning</a:t>
              </a:r>
              <a:r>
                <a:rPr kumimoji="0" lang="pt-BR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)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1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Ituber</a:t>
              </a:r>
              <a:r>
                <a:rPr kumimoji="0" lang="pt-BR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 Escuta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1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Ituber</a:t>
              </a:r>
              <a:r>
                <a:rPr kumimoji="0" lang="pt-BR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 Visita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endParaRPr>
            </a:p>
          </p:txBody>
        </p:sp>
        <p:sp>
          <p:nvSpPr>
            <p:cNvPr id="31" name="TextBox 67">
              <a:extLst>
                <a:ext uri="{FF2B5EF4-FFF2-40B4-BE49-F238E27FC236}">
                  <a16:creationId xmlns:a16="http://schemas.microsoft.com/office/drawing/2014/main" id="{910C1B21-3C94-459D-81AA-1F75A9D42006}"/>
                </a:ext>
              </a:extLst>
            </p:cNvPr>
            <p:cNvSpPr txBox="1"/>
            <p:nvPr/>
          </p:nvSpPr>
          <p:spPr>
            <a:xfrm>
              <a:off x="1069975" y="1833663"/>
              <a:ext cx="341993" cy="480131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16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BR" sz="2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Display Black" panose="020B0903020204020204" pitchFamily="34" charset="0"/>
                  <a:ea typeface="+mn-ea"/>
                  <a:cs typeface="Itau Display Black" panose="020B0903020204020204" pitchFamily="34" charset="0"/>
                </a:rPr>
                <a:t>1</a:t>
              </a:r>
            </a:p>
          </p:txBody>
        </p:sp>
        <p:sp>
          <p:nvSpPr>
            <p:cNvPr id="32" name="TextBox 67">
              <a:extLst>
                <a:ext uri="{FF2B5EF4-FFF2-40B4-BE49-F238E27FC236}">
                  <a16:creationId xmlns:a16="http://schemas.microsoft.com/office/drawing/2014/main" id="{95CF05E4-1568-42FF-A073-68D7AC43CB0F}"/>
                </a:ext>
              </a:extLst>
            </p:cNvPr>
            <p:cNvSpPr txBox="1"/>
            <p:nvPr/>
          </p:nvSpPr>
          <p:spPr>
            <a:xfrm>
              <a:off x="1069975" y="2992992"/>
              <a:ext cx="341993" cy="480131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16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BR" sz="2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Display Black" panose="020B0903020204020204" pitchFamily="34" charset="0"/>
                  <a:ea typeface="+mn-ea"/>
                  <a:cs typeface="Itau Display Black" panose="020B0903020204020204" pitchFamily="34" charset="0"/>
                </a:rPr>
                <a:t>2</a:t>
              </a:r>
            </a:p>
          </p:txBody>
        </p:sp>
        <p:sp>
          <p:nvSpPr>
            <p:cNvPr id="44" name="TextBox 67">
              <a:extLst>
                <a:ext uri="{FF2B5EF4-FFF2-40B4-BE49-F238E27FC236}">
                  <a16:creationId xmlns:a16="http://schemas.microsoft.com/office/drawing/2014/main" id="{E9A2DF34-08CB-4C87-8362-8D87C72A3543}"/>
                </a:ext>
              </a:extLst>
            </p:cNvPr>
            <p:cNvSpPr txBox="1"/>
            <p:nvPr/>
          </p:nvSpPr>
          <p:spPr>
            <a:xfrm>
              <a:off x="1069975" y="4167678"/>
              <a:ext cx="341993" cy="480131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16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BR" sz="2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Display Black" panose="020B0903020204020204" pitchFamily="34" charset="0"/>
                  <a:ea typeface="+mn-ea"/>
                  <a:cs typeface="Itau Display Black" panose="020B0903020204020204" pitchFamily="34" charset="0"/>
                </a:rPr>
                <a:t>3</a:t>
              </a:r>
            </a:p>
          </p:txBody>
        </p:sp>
        <p:sp>
          <p:nvSpPr>
            <p:cNvPr id="45" name="TextBox 67">
              <a:extLst>
                <a:ext uri="{FF2B5EF4-FFF2-40B4-BE49-F238E27FC236}">
                  <a16:creationId xmlns:a16="http://schemas.microsoft.com/office/drawing/2014/main" id="{F4F75938-4BAF-44DC-82DF-20DDBC986017}"/>
                </a:ext>
              </a:extLst>
            </p:cNvPr>
            <p:cNvSpPr txBox="1"/>
            <p:nvPr/>
          </p:nvSpPr>
          <p:spPr>
            <a:xfrm>
              <a:off x="1069975" y="5311649"/>
              <a:ext cx="341993" cy="480131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16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BR" sz="2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Display Black" panose="020B0903020204020204" pitchFamily="34" charset="0"/>
                  <a:ea typeface="+mn-ea"/>
                  <a:cs typeface="Itau Display Black" panose="020B0903020204020204" pitchFamily="34" charset="0"/>
                </a:rPr>
                <a:t>4</a:t>
              </a:r>
            </a:p>
          </p:txBody>
        </p:sp>
      </p:grpSp>
      <p:grpSp>
        <p:nvGrpSpPr>
          <p:cNvPr id="2" name="Agrupar 1">
            <a:extLst>
              <a:ext uri="{FF2B5EF4-FFF2-40B4-BE49-F238E27FC236}">
                <a16:creationId xmlns:a16="http://schemas.microsoft.com/office/drawing/2014/main" id="{3708A2BC-A366-6D70-5A5B-9BB0FA11FFF1}"/>
              </a:ext>
            </a:extLst>
          </p:cNvPr>
          <p:cNvGrpSpPr>
            <a:grpSpLocks noChangeAspect="1"/>
          </p:cNvGrpSpPr>
          <p:nvPr/>
        </p:nvGrpSpPr>
        <p:grpSpPr>
          <a:xfrm>
            <a:off x="-2552497" y="4247433"/>
            <a:ext cx="2236663" cy="2761866"/>
            <a:chOff x="4163529" y="972975"/>
            <a:chExt cx="4337326" cy="5355804"/>
          </a:xfrm>
        </p:grpSpPr>
        <p:grpSp>
          <p:nvGrpSpPr>
            <p:cNvPr id="4" name="Gráfico 19">
              <a:extLst>
                <a:ext uri="{FF2B5EF4-FFF2-40B4-BE49-F238E27FC236}">
                  <a16:creationId xmlns:a16="http://schemas.microsoft.com/office/drawing/2014/main" id="{B3D9D6AC-71C4-D13E-F093-8D7119D1A4EE}"/>
                </a:ext>
              </a:extLst>
            </p:cNvPr>
            <p:cNvGrpSpPr/>
            <p:nvPr/>
          </p:nvGrpSpPr>
          <p:grpSpPr>
            <a:xfrm>
              <a:off x="4163529" y="972975"/>
              <a:ext cx="4337326" cy="5302350"/>
              <a:chOff x="6035969" y="1065245"/>
              <a:chExt cx="987098" cy="1206721"/>
            </a:xfrm>
          </p:grpSpPr>
          <p:grpSp>
            <p:nvGrpSpPr>
              <p:cNvPr id="131" name="Gráfico 19">
                <a:extLst>
                  <a:ext uri="{FF2B5EF4-FFF2-40B4-BE49-F238E27FC236}">
                    <a16:creationId xmlns:a16="http://schemas.microsoft.com/office/drawing/2014/main" id="{93DE0666-0D1C-7B10-057D-CD19D68F4BA9}"/>
                  </a:ext>
                </a:extLst>
              </p:cNvPr>
              <p:cNvGrpSpPr/>
              <p:nvPr/>
            </p:nvGrpSpPr>
            <p:grpSpPr>
              <a:xfrm>
                <a:off x="6375741" y="1065245"/>
                <a:ext cx="460287" cy="876395"/>
                <a:chOff x="6375741" y="1065245"/>
                <a:chExt cx="460287" cy="876395"/>
              </a:xfrm>
            </p:grpSpPr>
            <p:sp>
              <p:nvSpPr>
                <p:cNvPr id="144" name="Forma Livre: Forma 143">
                  <a:extLst>
                    <a:ext uri="{FF2B5EF4-FFF2-40B4-BE49-F238E27FC236}">
                      <a16:creationId xmlns:a16="http://schemas.microsoft.com/office/drawing/2014/main" id="{B3EE0914-2457-6B2A-D221-0448F80EAA02}"/>
                    </a:ext>
                  </a:extLst>
                </p:cNvPr>
                <p:cNvSpPr/>
                <p:nvPr/>
              </p:nvSpPr>
              <p:spPr>
                <a:xfrm>
                  <a:off x="6375741" y="1069816"/>
                  <a:ext cx="456886" cy="861631"/>
                </a:xfrm>
                <a:custGeom>
                  <a:avLst/>
                  <a:gdLst>
                    <a:gd name="connsiteX0" fmla="*/ 325 w 456886"/>
                    <a:gd name="connsiteY0" fmla="*/ 603695 h 861631"/>
                    <a:gd name="connsiteX1" fmla="*/ 248356 w 456886"/>
                    <a:gd name="connsiteY1" fmla="*/ 0 h 861631"/>
                    <a:gd name="connsiteX2" fmla="*/ 420949 w 456886"/>
                    <a:gd name="connsiteY2" fmla="*/ 581501 h 861631"/>
                    <a:gd name="connsiteX3" fmla="*/ 152630 w 456886"/>
                    <a:gd name="connsiteY3" fmla="*/ 861632 h 861631"/>
                    <a:gd name="connsiteX4" fmla="*/ 325 w 456886"/>
                    <a:gd name="connsiteY4" fmla="*/ 603695 h 861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56886" h="861631">
                      <a:moveTo>
                        <a:pt x="325" y="603695"/>
                      </a:moveTo>
                      <a:cubicBezTo>
                        <a:pt x="325" y="603695"/>
                        <a:pt x="-19392" y="160592"/>
                        <a:pt x="248356" y="0"/>
                      </a:cubicBezTo>
                      <a:cubicBezTo>
                        <a:pt x="574016" y="186690"/>
                        <a:pt x="420949" y="581501"/>
                        <a:pt x="420949" y="581501"/>
                      </a:cubicBezTo>
                      <a:lnTo>
                        <a:pt x="152630" y="861632"/>
                      </a:lnTo>
                      <a:lnTo>
                        <a:pt x="325" y="603695"/>
                      </a:lnTo>
                      <a:close/>
                    </a:path>
                  </a:pathLst>
                </a:custGeom>
                <a:solidFill>
                  <a:srgbClr val="0070C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5" name="Forma Livre: Forma 144">
                  <a:extLst>
                    <a:ext uri="{FF2B5EF4-FFF2-40B4-BE49-F238E27FC236}">
                      <a16:creationId xmlns:a16="http://schemas.microsoft.com/office/drawing/2014/main" id="{D0C85BCE-CD3E-F3C9-969A-8266AAEB3E80}"/>
                    </a:ext>
                  </a:extLst>
                </p:cNvPr>
                <p:cNvSpPr/>
                <p:nvPr/>
              </p:nvSpPr>
              <p:spPr>
                <a:xfrm>
                  <a:off x="6416738" y="1065245"/>
                  <a:ext cx="419290" cy="876395"/>
                </a:xfrm>
                <a:custGeom>
                  <a:avLst/>
                  <a:gdLst>
                    <a:gd name="connsiteX0" fmla="*/ 419291 w 419290"/>
                    <a:gd name="connsiteY0" fmla="*/ 415195 h 876395"/>
                    <a:gd name="connsiteX1" fmla="*/ 145828 w 419290"/>
                    <a:gd name="connsiteY1" fmla="*/ 594170 h 876395"/>
                    <a:gd name="connsiteX2" fmla="*/ 185738 w 419290"/>
                    <a:gd name="connsiteY2" fmla="*/ 235172 h 876395"/>
                    <a:gd name="connsiteX3" fmla="*/ 342424 w 419290"/>
                    <a:gd name="connsiteY3" fmla="*/ 125349 h 876395"/>
                    <a:gd name="connsiteX4" fmla="*/ 336804 w 419290"/>
                    <a:gd name="connsiteY4" fmla="*/ 117348 h 876395"/>
                    <a:gd name="connsiteX5" fmla="*/ 187166 w 419290"/>
                    <a:gd name="connsiteY5" fmla="*/ 222314 h 876395"/>
                    <a:gd name="connsiteX6" fmla="*/ 211836 w 419290"/>
                    <a:gd name="connsiteY6" fmla="*/ 0 h 876395"/>
                    <a:gd name="connsiteX7" fmla="*/ 201644 w 419290"/>
                    <a:gd name="connsiteY7" fmla="*/ 3524 h 876395"/>
                    <a:gd name="connsiteX8" fmla="*/ 156400 w 419290"/>
                    <a:gd name="connsiteY8" fmla="*/ 410718 h 876395"/>
                    <a:gd name="connsiteX9" fmla="*/ 286 w 419290"/>
                    <a:gd name="connsiteY9" fmla="*/ 281750 h 876395"/>
                    <a:gd name="connsiteX10" fmla="*/ 0 w 419290"/>
                    <a:gd name="connsiteY10" fmla="*/ 294227 h 876395"/>
                    <a:gd name="connsiteX11" fmla="*/ 155067 w 419290"/>
                    <a:gd name="connsiteY11" fmla="*/ 422339 h 876395"/>
                    <a:gd name="connsiteX12" fmla="*/ 104775 w 419290"/>
                    <a:gd name="connsiteY12" fmla="*/ 875348 h 876395"/>
                    <a:gd name="connsiteX13" fmla="*/ 114490 w 419290"/>
                    <a:gd name="connsiteY13" fmla="*/ 876395 h 876395"/>
                    <a:gd name="connsiteX14" fmla="*/ 144399 w 419290"/>
                    <a:gd name="connsiteY14" fmla="*/ 606743 h 876395"/>
                    <a:gd name="connsiteX15" fmla="*/ 416528 w 419290"/>
                    <a:gd name="connsiteY15" fmla="*/ 428720 h 8763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419290" h="876395">
                      <a:moveTo>
                        <a:pt x="419291" y="415195"/>
                      </a:moveTo>
                      <a:lnTo>
                        <a:pt x="145828" y="594170"/>
                      </a:lnTo>
                      <a:lnTo>
                        <a:pt x="185738" y="235172"/>
                      </a:lnTo>
                      <a:lnTo>
                        <a:pt x="342424" y="125349"/>
                      </a:lnTo>
                      <a:lnTo>
                        <a:pt x="336804" y="117348"/>
                      </a:lnTo>
                      <a:lnTo>
                        <a:pt x="187166" y="222314"/>
                      </a:lnTo>
                      <a:lnTo>
                        <a:pt x="211836" y="0"/>
                      </a:lnTo>
                      <a:lnTo>
                        <a:pt x="201644" y="3524"/>
                      </a:lnTo>
                      <a:lnTo>
                        <a:pt x="156400" y="410718"/>
                      </a:lnTo>
                      <a:lnTo>
                        <a:pt x="286" y="281750"/>
                      </a:lnTo>
                      <a:lnTo>
                        <a:pt x="0" y="294227"/>
                      </a:lnTo>
                      <a:lnTo>
                        <a:pt x="155067" y="422339"/>
                      </a:lnTo>
                      <a:lnTo>
                        <a:pt x="104775" y="875348"/>
                      </a:lnTo>
                      <a:lnTo>
                        <a:pt x="114490" y="876395"/>
                      </a:lnTo>
                      <a:lnTo>
                        <a:pt x="144399" y="606743"/>
                      </a:lnTo>
                      <a:lnTo>
                        <a:pt x="416528" y="428720"/>
                      </a:ln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2" name="Gráfico 19">
                <a:extLst>
                  <a:ext uri="{FF2B5EF4-FFF2-40B4-BE49-F238E27FC236}">
                    <a16:creationId xmlns:a16="http://schemas.microsoft.com/office/drawing/2014/main" id="{66F604CA-1368-F589-D16C-CDB2EC8E0164}"/>
                  </a:ext>
                </a:extLst>
              </p:cNvPr>
              <p:cNvGrpSpPr/>
              <p:nvPr/>
            </p:nvGrpSpPr>
            <p:grpSpPr>
              <a:xfrm>
                <a:off x="6035969" y="1257525"/>
                <a:ext cx="987098" cy="1014441"/>
                <a:chOff x="6035969" y="1257525"/>
                <a:chExt cx="987098" cy="1014441"/>
              </a:xfrm>
            </p:grpSpPr>
            <p:sp>
              <p:nvSpPr>
                <p:cNvPr id="133" name="Forma Livre: Forma 132">
                  <a:extLst>
                    <a:ext uri="{FF2B5EF4-FFF2-40B4-BE49-F238E27FC236}">
                      <a16:creationId xmlns:a16="http://schemas.microsoft.com/office/drawing/2014/main" id="{DBF72130-B92F-9010-EEEC-BC560D6FEF0F}"/>
                    </a:ext>
                  </a:extLst>
                </p:cNvPr>
                <p:cNvSpPr/>
                <p:nvPr/>
              </p:nvSpPr>
              <p:spPr>
                <a:xfrm>
                  <a:off x="6546469" y="1533556"/>
                  <a:ext cx="476598" cy="738410"/>
                </a:xfrm>
                <a:custGeom>
                  <a:avLst/>
                  <a:gdLst>
                    <a:gd name="connsiteX0" fmla="*/ 0 w 476598"/>
                    <a:gd name="connsiteY0" fmla="*/ 266447 h 738410"/>
                    <a:gd name="connsiteX1" fmla="*/ 444341 w 476598"/>
                    <a:gd name="connsiteY1" fmla="*/ 5462 h 738410"/>
                    <a:gd name="connsiteX2" fmla="*/ 25432 w 476598"/>
                    <a:gd name="connsiteY2" fmla="*/ 738410 h 738410"/>
                    <a:gd name="connsiteX3" fmla="*/ 0 w 476598"/>
                    <a:gd name="connsiteY3" fmla="*/ 266447 h 7384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6598" h="738410">
                      <a:moveTo>
                        <a:pt x="0" y="266447"/>
                      </a:moveTo>
                      <a:cubicBezTo>
                        <a:pt x="0" y="266447"/>
                        <a:pt x="200787" y="-44640"/>
                        <a:pt x="444341" y="5462"/>
                      </a:cubicBezTo>
                      <a:cubicBezTo>
                        <a:pt x="619315" y="482093"/>
                        <a:pt x="25432" y="738410"/>
                        <a:pt x="25432" y="738410"/>
                      </a:cubicBezTo>
                      <a:lnTo>
                        <a:pt x="0" y="266447"/>
                      </a:lnTo>
                      <a:close/>
                    </a:path>
                  </a:pathLst>
                </a:custGeom>
                <a:solidFill>
                  <a:srgbClr val="FFD24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36" name="Gráfico 19">
                  <a:extLst>
                    <a:ext uri="{FF2B5EF4-FFF2-40B4-BE49-F238E27FC236}">
                      <a16:creationId xmlns:a16="http://schemas.microsoft.com/office/drawing/2014/main" id="{5D660E6F-3351-47E5-EDDC-F6312289139C}"/>
                    </a:ext>
                  </a:extLst>
                </p:cNvPr>
                <p:cNvGrpSpPr/>
                <p:nvPr/>
              </p:nvGrpSpPr>
              <p:grpSpPr>
                <a:xfrm>
                  <a:off x="6541611" y="1533556"/>
                  <a:ext cx="481456" cy="738410"/>
                  <a:chOff x="6541611" y="1533556"/>
                  <a:chExt cx="481456" cy="738410"/>
                </a:xfrm>
              </p:grpSpPr>
              <p:sp>
                <p:nvSpPr>
                  <p:cNvPr id="142" name="Forma Livre: Forma 141">
                    <a:extLst>
                      <a:ext uri="{FF2B5EF4-FFF2-40B4-BE49-F238E27FC236}">
                        <a16:creationId xmlns:a16="http://schemas.microsoft.com/office/drawing/2014/main" id="{FD82C50F-F83E-2B1A-B384-32B8760D4B02}"/>
                      </a:ext>
                    </a:extLst>
                  </p:cNvPr>
                  <p:cNvSpPr/>
                  <p:nvPr/>
                </p:nvSpPr>
                <p:spPr>
                  <a:xfrm>
                    <a:off x="6546469" y="1533556"/>
                    <a:ext cx="476598" cy="738410"/>
                  </a:xfrm>
                  <a:custGeom>
                    <a:avLst/>
                    <a:gdLst>
                      <a:gd name="connsiteX0" fmla="*/ 0 w 476598"/>
                      <a:gd name="connsiteY0" fmla="*/ 266447 h 738410"/>
                      <a:gd name="connsiteX1" fmla="*/ 444341 w 476598"/>
                      <a:gd name="connsiteY1" fmla="*/ 5462 h 738410"/>
                      <a:gd name="connsiteX2" fmla="*/ 25432 w 476598"/>
                      <a:gd name="connsiteY2" fmla="*/ 738410 h 738410"/>
                      <a:gd name="connsiteX3" fmla="*/ 0 w 476598"/>
                      <a:gd name="connsiteY3" fmla="*/ 266447 h 7384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76598" h="738410">
                        <a:moveTo>
                          <a:pt x="0" y="266447"/>
                        </a:moveTo>
                        <a:cubicBezTo>
                          <a:pt x="0" y="266447"/>
                          <a:pt x="200787" y="-44640"/>
                          <a:pt x="444341" y="5462"/>
                        </a:cubicBezTo>
                        <a:cubicBezTo>
                          <a:pt x="619315" y="482093"/>
                          <a:pt x="25432" y="738410"/>
                          <a:pt x="25432" y="738410"/>
                        </a:cubicBezTo>
                        <a:lnTo>
                          <a:pt x="0" y="266447"/>
                        </a:lnTo>
                        <a:close/>
                      </a:path>
                    </a:pathLst>
                  </a:custGeom>
                  <a:solidFill>
                    <a:srgbClr val="FFC00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3" name="Forma Livre: Forma 142">
                    <a:extLst>
                      <a:ext uri="{FF2B5EF4-FFF2-40B4-BE49-F238E27FC236}">
                        <a16:creationId xmlns:a16="http://schemas.microsoft.com/office/drawing/2014/main" id="{2FABDB6B-62E1-33ED-4967-7F8362FF084C}"/>
                      </a:ext>
                    </a:extLst>
                  </p:cNvPr>
                  <p:cNvSpPr/>
                  <p:nvPr/>
                </p:nvSpPr>
                <p:spPr>
                  <a:xfrm>
                    <a:off x="6541611" y="1536065"/>
                    <a:ext cx="453104" cy="591502"/>
                  </a:xfrm>
                  <a:custGeom>
                    <a:avLst/>
                    <a:gdLst>
                      <a:gd name="connsiteX0" fmla="*/ 426339 w 453104"/>
                      <a:gd name="connsiteY0" fmla="*/ 400907 h 591502"/>
                      <a:gd name="connsiteX1" fmla="*/ 147638 w 453104"/>
                      <a:gd name="connsiteY1" fmla="*/ 407575 h 591502"/>
                      <a:gd name="connsiteX2" fmla="*/ 453104 w 453104"/>
                      <a:gd name="connsiteY2" fmla="*/ 5905 h 591502"/>
                      <a:gd name="connsiteX3" fmla="*/ 445294 w 453104"/>
                      <a:gd name="connsiteY3" fmla="*/ 0 h 591502"/>
                      <a:gd name="connsiteX4" fmla="*/ 259937 w 453104"/>
                      <a:gd name="connsiteY4" fmla="*/ 243840 h 591502"/>
                      <a:gd name="connsiteX5" fmla="*/ 233077 w 453104"/>
                      <a:gd name="connsiteY5" fmla="*/ 38576 h 591502"/>
                      <a:gd name="connsiteX6" fmla="*/ 224314 w 453104"/>
                      <a:gd name="connsiteY6" fmla="*/ 47053 h 591502"/>
                      <a:gd name="connsiteX7" fmla="*/ 251555 w 453104"/>
                      <a:gd name="connsiteY7" fmla="*/ 254889 h 591502"/>
                      <a:gd name="connsiteX8" fmla="*/ 0 w 453104"/>
                      <a:gd name="connsiteY8" fmla="*/ 585502 h 591502"/>
                      <a:gd name="connsiteX9" fmla="*/ 7810 w 453104"/>
                      <a:gd name="connsiteY9" fmla="*/ 591503 h 591502"/>
                      <a:gd name="connsiteX10" fmla="*/ 140113 w 453104"/>
                      <a:gd name="connsiteY10" fmla="*/ 417576 h 591502"/>
                      <a:gd name="connsiteX11" fmla="*/ 417767 w 453104"/>
                      <a:gd name="connsiteY11" fmla="*/ 410909 h 5915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453104" h="591502">
                        <a:moveTo>
                          <a:pt x="426339" y="400907"/>
                        </a:moveTo>
                        <a:lnTo>
                          <a:pt x="147638" y="407575"/>
                        </a:lnTo>
                        <a:lnTo>
                          <a:pt x="453104" y="5905"/>
                        </a:lnTo>
                        <a:lnTo>
                          <a:pt x="445294" y="0"/>
                        </a:lnTo>
                        <a:lnTo>
                          <a:pt x="259937" y="243840"/>
                        </a:lnTo>
                        <a:lnTo>
                          <a:pt x="233077" y="38576"/>
                        </a:lnTo>
                        <a:lnTo>
                          <a:pt x="224314" y="47053"/>
                        </a:lnTo>
                        <a:lnTo>
                          <a:pt x="251555" y="254889"/>
                        </a:lnTo>
                        <a:lnTo>
                          <a:pt x="0" y="585502"/>
                        </a:lnTo>
                        <a:lnTo>
                          <a:pt x="7810" y="591503"/>
                        </a:lnTo>
                        <a:lnTo>
                          <a:pt x="140113" y="417576"/>
                        </a:lnTo>
                        <a:lnTo>
                          <a:pt x="417767" y="410909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39" name="Gráfico 19">
                  <a:extLst>
                    <a:ext uri="{FF2B5EF4-FFF2-40B4-BE49-F238E27FC236}">
                      <a16:creationId xmlns:a16="http://schemas.microsoft.com/office/drawing/2014/main" id="{66BA2437-52BB-3F8F-2098-3F59B40A58C8}"/>
                    </a:ext>
                  </a:extLst>
                </p:cNvPr>
                <p:cNvGrpSpPr/>
                <p:nvPr/>
              </p:nvGrpSpPr>
              <p:grpSpPr>
                <a:xfrm>
                  <a:off x="6035969" y="1257525"/>
                  <a:ext cx="615274" cy="583340"/>
                  <a:chOff x="6035969" y="1257525"/>
                  <a:chExt cx="615274" cy="583340"/>
                </a:xfrm>
              </p:grpSpPr>
              <p:sp>
                <p:nvSpPr>
                  <p:cNvPr id="140" name="Forma Livre: Forma 139">
                    <a:extLst>
                      <a:ext uri="{FF2B5EF4-FFF2-40B4-BE49-F238E27FC236}">
                        <a16:creationId xmlns:a16="http://schemas.microsoft.com/office/drawing/2014/main" id="{17DD8873-32B4-7BBF-74A4-0BE7CE5B01C0}"/>
                      </a:ext>
                    </a:extLst>
                  </p:cNvPr>
                  <p:cNvSpPr/>
                  <p:nvPr/>
                </p:nvSpPr>
                <p:spPr>
                  <a:xfrm>
                    <a:off x="6035969" y="1257525"/>
                    <a:ext cx="615274" cy="583340"/>
                  </a:xfrm>
                  <a:custGeom>
                    <a:avLst/>
                    <a:gdLst>
                      <a:gd name="connsiteX0" fmla="*/ 304379 w 615274"/>
                      <a:gd name="connsiteY0" fmla="*/ 577911 h 583340"/>
                      <a:gd name="connsiteX1" fmla="*/ 9103 w 615274"/>
                      <a:gd name="connsiteY1" fmla="*/ 7269 h 583340"/>
                      <a:gd name="connsiteX2" fmla="*/ 615275 w 615274"/>
                      <a:gd name="connsiteY2" fmla="*/ 583341 h 583340"/>
                      <a:gd name="connsiteX3" fmla="*/ 304379 w 615274"/>
                      <a:gd name="connsiteY3" fmla="*/ 577911 h 5833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615274" h="583340">
                        <a:moveTo>
                          <a:pt x="304379" y="577911"/>
                        </a:moveTo>
                        <a:cubicBezTo>
                          <a:pt x="304379" y="577911"/>
                          <a:pt x="-61763" y="325308"/>
                          <a:pt x="9103" y="7269"/>
                        </a:cubicBezTo>
                        <a:cubicBezTo>
                          <a:pt x="563649" y="-75980"/>
                          <a:pt x="615275" y="583341"/>
                          <a:pt x="615275" y="583341"/>
                        </a:cubicBezTo>
                        <a:lnTo>
                          <a:pt x="304379" y="577911"/>
                        </a:lnTo>
                        <a:close/>
                      </a:path>
                    </a:pathLst>
                  </a:custGeom>
                  <a:solidFill>
                    <a:srgbClr val="114585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1" name="Forma Livre: Forma 140">
                    <a:extLst>
                      <a:ext uri="{FF2B5EF4-FFF2-40B4-BE49-F238E27FC236}">
                        <a16:creationId xmlns:a16="http://schemas.microsoft.com/office/drawing/2014/main" id="{3AE99455-76ED-20E2-C2F6-C51E09CDA824}"/>
                      </a:ext>
                    </a:extLst>
                  </p:cNvPr>
                  <p:cNvSpPr/>
                  <p:nvPr/>
                </p:nvSpPr>
                <p:spPr>
                  <a:xfrm>
                    <a:off x="6058119" y="1310596"/>
                    <a:ext cx="453776" cy="468228"/>
                  </a:xfrm>
                  <a:custGeom>
                    <a:avLst/>
                    <a:gdLst>
                      <a:gd name="connsiteX0" fmla="*/ 408051 w 463772"/>
                      <a:gd name="connsiteY0" fmla="*/ 75438 h 527208"/>
                      <a:gd name="connsiteX1" fmla="*/ 399002 w 463772"/>
                      <a:gd name="connsiteY1" fmla="*/ 70009 h 527208"/>
                      <a:gd name="connsiteX2" fmla="*/ 352901 w 463772"/>
                      <a:gd name="connsiteY2" fmla="*/ 398336 h 527208"/>
                      <a:gd name="connsiteX3" fmla="*/ 7429 w 463772"/>
                      <a:gd name="connsiteY3" fmla="*/ 0 h 527208"/>
                      <a:gd name="connsiteX4" fmla="*/ 0 w 463772"/>
                      <a:gd name="connsiteY4" fmla="*/ 6382 h 527208"/>
                      <a:gd name="connsiteX5" fmla="*/ 245078 w 463772"/>
                      <a:gd name="connsiteY5" fmla="*/ 288989 h 527208"/>
                      <a:gd name="connsiteX6" fmla="*/ 53054 w 463772"/>
                      <a:gd name="connsiteY6" fmla="*/ 313182 h 527208"/>
                      <a:gd name="connsiteX7" fmla="*/ 62770 w 463772"/>
                      <a:gd name="connsiteY7" fmla="*/ 321850 h 527208"/>
                      <a:gd name="connsiteX8" fmla="*/ 252793 w 463772"/>
                      <a:gd name="connsiteY8" fmla="*/ 297847 h 527208"/>
                      <a:gd name="connsiteX9" fmla="*/ 252793 w 463772"/>
                      <a:gd name="connsiteY9" fmla="*/ 297847 h 527208"/>
                      <a:gd name="connsiteX10" fmla="*/ 451676 w 463772"/>
                      <a:gd name="connsiteY10" fmla="*/ 527209 h 527208"/>
                      <a:gd name="connsiteX11" fmla="*/ 463772 w 463772"/>
                      <a:gd name="connsiteY11" fmla="*/ 526256 h 527208"/>
                      <a:gd name="connsiteX12" fmla="*/ 361379 w 463772"/>
                      <a:gd name="connsiteY12" fmla="*/ 408146 h 5272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463772" h="527208">
                        <a:moveTo>
                          <a:pt x="408051" y="75438"/>
                        </a:moveTo>
                        <a:lnTo>
                          <a:pt x="399002" y="70009"/>
                        </a:lnTo>
                        <a:lnTo>
                          <a:pt x="352901" y="398336"/>
                        </a:lnTo>
                        <a:lnTo>
                          <a:pt x="7429" y="0"/>
                        </a:lnTo>
                        <a:lnTo>
                          <a:pt x="0" y="6382"/>
                        </a:lnTo>
                        <a:lnTo>
                          <a:pt x="245078" y="288989"/>
                        </a:lnTo>
                        <a:lnTo>
                          <a:pt x="53054" y="313182"/>
                        </a:lnTo>
                        <a:lnTo>
                          <a:pt x="62770" y="321850"/>
                        </a:lnTo>
                        <a:lnTo>
                          <a:pt x="252793" y="297847"/>
                        </a:lnTo>
                        <a:lnTo>
                          <a:pt x="252793" y="297847"/>
                        </a:lnTo>
                        <a:lnTo>
                          <a:pt x="451676" y="527209"/>
                        </a:lnTo>
                        <a:lnTo>
                          <a:pt x="463772" y="526256"/>
                        </a:lnTo>
                        <a:lnTo>
                          <a:pt x="361379" y="408146"/>
                        </a:lnTo>
                        <a:close/>
                      </a:path>
                    </a:pathLst>
                  </a:custGeom>
                  <a:solidFill>
                    <a:srgbClr val="26262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  <p:grpSp>
          <p:nvGrpSpPr>
            <p:cNvPr id="7" name="Gráfico 19">
              <a:extLst>
                <a:ext uri="{FF2B5EF4-FFF2-40B4-BE49-F238E27FC236}">
                  <a16:creationId xmlns:a16="http://schemas.microsoft.com/office/drawing/2014/main" id="{7D3BE97C-6122-A678-C939-7EC76658BEFC}"/>
                </a:ext>
              </a:extLst>
            </p:cNvPr>
            <p:cNvGrpSpPr/>
            <p:nvPr/>
          </p:nvGrpSpPr>
          <p:grpSpPr>
            <a:xfrm>
              <a:off x="4233451" y="2355260"/>
              <a:ext cx="3638580" cy="3973519"/>
              <a:chOff x="6051890" y="1379828"/>
              <a:chExt cx="828077" cy="904302"/>
            </a:xfrm>
          </p:grpSpPr>
          <p:sp>
            <p:nvSpPr>
              <p:cNvPr id="8" name="Forma Livre: Forma 7">
                <a:extLst>
                  <a:ext uri="{FF2B5EF4-FFF2-40B4-BE49-F238E27FC236}">
                    <a16:creationId xmlns:a16="http://schemas.microsoft.com/office/drawing/2014/main" id="{43585BAC-1095-AB1A-5760-5FEA02896CC2}"/>
                  </a:ext>
                </a:extLst>
              </p:cNvPr>
              <p:cNvSpPr/>
              <p:nvPr/>
            </p:nvSpPr>
            <p:spPr>
              <a:xfrm>
                <a:off x="6212332" y="1681512"/>
                <a:ext cx="496061" cy="367188"/>
              </a:xfrm>
              <a:custGeom>
                <a:avLst/>
                <a:gdLst>
                  <a:gd name="connsiteX0" fmla="*/ 431292 w 496061"/>
                  <a:gd name="connsiteY0" fmla="*/ 221075 h 367188"/>
                  <a:gd name="connsiteX1" fmla="*/ 400717 w 496061"/>
                  <a:gd name="connsiteY1" fmla="*/ 201835 h 367188"/>
                  <a:gd name="connsiteX2" fmla="*/ 496062 w 496061"/>
                  <a:gd name="connsiteY2" fmla="*/ 159353 h 367188"/>
                  <a:gd name="connsiteX3" fmla="*/ 456629 w 496061"/>
                  <a:gd name="connsiteY3" fmla="*/ 69437 h 367188"/>
                  <a:gd name="connsiteX4" fmla="*/ 346234 w 496061"/>
                  <a:gd name="connsiteY4" fmla="*/ 0 h 367188"/>
                  <a:gd name="connsiteX5" fmla="*/ 149828 w 496061"/>
                  <a:gd name="connsiteY5" fmla="*/ 0 h 367188"/>
                  <a:gd name="connsiteX6" fmla="*/ 39433 w 496061"/>
                  <a:gd name="connsiteY6" fmla="*/ 69437 h 367188"/>
                  <a:gd name="connsiteX7" fmla="*/ 0 w 496061"/>
                  <a:gd name="connsiteY7" fmla="*/ 159353 h 367188"/>
                  <a:gd name="connsiteX8" fmla="*/ 95345 w 496061"/>
                  <a:gd name="connsiteY8" fmla="*/ 201835 h 367188"/>
                  <a:gd name="connsiteX9" fmla="*/ 64770 w 496061"/>
                  <a:gd name="connsiteY9" fmla="*/ 221075 h 367188"/>
                  <a:gd name="connsiteX10" fmla="*/ 47815 w 496061"/>
                  <a:gd name="connsiteY10" fmla="*/ 367189 h 367188"/>
                  <a:gd name="connsiteX11" fmla="*/ 248031 w 496061"/>
                  <a:gd name="connsiteY11" fmla="*/ 364046 h 367188"/>
                  <a:gd name="connsiteX12" fmla="*/ 448246 w 496061"/>
                  <a:gd name="connsiteY12" fmla="*/ 367189 h 367188"/>
                  <a:gd name="connsiteX13" fmla="*/ 431292 w 496061"/>
                  <a:gd name="connsiteY13" fmla="*/ 221075 h 367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96061" h="367188">
                    <a:moveTo>
                      <a:pt x="431292" y="221075"/>
                    </a:moveTo>
                    <a:lnTo>
                      <a:pt x="400717" y="201835"/>
                    </a:lnTo>
                    <a:lnTo>
                      <a:pt x="496062" y="159353"/>
                    </a:lnTo>
                    <a:lnTo>
                      <a:pt x="456629" y="69437"/>
                    </a:lnTo>
                    <a:cubicBezTo>
                      <a:pt x="438340" y="31052"/>
                      <a:pt x="391192" y="0"/>
                      <a:pt x="346234" y="0"/>
                    </a:cubicBezTo>
                    <a:lnTo>
                      <a:pt x="149828" y="0"/>
                    </a:lnTo>
                    <a:cubicBezTo>
                      <a:pt x="104775" y="0"/>
                      <a:pt x="57626" y="31147"/>
                      <a:pt x="39433" y="69437"/>
                    </a:cubicBezTo>
                    <a:lnTo>
                      <a:pt x="0" y="159353"/>
                    </a:lnTo>
                    <a:lnTo>
                      <a:pt x="95345" y="201835"/>
                    </a:lnTo>
                    <a:lnTo>
                      <a:pt x="64770" y="221075"/>
                    </a:lnTo>
                    <a:lnTo>
                      <a:pt x="47815" y="367189"/>
                    </a:lnTo>
                    <a:lnTo>
                      <a:pt x="248031" y="364046"/>
                    </a:lnTo>
                    <a:lnTo>
                      <a:pt x="448246" y="367189"/>
                    </a:lnTo>
                    <a:lnTo>
                      <a:pt x="431292" y="221075"/>
                    </a:lnTo>
                    <a:close/>
                  </a:path>
                </a:pathLst>
              </a:custGeom>
              <a:solidFill>
                <a:srgbClr val="EE730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" name="Forma Livre: Forma 10">
                <a:extLst>
                  <a:ext uri="{FF2B5EF4-FFF2-40B4-BE49-F238E27FC236}">
                    <a16:creationId xmlns:a16="http://schemas.microsoft.com/office/drawing/2014/main" id="{EFB7E8D8-12A8-9BED-04EB-E0D785587CB5}"/>
                  </a:ext>
                </a:extLst>
              </p:cNvPr>
              <p:cNvSpPr/>
              <p:nvPr/>
            </p:nvSpPr>
            <p:spPr>
              <a:xfrm>
                <a:off x="6570281" y="1840865"/>
                <a:ext cx="163142" cy="266890"/>
              </a:xfrm>
              <a:custGeom>
                <a:avLst/>
                <a:gdLst>
                  <a:gd name="connsiteX0" fmla="*/ 138112 w 163142"/>
                  <a:gd name="connsiteY0" fmla="*/ 0 h 266890"/>
                  <a:gd name="connsiteX1" fmla="*/ 157829 w 163142"/>
                  <a:gd name="connsiteY1" fmla="*/ 65056 h 266890"/>
                  <a:gd name="connsiteX2" fmla="*/ 118110 w 163142"/>
                  <a:gd name="connsiteY2" fmla="*/ 197072 h 266890"/>
                  <a:gd name="connsiteX3" fmla="*/ 28765 w 163142"/>
                  <a:gd name="connsiteY3" fmla="*/ 266890 h 266890"/>
                  <a:gd name="connsiteX4" fmla="*/ 0 w 163142"/>
                  <a:gd name="connsiteY4" fmla="*/ 188786 h 266890"/>
                  <a:gd name="connsiteX5" fmla="*/ 49435 w 163142"/>
                  <a:gd name="connsiteY5" fmla="*/ 142685 h 266890"/>
                  <a:gd name="connsiteX6" fmla="*/ 61722 w 163142"/>
                  <a:gd name="connsiteY6" fmla="*/ 85058 h 266890"/>
                  <a:gd name="connsiteX7" fmla="*/ 42767 w 163142"/>
                  <a:gd name="connsiteY7" fmla="*/ 42577 h 266890"/>
                  <a:gd name="connsiteX8" fmla="*/ 138112 w 163142"/>
                  <a:gd name="connsiteY8" fmla="*/ 0 h 266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3142" h="266890">
                    <a:moveTo>
                      <a:pt x="138112" y="0"/>
                    </a:moveTo>
                    <a:lnTo>
                      <a:pt x="157829" y="65056"/>
                    </a:lnTo>
                    <a:cubicBezTo>
                      <a:pt x="172212" y="112490"/>
                      <a:pt x="156877" y="163449"/>
                      <a:pt x="118110" y="197072"/>
                    </a:cubicBezTo>
                    <a:lnTo>
                      <a:pt x="28765" y="266890"/>
                    </a:lnTo>
                    <a:lnTo>
                      <a:pt x="0" y="188786"/>
                    </a:lnTo>
                    <a:lnTo>
                      <a:pt x="49435" y="142685"/>
                    </a:lnTo>
                    <a:cubicBezTo>
                      <a:pt x="65627" y="127540"/>
                      <a:pt x="70485" y="104775"/>
                      <a:pt x="61722" y="85058"/>
                    </a:cubicBezTo>
                    <a:lnTo>
                      <a:pt x="42767" y="42577"/>
                    </a:lnTo>
                    <a:lnTo>
                      <a:pt x="138112" y="0"/>
                    </a:lnTo>
                    <a:close/>
                  </a:path>
                </a:pathLst>
              </a:custGeom>
              <a:solidFill>
                <a:srgbClr val="F8B68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12" name="Gráfico 19">
                <a:extLst>
                  <a:ext uri="{FF2B5EF4-FFF2-40B4-BE49-F238E27FC236}">
                    <a16:creationId xmlns:a16="http://schemas.microsoft.com/office/drawing/2014/main" id="{A29B6648-C3D9-56F3-C9AD-3D017281F6CB}"/>
                  </a:ext>
                </a:extLst>
              </p:cNvPr>
              <p:cNvGrpSpPr/>
              <p:nvPr/>
            </p:nvGrpSpPr>
            <p:grpSpPr>
              <a:xfrm>
                <a:off x="6052914" y="2206979"/>
                <a:ext cx="265525" cy="77151"/>
                <a:chOff x="6052914" y="2206979"/>
                <a:chExt cx="265525" cy="77151"/>
              </a:xfrm>
            </p:grpSpPr>
            <p:sp>
              <p:nvSpPr>
                <p:cNvPr id="57" name="Forma Livre: Forma 56">
                  <a:extLst>
                    <a:ext uri="{FF2B5EF4-FFF2-40B4-BE49-F238E27FC236}">
                      <a16:creationId xmlns:a16="http://schemas.microsoft.com/office/drawing/2014/main" id="{A5DF658F-7C28-3CCB-55E4-74CF42F32FAE}"/>
                    </a:ext>
                  </a:extLst>
                </p:cNvPr>
                <p:cNvSpPr/>
                <p:nvPr/>
              </p:nvSpPr>
              <p:spPr>
                <a:xfrm>
                  <a:off x="6223571" y="2212055"/>
                  <a:ext cx="94868" cy="58388"/>
                </a:xfrm>
                <a:custGeom>
                  <a:avLst/>
                  <a:gdLst>
                    <a:gd name="connsiteX0" fmla="*/ 94869 w 94868"/>
                    <a:gd name="connsiteY0" fmla="*/ 47530 h 58388"/>
                    <a:gd name="connsiteX1" fmla="*/ 15240 w 94868"/>
                    <a:gd name="connsiteY1" fmla="*/ 58388 h 58388"/>
                    <a:gd name="connsiteX2" fmla="*/ 0 w 94868"/>
                    <a:gd name="connsiteY2" fmla="*/ 41529 h 58388"/>
                    <a:gd name="connsiteX3" fmla="*/ 7715 w 94868"/>
                    <a:gd name="connsiteY3" fmla="*/ 11049 h 58388"/>
                    <a:gd name="connsiteX4" fmla="*/ 84201 w 94868"/>
                    <a:gd name="connsiteY4" fmla="*/ 0 h 583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4868" h="58388">
                      <a:moveTo>
                        <a:pt x="94869" y="47530"/>
                      </a:moveTo>
                      <a:lnTo>
                        <a:pt x="15240" y="58388"/>
                      </a:lnTo>
                      <a:lnTo>
                        <a:pt x="0" y="41529"/>
                      </a:lnTo>
                      <a:lnTo>
                        <a:pt x="7715" y="11049"/>
                      </a:lnTo>
                      <a:lnTo>
                        <a:pt x="84201" y="0"/>
                      </a:lnTo>
                      <a:close/>
                    </a:path>
                  </a:pathLst>
                </a:custGeom>
                <a:solidFill>
                  <a:srgbClr val="F8B68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58" name="Gráfico 19">
                  <a:extLst>
                    <a:ext uri="{FF2B5EF4-FFF2-40B4-BE49-F238E27FC236}">
                      <a16:creationId xmlns:a16="http://schemas.microsoft.com/office/drawing/2014/main" id="{E3A53794-D3A4-5B83-681A-F9BD14400EB9}"/>
                    </a:ext>
                  </a:extLst>
                </p:cNvPr>
                <p:cNvGrpSpPr/>
                <p:nvPr/>
              </p:nvGrpSpPr>
              <p:grpSpPr>
                <a:xfrm>
                  <a:off x="6052914" y="2206979"/>
                  <a:ext cx="185896" cy="77151"/>
                  <a:chOff x="6052914" y="2206979"/>
                  <a:chExt cx="185896" cy="77151"/>
                </a:xfrm>
              </p:grpSpPr>
              <p:sp>
                <p:nvSpPr>
                  <p:cNvPr id="59" name="Forma Livre: Forma 58">
                    <a:extLst>
                      <a:ext uri="{FF2B5EF4-FFF2-40B4-BE49-F238E27FC236}">
                        <a16:creationId xmlns:a16="http://schemas.microsoft.com/office/drawing/2014/main" id="{8D249D8E-D90E-D08A-F721-FF3B45131DB5}"/>
                      </a:ext>
                    </a:extLst>
                  </p:cNvPr>
                  <p:cNvSpPr/>
                  <p:nvPr/>
                </p:nvSpPr>
                <p:spPr>
                  <a:xfrm>
                    <a:off x="6052914" y="2206979"/>
                    <a:ext cx="185896" cy="77151"/>
                  </a:xfrm>
                  <a:custGeom>
                    <a:avLst/>
                    <a:gdLst>
                      <a:gd name="connsiteX0" fmla="*/ 185897 w 185896"/>
                      <a:gd name="connsiteY0" fmla="*/ 63463 h 77151"/>
                      <a:gd name="connsiteX1" fmla="*/ 85789 w 185896"/>
                      <a:gd name="connsiteY1" fmla="*/ 75846 h 77151"/>
                      <a:gd name="connsiteX2" fmla="*/ 1397 w 185896"/>
                      <a:gd name="connsiteY2" fmla="*/ 34317 h 77151"/>
                      <a:gd name="connsiteX3" fmla="*/ 103601 w 185896"/>
                      <a:gd name="connsiteY3" fmla="*/ 5170 h 77151"/>
                      <a:gd name="connsiteX4" fmla="*/ 185897 w 185896"/>
                      <a:gd name="connsiteY4" fmla="*/ 15076 h 77151"/>
                      <a:gd name="connsiteX5" fmla="*/ 185897 w 185896"/>
                      <a:gd name="connsiteY5" fmla="*/ 15076 h 77151"/>
                      <a:gd name="connsiteX6" fmla="*/ 184754 w 185896"/>
                      <a:gd name="connsiteY6" fmla="*/ 61749 h 77151"/>
                      <a:gd name="connsiteX7" fmla="*/ 185897 w 185896"/>
                      <a:gd name="connsiteY7" fmla="*/ 63463 h 771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85896" h="77151">
                        <a:moveTo>
                          <a:pt x="185897" y="63463"/>
                        </a:moveTo>
                        <a:lnTo>
                          <a:pt x="85789" y="75846"/>
                        </a:lnTo>
                        <a:cubicBezTo>
                          <a:pt x="85789" y="75846"/>
                          <a:pt x="-12795" y="88609"/>
                          <a:pt x="1397" y="34317"/>
                        </a:cubicBezTo>
                        <a:cubicBezTo>
                          <a:pt x="15113" y="-18166"/>
                          <a:pt x="103601" y="5170"/>
                          <a:pt x="103601" y="5170"/>
                        </a:cubicBezTo>
                        <a:lnTo>
                          <a:pt x="185897" y="15076"/>
                        </a:lnTo>
                        <a:lnTo>
                          <a:pt x="185897" y="15076"/>
                        </a:lnTo>
                        <a:cubicBezTo>
                          <a:pt x="175991" y="28507"/>
                          <a:pt x="175514" y="47842"/>
                          <a:pt x="184754" y="61749"/>
                        </a:cubicBezTo>
                        <a:lnTo>
                          <a:pt x="185897" y="63463"/>
                        </a:lnTo>
                        <a:close/>
                      </a:path>
                    </a:pathLst>
                  </a:custGeom>
                  <a:solidFill>
                    <a:srgbClr val="EE730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" name="Forma Livre: Forma 59">
                    <a:extLst>
                      <a:ext uri="{FF2B5EF4-FFF2-40B4-BE49-F238E27FC236}">
                        <a16:creationId xmlns:a16="http://schemas.microsoft.com/office/drawing/2014/main" id="{6F92B074-AE4F-1159-0347-76675BA41D24}"/>
                      </a:ext>
                    </a:extLst>
                  </p:cNvPr>
                  <p:cNvSpPr/>
                  <p:nvPr/>
                </p:nvSpPr>
                <p:spPr>
                  <a:xfrm>
                    <a:off x="6052925" y="2208245"/>
                    <a:ext cx="43677" cy="74771"/>
                  </a:xfrm>
                  <a:custGeom>
                    <a:avLst/>
                    <a:gdLst>
                      <a:gd name="connsiteX0" fmla="*/ 1386 w 43677"/>
                      <a:gd name="connsiteY0" fmla="*/ 32956 h 74771"/>
                      <a:gd name="connsiteX1" fmla="*/ 43677 w 43677"/>
                      <a:gd name="connsiteY1" fmla="*/ 0 h 74771"/>
                      <a:gd name="connsiteX2" fmla="*/ 43677 w 43677"/>
                      <a:gd name="connsiteY2" fmla="*/ 74771 h 74771"/>
                      <a:gd name="connsiteX3" fmla="*/ 1386 w 43677"/>
                      <a:gd name="connsiteY3" fmla="*/ 32956 h 747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3677" h="74771">
                        <a:moveTo>
                          <a:pt x="1386" y="32956"/>
                        </a:moveTo>
                        <a:cubicBezTo>
                          <a:pt x="6911" y="11811"/>
                          <a:pt x="24532" y="3048"/>
                          <a:pt x="43677" y="0"/>
                        </a:cubicBezTo>
                        <a:lnTo>
                          <a:pt x="43677" y="74771"/>
                        </a:lnTo>
                        <a:cubicBezTo>
                          <a:pt x="18912" y="72009"/>
                          <a:pt x="-6234" y="62294"/>
                          <a:pt x="1386" y="32956"/>
                        </a:cubicBezTo>
                        <a:close/>
                      </a:path>
                    </a:pathLst>
                  </a:custGeom>
                  <a:gradFill>
                    <a:gsLst>
                      <a:gs pos="0">
                        <a:srgbClr val="E0F0EB"/>
                      </a:gs>
                      <a:gs pos="50000">
                        <a:srgbClr val="D0EAED"/>
                      </a:gs>
                      <a:gs pos="100000">
                        <a:srgbClr val="C0E4EF"/>
                      </a:gs>
                    </a:gsLst>
                    <a:lin ang="0" scaled="1"/>
                  </a:gra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61" name="Gráfico 19">
                    <a:extLst>
                      <a:ext uri="{FF2B5EF4-FFF2-40B4-BE49-F238E27FC236}">
                        <a16:creationId xmlns:a16="http://schemas.microsoft.com/office/drawing/2014/main" id="{953DCE0E-98F2-C5C1-759C-EACD4B9C672F}"/>
                      </a:ext>
                    </a:extLst>
                  </p:cNvPr>
                  <p:cNvGrpSpPr/>
                  <p:nvPr/>
                </p:nvGrpSpPr>
                <p:grpSpPr>
                  <a:xfrm>
                    <a:off x="6190234" y="2227485"/>
                    <a:ext cx="13620" cy="32194"/>
                    <a:chOff x="6190234" y="2227485"/>
                    <a:chExt cx="13620" cy="32194"/>
                  </a:xfrm>
                  <a:solidFill>
                    <a:srgbClr val="FFFFFF"/>
                  </a:solidFill>
                </p:grpSpPr>
                <p:sp>
                  <p:nvSpPr>
                    <p:cNvPr id="129" name="Forma Livre: Forma 128">
                      <a:extLst>
                        <a:ext uri="{FF2B5EF4-FFF2-40B4-BE49-F238E27FC236}">
                          <a16:creationId xmlns:a16="http://schemas.microsoft.com/office/drawing/2014/main" id="{41084B0D-1F3A-5FAA-ED96-17479830DB4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94329" y="2227485"/>
                      <a:ext cx="9525" cy="32099"/>
                    </a:xfrm>
                    <a:custGeom>
                      <a:avLst/>
                      <a:gdLst>
                        <a:gd name="connsiteX0" fmla="*/ 0 w 9525"/>
                        <a:gd name="connsiteY0" fmla="*/ 0 h 32099"/>
                        <a:gd name="connsiteX1" fmla="*/ 0 w 9525"/>
                        <a:gd name="connsiteY1" fmla="*/ 32099 h 320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32099">
                          <a:moveTo>
                            <a:pt x="0" y="0"/>
                          </a:moveTo>
                          <a:lnTo>
                            <a:pt x="0" y="32099"/>
                          </a:lnTo>
                        </a:path>
                      </a:pathLst>
                    </a:custGeom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pt-BR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30" name="Forma Livre: Forma 129">
                      <a:extLst>
                        <a:ext uri="{FF2B5EF4-FFF2-40B4-BE49-F238E27FC236}">
                          <a16:creationId xmlns:a16="http://schemas.microsoft.com/office/drawing/2014/main" id="{82C7AFA7-A6F5-F1CA-5E13-C2310D614BB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90234" y="2227485"/>
                      <a:ext cx="8191" cy="32194"/>
                    </a:xfrm>
                    <a:custGeom>
                      <a:avLst/>
                      <a:gdLst>
                        <a:gd name="connsiteX0" fmla="*/ 0 w 8191"/>
                        <a:gd name="connsiteY0" fmla="*/ 0 h 32194"/>
                        <a:gd name="connsiteX1" fmla="*/ 8192 w 8191"/>
                        <a:gd name="connsiteY1" fmla="*/ 0 h 32194"/>
                        <a:gd name="connsiteX2" fmla="*/ 8192 w 8191"/>
                        <a:gd name="connsiteY2" fmla="*/ 32194 h 32194"/>
                        <a:gd name="connsiteX3" fmla="*/ 0 w 8191"/>
                        <a:gd name="connsiteY3" fmla="*/ 32194 h 3219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8191" h="32194">
                          <a:moveTo>
                            <a:pt x="0" y="0"/>
                          </a:moveTo>
                          <a:lnTo>
                            <a:pt x="8192" y="0"/>
                          </a:lnTo>
                          <a:lnTo>
                            <a:pt x="8192" y="32194"/>
                          </a:lnTo>
                          <a:lnTo>
                            <a:pt x="0" y="32194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pt-BR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62" name="Gráfico 19">
                    <a:extLst>
                      <a:ext uri="{FF2B5EF4-FFF2-40B4-BE49-F238E27FC236}">
                        <a16:creationId xmlns:a16="http://schemas.microsoft.com/office/drawing/2014/main" id="{38A83D85-981C-19C2-6C00-08B217FE8463}"/>
                      </a:ext>
                    </a:extLst>
                  </p:cNvPr>
                  <p:cNvGrpSpPr/>
                  <p:nvPr/>
                </p:nvGrpSpPr>
                <p:grpSpPr>
                  <a:xfrm>
                    <a:off x="6169945" y="2227485"/>
                    <a:ext cx="13621" cy="32194"/>
                    <a:chOff x="6169945" y="2227485"/>
                    <a:chExt cx="13621" cy="32194"/>
                  </a:xfrm>
                  <a:solidFill>
                    <a:srgbClr val="FFFFFF"/>
                  </a:solidFill>
                </p:grpSpPr>
                <p:sp>
                  <p:nvSpPr>
                    <p:cNvPr id="63" name="Forma Livre: Forma 62">
                      <a:extLst>
                        <a:ext uri="{FF2B5EF4-FFF2-40B4-BE49-F238E27FC236}">
                          <a16:creationId xmlns:a16="http://schemas.microsoft.com/office/drawing/2014/main" id="{3BBF0102-3E3C-D06B-AB79-E0DAACDAEED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74041" y="2227485"/>
                      <a:ext cx="9525" cy="32099"/>
                    </a:xfrm>
                    <a:custGeom>
                      <a:avLst/>
                      <a:gdLst>
                        <a:gd name="connsiteX0" fmla="*/ 0 w 9525"/>
                        <a:gd name="connsiteY0" fmla="*/ 0 h 32099"/>
                        <a:gd name="connsiteX1" fmla="*/ 0 w 9525"/>
                        <a:gd name="connsiteY1" fmla="*/ 32099 h 320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32099">
                          <a:moveTo>
                            <a:pt x="0" y="0"/>
                          </a:moveTo>
                          <a:lnTo>
                            <a:pt x="0" y="32099"/>
                          </a:lnTo>
                        </a:path>
                      </a:pathLst>
                    </a:custGeom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pt-BR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28" name="Forma Livre: Forma 127">
                      <a:extLst>
                        <a:ext uri="{FF2B5EF4-FFF2-40B4-BE49-F238E27FC236}">
                          <a16:creationId xmlns:a16="http://schemas.microsoft.com/office/drawing/2014/main" id="{A8A1807B-89F3-9E2D-067C-A88631B750F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69945" y="2227485"/>
                      <a:ext cx="8191" cy="32194"/>
                    </a:xfrm>
                    <a:custGeom>
                      <a:avLst/>
                      <a:gdLst>
                        <a:gd name="connsiteX0" fmla="*/ 0 w 8191"/>
                        <a:gd name="connsiteY0" fmla="*/ 0 h 32194"/>
                        <a:gd name="connsiteX1" fmla="*/ 8191 w 8191"/>
                        <a:gd name="connsiteY1" fmla="*/ 0 h 32194"/>
                        <a:gd name="connsiteX2" fmla="*/ 8191 w 8191"/>
                        <a:gd name="connsiteY2" fmla="*/ 32194 h 32194"/>
                        <a:gd name="connsiteX3" fmla="*/ 0 w 8191"/>
                        <a:gd name="connsiteY3" fmla="*/ 32194 h 3219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8191" h="32194">
                          <a:moveTo>
                            <a:pt x="0" y="0"/>
                          </a:moveTo>
                          <a:lnTo>
                            <a:pt x="8191" y="0"/>
                          </a:lnTo>
                          <a:lnTo>
                            <a:pt x="8191" y="32194"/>
                          </a:lnTo>
                          <a:lnTo>
                            <a:pt x="0" y="32194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pt-BR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</p:grpSp>
          <p:sp>
            <p:nvSpPr>
              <p:cNvPr id="13" name="Forma Livre: Forma 12">
                <a:extLst>
                  <a:ext uri="{FF2B5EF4-FFF2-40B4-BE49-F238E27FC236}">
                    <a16:creationId xmlns:a16="http://schemas.microsoft.com/office/drawing/2014/main" id="{50F1ED49-F536-3343-CE13-26E3DBCF8DF0}"/>
                  </a:ext>
                </a:extLst>
              </p:cNvPr>
              <p:cNvSpPr/>
              <p:nvPr/>
            </p:nvSpPr>
            <p:spPr>
              <a:xfrm>
                <a:off x="6188159" y="1840865"/>
                <a:ext cx="163142" cy="266890"/>
              </a:xfrm>
              <a:custGeom>
                <a:avLst/>
                <a:gdLst>
                  <a:gd name="connsiteX0" fmla="*/ 25030 w 163142"/>
                  <a:gd name="connsiteY0" fmla="*/ 0 h 266890"/>
                  <a:gd name="connsiteX1" fmla="*/ 5313 w 163142"/>
                  <a:gd name="connsiteY1" fmla="*/ 65056 h 266890"/>
                  <a:gd name="connsiteX2" fmla="*/ 45033 w 163142"/>
                  <a:gd name="connsiteY2" fmla="*/ 197072 h 266890"/>
                  <a:gd name="connsiteX3" fmla="*/ 134377 w 163142"/>
                  <a:gd name="connsiteY3" fmla="*/ 266890 h 266890"/>
                  <a:gd name="connsiteX4" fmla="*/ 163143 w 163142"/>
                  <a:gd name="connsiteY4" fmla="*/ 188786 h 266890"/>
                  <a:gd name="connsiteX5" fmla="*/ 113708 w 163142"/>
                  <a:gd name="connsiteY5" fmla="*/ 142685 h 266890"/>
                  <a:gd name="connsiteX6" fmla="*/ 101421 w 163142"/>
                  <a:gd name="connsiteY6" fmla="*/ 85058 h 266890"/>
                  <a:gd name="connsiteX7" fmla="*/ 120375 w 163142"/>
                  <a:gd name="connsiteY7" fmla="*/ 42577 h 266890"/>
                  <a:gd name="connsiteX8" fmla="*/ 25030 w 163142"/>
                  <a:gd name="connsiteY8" fmla="*/ 0 h 266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3142" h="266890">
                    <a:moveTo>
                      <a:pt x="25030" y="0"/>
                    </a:moveTo>
                    <a:lnTo>
                      <a:pt x="5313" y="65056"/>
                    </a:lnTo>
                    <a:cubicBezTo>
                      <a:pt x="-9069" y="112490"/>
                      <a:pt x="6266" y="163449"/>
                      <a:pt x="45033" y="197072"/>
                    </a:cubicBezTo>
                    <a:lnTo>
                      <a:pt x="134377" y="266890"/>
                    </a:lnTo>
                    <a:lnTo>
                      <a:pt x="163143" y="188786"/>
                    </a:lnTo>
                    <a:lnTo>
                      <a:pt x="113708" y="142685"/>
                    </a:lnTo>
                    <a:cubicBezTo>
                      <a:pt x="97515" y="127540"/>
                      <a:pt x="92658" y="104775"/>
                      <a:pt x="101421" y="85058"/>
                    </a:cubicBezTo>
                    <a:lnTo>
                      <a:pt x="120375" y="42577"/>
                    </a:lnTo>
                    <a:lnTo>
                      <a:pt x="25030" y="0"/>
                    </a:lnTo>
                    <a:close/>
                  </a:path>
                </a:pathLst>
              </a:custGeom>
              <a:solidFill>
                <a:srgbClr val="F8B68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14" name="Gráfico 19">
                <a:extLst>
                  <a:ext uri="{FF2B5EF4-FFF2-40B4-BE49-F238E27FC236}">
                    <a16:creationId xmlns:a16="http://schemas.microsoft.com/office/drawing/2014/main" id="{968158C9-3CCB-FC24-E6E1-282AE4EA9AF6}"/>
                  </a:ext>
                </a:extLst>
              </p:cNvPr>
              <p:cNvGrpSpPr/>
              <p:nvPr/>
            </p:nvGrpSpPr>
            <p:grpSpPr>
              <a:xfrm>
                <a:off x="6610857" y="2206979"/>
                <a:ext cx="266784" cy="77151"/>
                <a:chOff x="6610857" y="2206979"/>
                <a:chExt cx="266784" cy="77151"/>
              </a:xfrm>
            </p:grpSpPr>
            <p:sp>
              <p:nvSpPr>
                <p:cNvPr id="29" name="Forma Livre: Forma 28">
                  <a:extLst>
                    <a:ext uri="{FF2B5EF4-FFF2-40B4-BE49-F238E27FC236}">
                      <a16:creationId xmlns:a16="http://schemas.microsoft.com/office/drawing/2014/main" id="{719EC772-D400-857F-84CA-4385553D3381}"/>
                    </a:ext>
                  </a:extLst>
                </p:cNvPr>
                <p:cNvSpPr/>
                <p:nvPr/>
              </p:nvSpPr>
              <p:spPr>
                <a:xfrm>
                  <a:off x="6610857" y="2212055"/>
                  <a:ext cx="96202" cy="58388"/>
                </a:xfrm>
                <a:custGeom>
                  <a:avLst/>
                  <a:gdLst>
                    <a:gd name="connsiteX0" fmla="*/ 0 w 96202"/>
                    <a:gd name="connsiteY0" fmla="*/ 53530 h 58388"/>
                    <a:gd name="connsiteX1" fmla="*/ 80867 w 96202"/>
                    <a:gd name="connsiteY1" fmla="*/ 58388 h 58388"/>
                    <a:gd name="connsiteX2" fmla="*/ 96202 w 96202"/>
                    <a:gd name="connsiteY2" fmla="*/ 41529 h 58388"/>
                    <a:gd name="connsiteX3" fmla="*/ 88392 w 96202"/>
                    <a:gd name="connsiteY3" fmla="*/ 11049 h 58388"/>
                    <a:gd name="connsiteX4" fmla="*/ 11906 w 96202"/>
                    <a:gd name="connsiteY4" fmla="*/ 0 h 583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6202" h="58388">
                      <a:moveTo>
                        <a:pt x="0" y="53530"/>
                      </a:moveTo>
                      <a:lnTo>
                        <a:pt x="80867" y="58388"/>
                      </a:lnTo>
                      <a:lnTo>
                        <a:pt x="96202" y="41529"/>
                      </a:lnTo>
                      <a:lnTo>
                        <a:pt x="88392" y="11049"/>
                      </a:lnTo>
                      <a:lnTo>
                        <a:pt x="11906" y="0"/>
                      </a:lnTo>
                      <a:close/>
                    </a:path>
                  </a:pathLst>
                </a:custGeom>
                <a:solidFill>
                  <a:srgbClr val="F8B68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46" name="Gráfico 19">
                  <a:extLst>
                    <a:ext uri="{FF2B5EF4-FFF2-40B4-BE49-F238E27FC236}">
                      <a16:creationId xmlns:a16="http://schemas.microsoft.com/office/drawing/2014/main" id="{75BD5838-2EF9-FC27-A658-CC9B680BD40F}"/>
                    </a:ext>
                  </a:extLst>
                </p:cNvPr>
                <p:cNvGrpSpPr/>
                <p:nvPr/>
              </p:nvGrpSpPr>
              <p:grpSpPr>
                <a:xfrm>
                  <a:off x="6691725" y="2206979"/>
                  <a:ext cx="185916" cy="77151"/>
                  <a:chOff x="6691725" y="2206979"/>
                  <a:chExt cx="185916" cy="77151"/>
                </a:xfrm>
              </p:grpSpPr>
              <p:sp>
                <p:nvSpPr>
                  <p:cNvPr id="48" name="Forma Livre: Forma 47">
                    <a:extLst>
                      <a:ext uri="{FF2B5EF4-FFF2-40B4-BE49-F238E27FC236}">
                        <a16:creationId xmlns:a16="http://schemas.microsoft.com/office/drawing/2014/main" id="{32610C92-1BD8-7D72-70F8-BAE4DBF5F245}"/>
                      </a:ext>
                    </a:extLst>
                  </p:cNvPr>
                  <p:cNvSpPr/>
                  <p:nvPr/>
                </p:nvSpPr>
                <p:spPr>
                  <a:xfrm>
                    <a:off x="6691725" y="2206979"/>
                    <a:ext cx="185896" cy="77151"/>
                  </a:xfrm>
                  <a:custGeom>
                    <a:avLst/>
                    <a:gdLst>
                      <a:gd name="connsiteX0" fmla="*/ 0 w 185896"/>
                      <a:gd name="connsiteY0" fmla="*/ 63463 h 77151"/>
                      <a:gd name="connsiteX1" fmla="*/ 100108 w 185896"/>
                      <a:gd name="connsiteY1" fmla="*/ 75846 h 77151"/>
                      <a:gd name="connsiteX2" fmla="*/ 184499 w 185896"/>
                      <a:gd name="connsiteY2" fmla="*/ 34317 h 77151"/>
                      <a:gd name="connsiteX3" fmla="*/ 82296 w 185896"/>
                      <a:gd name="connsiteY3" fmla="*/ 5170 h 77151"/>
                      <a:gd name="connsiteX4" fmla="*/ 0 w 185896"/>
                      <a:gd name="connsiteY4" fmla="*/ 15076 h 77151"/>
                      <a:gd name="connsiteX5" fmla="*/ 0 w 185896"/>
                      <a:gd name="connsiteY5" fmla="*/ 15076 h 77151"/>
                      <a:gd name="connsiteX6" fmla="*/ 1143 w 185896"/>
                      <a:gd name="connsiteY6" fmla="*/ 61749 h 77151"/>
                      <a:gd name="connsiteX7" fmla="*/ 0 w 185896"/>
                      <a:gd name="connsiteY7" fmla="*/ 63463 h 771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85896" h="77151">
                        <a:moveTo>
                          <a:pt x="0" y="63463"/>
                        </a:moveTo>
                        <a:lnTo>
                          <a:pt x="100108" y="75846"/>
                        </a:lnTo>
                        <a:cubicBezTo>
                          <a:pt x="100108" y="75846"/>
                          <a:pt x="198692" y="88609"/>
                          <a:pt x="184499" y="34317"/>
                        </a:cubicBezTo>
                        <a:cubicBezTo>
                          <a:pt x="170783" y="-18166"/>
                          <a:pt x="82296" y="5170"/>
                          <a:pt x="82296" y="5170"/>
                        </a:cubicBezTo>
                        <a:lnTo>
                          <a:pt x="0" y="15076"/>
                        </a:lnTo>
                        <a:lnTo>
                          <a:pt x="0" y="15076"/>
                        </a:lnTo>
                        <a:cubicBezTo>
                          <a:pt x="9906" y="28507"/>
                          <a:pt x="10382" y="47842"/>
                          <a:pt x="1143" y="61749"/>
                        </a:cubicBezTo>
                        <a:lnTo>
                          <a:pt x="0" y="63463"/>
                        </a:lnTo>
                        <a:close/>
                      </a:path>
                    </a:pathLst>
                  </a:custGeom>
                  <a:solidFill>
                    <a:srgbClr val="EE730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9" name="Forma Livre: Forma 48">
                    <a:extLst>
                      <a:ext uri="{FF2B5EF4-FFF2-40B4-BE49-F238E27FC236}">
                        <a16:creationId xmlns:a16="http://schemas.microsoft.com/office/drawing/2014/main" id="{1A4A6291-EF3B-8FB8-0516-1931E640E156}"/>
                      </a:ext>
                    </a:extLst>
                  </p:cNvPr>
                  <p:cNvSpPr/>
                  <p:nvPr/>
                </p:nvSpPr>
                <p:spPr>
                  <a:xfrm>
                    <a:off x="6833933" y="2208245"/>
                    <a:ext cx="43708" cy="74771"/>
                  </a:xfrm>
                  <a:custGeom>
                    <a:avLst/>
                    <a:gdLst>
                      <a:gd name="connsiteX0" fmla="*/ 42291 w 43708"/>
                      <a:gd name="connsiteY0" fmla="*/ 32956 h 74771"/>
                      <a:gd name="connsiteX1" fmla="*/ 0 w 43708"/>
                      <a:gd name="connsiteY1" fmla="*/ 0 h 74771"/>
                      <a:gd name="connsiteX2" fmla="*/ 0 w 43708"/>
                      <a:gd name="connsiteY2" fmla="*/ 74771 h 74771"/>
                      <a:gd name="connsiteX3" fmla="*/ 42291 w 43708"/>
                      <a:gd name="connsiteY3" fmla="*/ 32956 h 747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3708" h="74771">
                        <a:moveTo>
                          <a:pt x="42291" y="32956"/>
                        </a:moveTo>
                        <a:cubicBezTo>
                          <a:pt x="36767" y="11811"/>
                          <a:pt x="19145" y="3048"/>
                          <a:pt x="0" y="0"/>
                        </a:cubicBezTo>
                        <a:lnTo>
                          <a:pt x="0" y="74771"/>
                        </a:lnTo>
                        <a:cubicBezTo>
                          <a:pt x="24860" y="72009"/>
                          <a:pt x="50006" y="62294"/>
                          <a:pt x="42291" y="32956"/>
                        </a:cubicBezTo>
                        <a:close/>
                      </a:path>
                    </a:pathLst>
                  </a:custGeom>
                  <a:gradFill>
                    <a:gsLst>
                      <a:gs pos="0">
                        <a:srgbClr val="E0F0EB"/>
                      </a:gs>
                      <a:gs pos="50000">
                        <a:srgbClr val="D0EAED"/>
                      </a:gs>
                      <a:gs pos="100000">
                        <a:srgbClr val="C0E4EF"/>
                      </a:gs>
                    </a:gsLst>
                    <a:lin ang="0" scaled="1"/>
                  </a:gra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51" name="Gráfico 19">
                    <a:extLst>
                      <a:ext uri="{FF2B5EF4-FFF2-40B4-BE49-F238E27FC236}">
                        <a16:creationId xmlns:a16="http://schemas.microsoft.com/office/drawing/2014/main" id="{4BE0BD7E-35BD-3725-B007-11E34A3537A3}"/>
                      </a:ext>
                    </a:extLst>
                  </p:cNvPr>
                  <p:cNvGrpSpPr/>
                  <p:nvPr/>
                </p:nvGrpSpPr>
                <p:grpSpPr>
                  <a:xfrm>
                    <a:off x="6732111" y="2227485"/>
                    <a:ext cx="13621" cy="32194"/>
                    <a:chOff x="6732111" y="2227485"/>
                    <a:chExt cx="13621" cy="32194"/>
                  </a:xfrm>
                  <a:solidFill>
                    <a:srgbClr val="FFFFFF"/>
                  </a:solidFill>
                </p:grpSpPr>
                <p:sp>
                  <p:nvSpPr>
                    <p:cNvPr id="55" name="Forma Livre: Forma 54">
                      <a:extLst>
                        <a:ext uri="{FF2B5EF4-FFF2-40B4-BE49-F238E27FC236}">
                          <a16:creationId xmlns:a16="http://schemas.microsoft.com/office/drawing/2014/main" id="{66B0D927-7070-A3CE-D49D-6BC26224A2D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36207" y="2227485"/>
                      <a:ext cx="9525" cy="32099"/>
                    </a:xfrm>
                    <a:custGeom>
                      <a:avLst/>
                      <a:gdLst>
                        <a:gd name="connsiteX0" fmla="*/ 0 w 9525"/>
                        <a:gd name="connsiteY0" fmla="*/ 0 h 32099"/>
                        <a:gd name="connsiteX1" fmla="*/ 0 w 9525"/>
                        <a:gd name="connsiteY1" fmla="*/ 32099 h 320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32099">
                          <a:moveTo>
                            <a:pt x="0" y="0"/>
                          </a:moveTo>
                          <a:lnTo>
                            <a:pt x="0" y="32099"/>
                          </a:lnTo>
                        </a:path>
                      </a:pathLst>
                    </a:custGeom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pt-BR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56" name="Forma Livre: Forma 55">
                      <a:extLst>
                        <a:ext uri="{FF2B5EF4-FFF2-40B4-BE49-F238E27FC236}">
                          <a16:creationId xmlns:a16="http://schemas.microsoft.com/office/drawing/2014/main" id="{641AB719-77C8-CEF6-656D-84BB4E73CB8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32111" y="2227485"/>
                      <a:ext cx="8191" cy="32194"/>
                    </a:xfrm>
                    <a:custGeom>
                      <a:avLst/>
                      <a:gdLst>
                        <a:gd name="connsiteX0" fmla="*/ 0 w 8191"/>
                        <a:gd name="connsiteY0" fmla="*/ 0 h 32194"/>
                        <a:gd name="connsiteX1" fmla="*/ 8192 w 8191"/>
                        <a:gd name="connsiteY1" fmla="*/ 0 h 32194"/>
                        <a:gd name="connsiteX2" fmla="*/ 8192 w 8191"/>
                        <a:gd name="connsiteY2" fmla="*/ 32194 h 32194"/>
                        <a:gd name="connsiteX3" fmla="*/ 0 w 8191"/>
                        <a:gd name="connsiteY3" fmla="*/ 32194 h 3219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8191" h="32194">
                          <a:moveTo>
                            <a:pt x="0" y="0"/>
                          </a:moveTo>
                          <a:lnTo>
                            <a:pt x="8192" y="0"/>
                          </a:lnTo>
                          <a:lnTo>
                            <a:pt x="8192" y="32194"/>
                          </a:lnTo>
                          <a:lnTo>
                            <a:pt x="0" y="32194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pt-BR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52" name="Gráfico 19">
                    <a:extLst>
                      <a:ext uri="{FF2B5EF4-FFF2-40B4-BE49-F238E27FC236}">
                        <a16:creationId xmlns:a16="http://schemas.microsoft.com/office/drawing/2014/main" id="{AFD7B373-AA9A-7B99-28DE-A83792847E94}"/>
                      </a:ext>
                    </a:extLst>
                  </p:cNvPr>
                  <p:cNvGrpSpPr/>
                  <p:nvPr/>
                </p:nvGrpSpPr>
                <p:grpSpPr>
                  <a:xfrm>
                    <a:off x="6752399" y="2227485"/>
                    <a:ext cx="13716" cy="32194"/>
                    <a:chOff x="6752399" y="2227485"/>
                    <a:chExt cx="13716" cy="32194"/>
                  </a:xfrm>
                  <a:solidFill>
                    <a:srgbClr val="FFFFFF"/>
                  </a:solidFill>
                </p:grpSpPr>
                <p:sp>
                  <p:nvSpPr>
                    <p:cNvPr id="53" name="Forma Livre: Forma 52">
                      <a:extLst>
                        <a:ext uri="{FF2B5EF4-FFF2-40B4-BE49-F238E27FC236}">
                          <a16:creationId xmlns:a16="http://schemas.microsoft.com/office/drawing/2014/main" id="{356C4ACD-B41E-CB21-8E83-212AA54E4F3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56590" y="2227485"/>
                      <a:ext cx="9525" cy="32099"/>
                    </a:xfrm>
                    <a:custGeom>
                      <a:avLst/>
                      <a:gdLst>
                        <a:gd name="connsiteX0" fmla="*/ 0 w 9525"/>
                        <a:gd name="connsiteY0" fmla="*/ 0 h 32099"/>
                        <a:gd name="connsiteX1" fmla="*/ 0 w 9525"/>
                        <a:gd name="connsiteY1" fmla="*/ 32099 h 320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32099">
                          <a:moveTo>
                            <a:pt x="0" y="0"/>
                          </a:moveTo>
                          <a:lnTo>
                            <a:pt x="0" y="32099"/>
                          </a:lnTo>
                        </a:path>
                      </a:pathLst>
                    </a:custGeom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pt-BR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54" name="Forma Livre: Forma 53">
                      <a:extLst>
                        <a:ext uri="{FF2B5EF4-FFF2-40B4-BE49-F238E27FC236}">
                          <a16:creationId xmlns:a16="http://schemas.microsoft.com/office/drawing/2014/main" id="{141F9EEA-5E5F-0358-AD8A-FEBAB60B684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52399" y="2227485"/>
                      <a:ext cx="8191" cy="32194"/>
                    </a:xfrm>
                    <a:custGeom>
                      <a:avLst/>
                      <a:gdLst>
                        <a:gd name="connsiteX0" fmla="*/ 0 w 8191"/>
                        <a:gd name="connsiteY0" fmla="*/ 0 h 32194"/>
                        <a:gd name="connsiteX1" fmla="*/ 8192 w 8191"/>
                        <a:gd name="connsiteY1" fmla="*/ 0 h 32194"/>
                        <a:gd name="connsiteX2" fmla="*/ 8192 w 8191"/>
                        <a:gd name="connsiteY2" fmla="*/ 32194 h 32194"/>
                        <a:gd name="connsiteX3" fmla="*/ 0 w 8191"/>
                        <a:gd name="connsiteY3" fmla="*/ 32194 h 3219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8191" h="32194">
                          <a:moveTo>
                            <a:pt x="0" y="0"/>
                          </a:moveTo>
                          <a:lnTo>
                            <a:pt x="8192" y="0"/>
                          </a:lnTo>
                          <a:lnTo>
                            <a:pt x="8192" y="32194"/>
                          </a:lnTo>
                          <a:lnTo>
                            <a:pt x="0" y="32194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pt-BR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</p:grpSp>
          <p:grpSp>
            <p:nvGrpSpPr>
              <p:cNvPr id="16" name="Gráfico 19">
                <a:extLst>
                  <a:ext uri="{FF2B5EF4-FFF2-40B4-BE49-F238E27FC236}">
                    <a16:creationId xmlns:a16="http://schemas.microsoft.com/office/drawing/2014/main" id="{508320A5-0288-E636-A5B8-CCA210762DC0}"/>
                  </a:ext>
                </a:extLst>
              </p:cNvPr>
              <p:cNvGrpSpPr/>
              <p:nvPr/>
            </p:nvGrpSpPr>
            <p:grpSpPr>
              <a:xfrm>
                <a:off x="6309010" y="1936020"/>
                <a:ext cx="330041" cy="205835"/>
                <a:chOff x="6309010" y="1936020"/>
                <a:chExt cx="330041" cy="205835"/>
              </a:xfrm>
            </p:grpSpPr>
            <p:sp>
              <p:nvSpPr>
                <p:cNvPr id="26" name="Forma Livre: Forma 25">
                  <a:extLst>
                    <a:ext uri="{FF2B5EF4-FFF2-40B4-BE49-F238E27FC236}">
                      <a16:creationId xmlns:a16="http://schemas.microsoft.com/office/drawing/2014/main" id="{C6B7A2FB-27CE-C405-663F-7D8C8E02D043}"/>
                    </a:ext>
                  </a:extLst>
                </p:cNvPr>
                <p:cNvSpPr/>
                <p:nvPr/>
              </p:nvSpPr>
              <p:spPr>
                <a:xfrm>
                  <a:off x="6309010" y="1936020"/>
                  <a:ext cx="330041" cy="197548"/>
                </a:xfrm>
                <a:custGeom>
                  <a:avLst/>
                  <a:gdLst>
                    <a:gd name="connsiteX0" fmla="*/ 0 w 330041"/>
                    <a:gd name="connsiteY0" fmla="*/ 0 h 197548"/>
                    <a:gd name="connsiteX1" fmla="*/ 330041 w 330041"/>
                    <a:gd name="connsiteY1" fmla="*/ 0 h 197548"/>
                    <a:gd name="connsiteX2" fmla="*/ 330041 w 330041"/>
                    <a:gd name="connsiteY2" fmla="*/ 197548 h 197548"/>
                    <a:gd name="connsiteX3" fmla="*/ 0 w 330041"/>
                    <a:gd name="connsiteY3" fmla="*/ 197548 h 197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30041" h="197548">
                      <a:moveTo>
                        <a:pt x="0" y="0"/>
                      </a:moveTo>
                      <a:lnTo>
                        <a:pt x="330041" y="0"/>
                      </a:lnTo>
                      <a:lnTo>
                        <a:pt x="330041" y="197548"/>
                      </a:lnTo>
                      <a:lnTo>
                        <a:pt x="0" y="197548"/>
                      </a:ln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7" name="Forma Livre: Forma 26">
                  <a:extLst>
                    <a:ext uri="{FF2B5EF4-FFF2-40B4-BE49-F238E27FC236}">
                      <a16:creationId xmlns:a16="http://schemas.microsoft.com/office/drawing/2014/main" id="{C7A1504A-053C-93DE-FA51-78BCA05425A8}"/>
                    </a:ext>
                  </a:extLst>
                </p:cNvPr>
                <p:cNvSpPr/>
                <p:nvPr/>
              </p:nvSpPr>
              <p:spPr>
                <a:xfrm>
                  <a:off x="6309010" y="2125377"/>
                  <a:ext cx="330041" cy="16478"/>
                </a:xfrm>
                <a:custGeom>
                  <a:avLst/>
                  <a:gdLst>
                    <a:gd name="connsiteX0" fmla="*/ 0 w 330041"/>
                    <a:gd name="connsiteY0" fmla="*/ 0 h 16478"/>
                    <a:gd name="connsiteX1" fmla="*/ 330041 w 330041"/>
                    <a:gd name="connsiteY1" fmla="*/ 0 h 16478"/>
                    <a:gd name="connsiteX2" fmla="*/ 330041 w 330041"/>
                    <a:gd name="connsiteY2" fmla="*/ 16478 h 16478"/>
                    <a:gd name="connsiteX3" fmla="*/ 0 w 330041"/>
                    <a:gd name="connsiteY3" fmla="*/ 16478 h 164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30041" h="16478">
                      <a:moveTo>
                        <a:pt x="0" y="0"/>
                      </a:moveTo>
                      <a:lnTo>
                        <a:pt x="330041" y="0"/>
                      </a:lnTo>
                      <a:lnTo>
                        <a:pt x="330041" y="16478"/>
                      </a:lnTo>
                      <a:lnTo>
                        <a:pt x="0" y="16478"/>
                      </a:lnTo>
                      <a:close/>
                    </a:path>
                  </a:pathLst>
                </a:custGeom>
                <a:solidFill>
                  <a:srgbClr val="CBB8C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8" name="Forma Livre: Forma 27">
                  <a:extLst>
                    <a:ext uri="{FF2B5EF4-FFF2-40B4-BE49-F238E27FC236}">
                      <a16:creationId xmlns:a16="http://schemas.microsoft.com/office/drawing/2014/main" id="{FAB04576-321F-64FF-1778-23FEF876D012}"/>
                    </a:ext>
                  </a:extLst>
                </p:cNvPr>
                <p:cNvSpPr/>
                <p:nvPr/>
              </p:nvSpPr>
              <p:spPr>
                <a:xfrm>
                  <a:off x="6460839" y="2003362"/>
                  <a:ext cx="26479" cy="26479"/>
                </a:xfrm>
                <a:custGeom>
                  <a:avLst/>
                  <a:gdLst>
                    <a:gd name="connsiteX0" fmla="*/ 0 w 26479"/>
                    <a:gd name="connsiteY0" fmla="*/ 13240 h 26479"/>
                    <a:gd name="connsiteX1" fmla="*/ 13240 w 26479"/>
                    <a:gd name="connsiteY1" fmla="*/ 26479 h 26479"/>
                    <a:gd name="connsiteX2" fmla="*/ 26480 w 26479"/>
                    <a:gd name="connsiteY2" fmla="*/ 13240 h 26479"/>
                    <a:gd name="connsiteX3" fmla="*/ 13240 w 26479"/>
                    <a:gd name="connsiteY3" fmla="*/ 0 h 26479"/>
                    <a:gd name="connsiteX4" fmla="*/ 0 w 26479"/>
                    <a:gd name="connsiteY4" fmla="*/ 13240 h 264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6479" h="26479">
                      <a:moveTo>
                        <a:pt x="0" y="13240"/>
                      </a:moveTo>
                      <a:cubicBezTo>
                        <a:pt x="0" y="20574"/>
                        <a:pt x="5906" y="26479"/>
                        <a:pt x="13240" y="26479"/>
                      </a:cubicBezTo>
                      <a:cubicBezTo>
                        <a:pt x="20574" y="26479"/>
                        <a:pt x="26480" y="20574"/>
                        <a:pt x="26480" y="13240"/>
                      </a:cubicBezTo>
                      <a:cubicBezTo>
                        <a:pt x="26480" y="5906"/>
                        <a:pt x="20574" y="0"/>
                        <a:pt x="13240" y="0"/>
                      </a:cubicBezTo>
                      <a:cubicBezTo>
                        <a:pt x="5906" y="95"/>
                        <a:pt x="0" y="6001"/>
                        <a:pt x="0" y="1324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7" name="Forma Livre: Forma 16">
                <a:extLst>
                  <a:ext uri="{FF2B5EF4-FFF2-40B4-BE49-F238E27FC236}">
                    <a16:creationId xmlns:a16="http://schemas.microsoft.com/office/drawing/2014/main" id="{D15A5AD6-D8D0-FCBE-BA39-5A71DDBB626A}"/>
                  </a:ext>
                </a:extLst>
              </p:cNvPr>
              <p:cNvSpPr/>
              <p:nvPr/>
            </p:nvSpPr>
            <p:spPr>
              <a:xfrm>
                <a:off x="6265957" y="2039522"/>
                <a:ext cx="614010" cy="230920"/>
              </a:xfrm>
              <a:custGeom>
                <a:avLst/>
                <a:gdLst>
                  <a:gd name="connsiteX0" fmla="*/ 609410 w 614010"/>
                  <a:gd name="connsiteY0" fmla="*/ 41373 h 230920"/>
                  <a:gd name="connsiteX1" fmla="*/ 11240 w 614010"/>
                  <a:gd name="connsiteY1" fmla="*/ 230921 h 230920"/>
                  <a:gd name="connsiteX2" fmla="*/ 0 w 614010"/>
                  <a:gd name="connsiteY2" fmla="*/ 178629 h 230920"/>
                  <a:gd name="connsiteX3" fmla="*/ 609410 w 614010"/>
                  <a:gd name="connsiteY3" fmla="*/ 41373 h 230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14010" h="230920">
                    <a:moveTo>
                      <a:pt x="609410" y="41373"/>
                    </a:moveTo>
                    <a:cubicBezTo>
                      <a:pt x="675323" y="158817"/>
                      <a:pt x="11240" y="230921"/>
                      <a:pt x="11240" y="230921"/>
                    </a:cubicBezTo>
                    <a:lnTo>
                      <a:pt x="0" y="178629"/>
                    </a:lnTo>
                    <a:cubicBezTo>
                      <a:pt x="-95" y="178629"/>
                      <a:pt x="528066" y="-103502"/>
                      <a:pt x="609410" y="41373"/>
                    </a:cubicBezTo>
                    <a:close/>
                  </a:path>
                </a:pathLst>
              </a:custGeom>
              <a:solidFill>
                <a:srgbClr val="13223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" name="Forma Livre: Forma 17">
                <a:extLst>
                  <a:ext uri="{FF2B5EF4-FFF2-40B4-BE49-F238E27FC236}">
                    <a16:creationId xmlns:a16="http://schemas.microsoft.com/office/drawing/2014/main" id="{454FDF2A-0116-DAC5-7F6A-5A0CB2FA4779}"/>
                  </a:ext>
                </a:extLst>
              </p:cNvPr>
              <p:cNvSpPr/>
              <p:nvPr/>
            </p:nvSpPr>
            <p:spPr>
              <a:xfrm>
                <a:off x="6051890" y="2039501"/>
                <a:ext cx="611926" cy="237323"/>
              </a:xfrm>
              <a:custGeom>
                <a:avLst/>
                <a:gdLst>
                  <a:gd name="connsiteX0" fmla="*/ 3374 w 611926"/>
                  <a:gd name="connsiteY0" fmla="*/ 41394 h 237323"/>
                  <a:gd name="connsiteX1" fmla="*/ 607069 w 611926"/>
                  <a:gd name="connsiteY1" fmla="*/ 237323 h 237323"/>
                  <a:gd name="connsiteX2" fmla="*/ 611927 w 611926"/>
                  <a:gd name="connsiteY2" fmla="*/ 178459 h 237323"/>
                  <a:gd name="connsiteX3" fmla="*/ 3374 w 611926"/>
                  <a:gd name="connsiteY3" fmla="*/ 41394 h 237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11926" h="237323">
                    <a:moveTo>
                      <a:pt x="3374" y="41394"/>
                    </a:moveTo>
                    <a:cubicBezTo>
                      <a:pt x="-52633" y="163885"/>
                      <a:pt x="607069" y="237323"/>
                      <a:pt x="607069" y="237323"/>
                    </a:cubicBezTo>
                    <a:lnTo>
                      <a:pt x="611927" y="178459"/>
                    </a:lnTo>
                    <a:cubicBezTo>
                      <a:pt x="611927" y="178459"/>
                      <a:pt x="69573" y="-103481"/>
                      <a:pt x="3374" y="41394"/>
                    </a:cubicBezTo>
                    <a:close/>
                  </a:path>
                </a:pathLst>
              </a:custGeom>
              <a:solidFill>
                <a:srgbClr val="11458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19" name="Gráfico 19">
                <a:extLst>
                  <a:ext uri="{FF2B5EF4-FFF2-40B4-BE49-F238E27FC236}">
                    <a16:creationId xmlns:a16="http://schemas.microsoft.com/office/drawing/2014/main" id="{1E53D815-8736-EB21-6457-A8073815A899}"/>
                  </a:ext>
                </a:extLst>
              </p:cNvPr>
              <p:cNvGrpSpPr/>
              <p:nvPr/>
            </p:nvGrpSpPr>
            <p:grpSpPr>
              <a:xfrm>
                <a:off x="6309928" y="1379828"/>
                <a:ext cx="230560" cy="318354"/>
                <a:chOff x="6309928" y="1379828"/>
                <a:chExt cx="230560" cy="318354"/>
              </a:xfrm>
            </p:grpSpPr>
            <p:sp>
              <p:nvSpPr>
                <p:cNvPr id="21" name="Forma Livre: Forma 20">
                  <a:extLst>
                    <a:ext uri="{FF2B5EF4-FFF2-40B4-BE49-F238E27FC236}">
                      <a16:creationId xmlns:a16="http://schemas.microsoft.com/office/drawing/2014/main" id="{1BE7D46F-D4F5-31E9-5387-705C0B2A638C}"/>
                    </a:ext>
                  </a:extLst>
                </p:cNvPr>
                <p:cNvSpPr/>
                <p:nvPr/>
              </p:nvSpPr>
              <p:spPr>
                <a:xfrm>
                  <a:off x="6407213" y="1607598"/>
                  <a:ext cx="87933" cy="90584"/>
                </a:xfrm>
                <a:custGeom>
                  <a:avLst/>
                  <a:gdLst>
                    <a:gd name="connsiteX0" fmla="*/ 87916 w 87933"/>
                    <a:gd name="connsiteY0" fmla="*/ 73438 h 90584"/>
                    <a:gd name="connsiteX1" fmla="*/ 70675 w 87933"/>
                    <a:gd name="connsiteY1" fmla="*/ 0 h 90584"/>
                    <a:gd name="connsiteX2" fmla="*/ 0 w 87933"/>
                    <a:gd name="connsiteY2" fmla="*/ 13907 h 90584"/>
                    <a:gd name="connsiteX3" fmla="*/ 0 w 87933"/>
                    <a:gd name="connsiteY3" fmla="*/ 73819 h 90584"/>
                    <a:gd name="connsiteX4" fmla="*/ 43148 w 87933"/>
                    <a:gd name="connsiteY4" fmla="*/ 90583 h 90584"/>
                    <a:gd name="connsiteX5" fmla="*/ 87916 w 87933"/>
                    <a:gd name="connsiteY5" fmla="*/ 73438 h 905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7933" h="90584">
                      <a:moveTo>
                        <a:pt x="87916" y="73438"/>
                      </a:moveTo>
                      <a:cubicBezTo>
                        <a:pt x="81820" y="54959"/>
                        <a:pt x="70675" y="0"/>
                        <a:pt x="70675" y="0"/>
                      </a:cubicBezTo>
                      <a:lnTo>
                        <a:pt x="0" y="13907"/>
                      </a:lnTo>
                      <a:lnTo>
                        <a:pt x="0" y="73819"/>
                      </a:lnTo>
                      <a:cubicBezTo>
                        <a:pt x="0" y="73819"/>
                        <a:pt x="23431" y="90488"/>
                        <a:pt x="43148" y="90583"/>
                      </a:cubicBezTo>
                      <a:cubicBezTo>
                        <a:pt x="64770" y="90773"/>
                        <a:pt x="88678" y="75533"/>
                        <a:pt x="87916" y="73438"/>
                      </a:cubicBezTo>
                      <a:close/>
                    </a:path>
                  </a:pathLst>
                </a:custGeom>
                <a:solidFill>
                  <a:srgbClr val="F4A08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" name="Forma Livre: Forma 21">
                  <a:extLst>
                    <a:ext uri="{FF2B5EF4-FFF2-40B4-BE49-F238E27FC236}">
                      <a16:creationId xmlns:a16="http://schemas.microsoft.com/office/drawing/2014/main" id="{094777C2-0E75-0D06-6C65-FFCFEA241441}"/>
                    </a:ext>
                  </a:extLst>
                </p:cNvPr>
                <p:cNvSpPr/>
                <p:nvPr/>
              </p:nvSpPr>
              <p:spPr>
                <a:xfrm>
                  <a:off x="6345967" y="1431862"/>
                  <a:ext cx="153040" cy="206272"/>
                </a:xfrm>
                <a:custGeom>
                  <a:avLst/>
                  <a:gdLst>
                    <a:gd name="connsiteX0" fmla="*/ 149162 w 153040"/>
                    <a:gd name="connsiteY0" fmla="*/ 78486 h 206272"/>
                    <a:gd name="connsiteX1" fmla="*/ 135827 w 153040"/>
                    <a:gd name="connsiteY1" fmla="*/ 0 h 206272"/>
                    <a:gd name="connsiteX2" fmla="*/ 0 w 153040"/>
                    <a:gd name="connsiteY2" fmla="*/ 16097 h 206272"/>
                    <a:gd name="connsiteX3" fmla="*/ 8192 w 153040"/>
                    <a:gd name="connsiteY3" fmla="*/ 106585 h 206272"/>
                    <a:gd name="connsiteX4" fmla="*/ 90964 w 153040"/>
                    <a:gd name="connsiteY4" fmla="*/ 205168 h 206272"/>
                    <a:gd name="connsiteX5" fmla="*/ 149162 w 153040"/>
                    <a:gd name="connsiteY5" fmla="*/ 78486 h 2062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53040" h="206272">
                      <a:moveTo>
                        <a:pt x="149162" y="78486"/>
                      </a:moveTo>
                      <a:lnTo>
                        <a:pt x="135827" y="0"/>
                      </a:lnTo>
                      <a:lnTo>
                        <a:pt x="0" y="16097"/>
                      </a:lnTo>
                      <a:lnTo>
                        <a:pt x="8192" y="106585"/>
                      </a:lnTo>
                      <a:cubicBezTo>
                        <a:pt x="8192" y="106585"/>
                        <a:pt x="18669" y="218503"/>
                        <a:pt x="90964" y="205168"/>
                      </a:cubicBezTo>
                      <a:cubicBezTo>
                        <a:pt x="169259" y="190690"/>
                        <a:pt x="152686" y="77533"/>
                        <a:pt x="149162" y="78486"/>
                      </a:cubicBezTo>
                      <a:close/>
                    </a:path>
                  </a:pathLst>
                </a:custGeom>
                <a:solidFill>
                  <a:srgbClr val="F8B68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" name="Forma Livre: Forma 22">
                  <a:extLst>
                    <a:ext uri="{FF2B5EF4-FFF2-40B4-BE49-F238E27FC236}">
                      <a16:creationId xmlns:a16="http://schemas.microsoft.com/office/drawing/2014/main" id="{8910B6ED-CB09-7C6C-9F44-663B020EDFFE}"/>
                    </a:ext>
                  </a:extLst>
                </p:cNvPr>
                <p:cNvSpPr/>
                <p:nvPr/>
              </p:nvSpPr>
              <p:spPr>
                <a:xfrm>
                  <a:off x="6309928" y="1379828"/>
                  <a:ext cx="230560" cy="180239"/>
                </a:xfrm>
                <a:custGeom>
                  <a:avLst/>
                  <a:gdLst>
                    <a:gd name="connsiteX0" fmla="*/ 216919 w 230560"/>
                    <a:gd name="connsiteY0" fmla="*/ 119851 h 180239"/>
                    <a:gd name="connsiteX1" fmla="*/ 222729 w 230560"/>
                    <a:gd name="connsiteY1" fmla="*/ 87181 h 180239"/>
                    <a:gd name="connsiteX2" fmla="*/ 198345 w 230560"/>
                    <a:gd name="connsiteY2" fmla="*/ 34317 h 180239"/>
                    <a:gd name="connsiteX3" fmla="*/ 161864 w 230560"/>
                    <a:gd name="connsiteY3" fmla="*/ 2503 h 180239"/>
                    <a:gd name="connsiteX4" fmla="*/ 102714 w 230560"/>
                    <a:gd name="connsiteY4" fmla="*/ 19172 h 180239"/>
                    <a:gd name="connsiteX5" fmla="*/ 54803 w 230560"/>
                    <a:gd name="connsiteY5" fmla="*/ 21649 h 180239"/>
                    <a:gd name="connsiteX6" fmla="*/ 40230 w 230560"/>
                    <a:gd name="connsiteY6" fmla="*/ 63178 h 180239"/>
                    <a:gd name="connsiteX7" fmla="*/ 3940 w 230560"/>
                    <a:gd name="connsiteY7" fmla="*/ 85466 h 180239"/>
                    <a:gd name="connsiteX8" fmla="*/ 18799 w 230560"/>
                    <a:gd name="connsiteY8" fmla="*/ 126995 h 180239"/>
                    <a:gd name="connsiteX9" fmla="*/ 70710 w 230560"/>
                    <a:gd name="connsiteY9" fmla="*/ 128233 h 180239"/>
                    <a:gd name="connsiteX10" fmla="*/ 125193 w 230560"/>
                    <a:gd name="connsiteY10" fmla="*/ 95182 h 180239"/>
                    <a:gd name="connsiteX11" fmla="*/ 175390 w 230560"/>
                    <a:gd name="connsiteY11" fmla="*/ 93943 h 180239"/>
                    <a:gd name="connsiteX12" fmla="*/ 188058 w 230560"/>
                    <a:gd name="connsiteY12" fmla="*/ 180240 h 180239"/>
                    <a:gd name="connsiteX13" fmla="*/ 200155 w 230560"/>
                    <a:gd name="connsiteY13" fmla="*/ 163285 h 180239"/>
                    <a:gd name="connsiteX14" fmla="*/ 216919 w 230560"/>
                    <a:gd name="connsiteY14" fmla="*/ 119851 h 180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30560" h="180239">
                      <a:moveTo>
                        <a:pt x="216919" y="119851"/>
                      </a:moveTo>
                      <a:cubicBezTo>
                        <a:pt x="215109" y="110326"/>
                        <a:pt x="217681" y="95467"/>
                        <a:pt x="222729" y="87181"/>
                      </a:cubicBezTo>
                      <a:cubicBezTo>
                        <a:pt x="246160" y="48795"/>
                        <a:pt x="210727" y="37651"/>
                        <a:pt x="198345" y="34317"/>
                      </a:cubicBezTo>
                      <a:cubicBezTo>
                        <a:pt x="184629" y="30697"/>
                        <a:pt x="180343" y="9361"/>
                        <a:pt x="161864" y="2503"/>
                      </a:cubicBezTo>
                      <a:cubicBezTo>
                        <a:pt x="133765" y="-7879"/>
                        <a:pt x="117954" y="17267"/>
                        <a:pt x="102714" y="19172"/>
                      </a:cubicBezTo>
                      <a:cubicBezTo>
                        <a:pt x="87474" y="21077"/>
                        <a:pt x="72424" y="4885"/>
                        <a:pt x="54803" y="21649"/>
                      </a:cubicBezTo>
                      <a:cubicBezTo>
                        <a:pt x="37182" y="38508"/>
                        <a:pt x="44707" y="54129"/>
                        <a:pt x="40230" y="63178"/>
                      </a:cubicBezTo>
                      <a:cubicBezTo>
                        <a:pt x="35753" y="72226"/>
                        <a:pt x="17275" y="57082"/>
                        <a:pt x="3940" y="85466"/>
                      </a:cubicBezTo>
                      <a:cubicBezTo>
                        <a:pt x="-6252" y="107088"/>
                        <a:pt x="4987" y="119756"/>
                        <a:pt x="18799" y="126995"/>
                      </a:cubicBezTo>
                      <a:cubicBezTo>
                        <a:pt x="34896" y="135472"/>
                        <a:pt x="54041" y="135472"/>
                        <a:pt x="70710" y="128233"/>
                      </a:cubicBezTo>
                      <a:cubicBezTo>
                        <a:pt x="85093" y="122042"/>
                        <a:pt x="105000" y="111565"/>
                        <a:pt x="125193" y="95182"/>
                      </a:cubicBezTo>
                      <a:cubicBezTo>
                        <a:pt x="130432" y="90895"/>
                        <a:pt x="171961" y="88038"/>
                        <a:pt x="175390" y="93943"/>
                      </a:cubicBezTo>
                      <a:cubicBezTo>
                        <a:pt x="187105" y="113946"/>
                        <a:pt x="188058" y="180240"/>
                        <a:pt x="188058" y="180240"/>
                      </a:cubicBezTo>
                      <a:lnTo>
                        <a:pt x="200155" y="163285"/>
                      </a:lnTo>
                      <a:cubicBezTo>
                        <a:pt x="200059" y="163285"/>
                        <a:pt x="222443" y="148712"/>
                        <a:pt x="216919" y="119851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" name="Forma Livre: Forma 23">
                  <a:extLst>
                    <a:ext uri="{FF2B5EF4-FFF2-40B4-BE49-F238E27FC236}">
                      <a16:creationId xmlns:a16="http://schemas.microsoft.com/office/drawing/2014/main" id="{BA83199D-1D72-DFCC-97FC-CFD9136A3B00}"/>
                    </a:ext>
                  </a:extLst>
                </p:cNvPr>
                <p:cNvSpPr/>
                <p:nvPr/>
              </p:nvSpPr>
              <p:spPr>
                <a:xfrm>
                  <a:off x="6480618" y="1506855"/>
                  <a:ext cx="26353" cy="35407"/>
                </a:xfrm>
                <a:custGeom>
                  <a:avLst/>
                  <a:gdLst>
                    <a:gd name="connsiteX0" fmla="*/ 1747 w 26353"/>
                    <a:gd name="connsiteY0" fmla="*/ 13304 h 35407"/>
                    <a:gd name="connsiteX1" fmla="*/ 6605 w 26353"/>
                    <a:gd name="connsiteY1" fmla="*/ 34830 h 35407"/>
                    <a:gd name="connsiteX2" fmla="*/ 24607 w 26353"/>
                    <a:gd name="connsiteY2" fmla="*/ 22067 h 35407"/>
                    <a:gd name="connsiteX3" fmla="*/ 19749 w 26353"/>
                    <a:gd name="connsiteY3" fmla="*/ 540 h 35407"/>
                    <a:gd name="connsiteX4" fmla="*/ 1747 w 26353"/>
                    <a:gd name="connsiteY4" fmla="*/ 13304 h 354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6353" h="35407">
                      <a:moveTo>
                        <a:pt x="1747" y="13304"/>
                      </a:moveTo>
                      <a:cubicBezTo>
                        <a:pt x="-1873" y="22733"/>
                        <a:pt x="318" y="32449"/>
                        <a:pt x="6605" y="34830"/>
                      </a:cubicBezTo>
                      <a:cubicBezTo>
                        <a:pt x="12891" y="37307"/>
                        <a:pt x="20987" y="31592"/>
                        <a:pt x="24607" y="22067"/>
                      </a:cubicBezTo>
                      <a:cubicBezTo>
                        <a:pt x="28226" y="12637"/>
                        <a:pt x="26036" y="2921"/>
                        <a:pt x="19749" y="540"/>
                      </a:cubicBezTo>
                      <a:cubicBezTo>
                        <a:pt x="13463" y="-1841"/>
                        <a:pt x="5366" y="3874"/>
                        <a:pt x="1747" y="13304"/>
                      </a:cubicBezTo>
                      <a:close/>
                    </a:path>
                  </a:pathLst>
                </a:custGeom>
                <a:solidFill>
                  <a:srgbClr val="F8B68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028797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juntos?">
            <a:extLst>
              <a:ext uri="{FF2B5EF4-FFF2-40B4-BE49-F238E27FC236}">
                <a16:creationId xmlns:a16="http://schemas.microsoft.com/office/drawing/2014/main" id="{1A6F3AFB-DD2E-74C6-82E3-6C076716890D}"/>
              </a:ext>
            </a:extLst>
          </p:cNvPr>
          <p:cNvSpPr txBox="1"/>
          <p:nvPr/>
        </p:nvSpPr>
        <p:spPr>
          <a:xfrm>
            <a:off x="742005" y="1992760"/>
            <a:ext cx="5353994" cy="3349889"/>
          </a:xfrm>
          <a:prstGeom prst="rect">
            <a:avLst/>
          </a:prstGeom>
          <a:ln w="12700">
            <a:noFill/>
            <a:miter lim="400000"/>
          </a:ln>
          <a:effectLst>
            <a:glow rad="101600">
              <a:srgbClr val="FFC000">
                <a:satMod val="175000"/>
                <a:alpha val="40000"/>
              </a:srgbClr>
            </a:glow>
            <a:softEdge rad="0"/>
          </a:effectLst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8546" tIns="58546" rIns="58546" bIns="58546">
            <a:spAutoFit/>
          </a:bodyPr>
          <a:lstStyle>
            <a:lvl1pPr algn="l" defTabSz="782212">
              <a:lnSpc>
                <a:spcPct val="70000"/>
              </a:lnSpc>
              <a:defRPr sz="25000">
                <a:solidFill>
                  <a:srgbClr val="FFFFFF"/>
                </a:solidFill>
                <a:latin typeface="Itau Display Black"/>
                <a:ea typeface="Itau Display Black"/>
                <a:cs typeface="Itau Display Black"/>
                <a:sym typeface="Itau Display Black"/>
              </a:defRPr>
            </a:lvl1pPr>
          </a:lstStyle>
          <a:p>
            <a:pPr algn="just" defTabSz="825500" hangingPunct="0">
              <a:lnSpc>
                <a:spcPct val="100000"/>
              </a:lnSpc>
              <a:spcBef>
                <a:spcPts val="1800"/>
              </a:spcBef>
              <a:defRPr/>
            </a:pPr>
            <a:r>
              <a:rPr lang="pt-BR" sz="1800" b="1" kern="0" spc="-133" dirty="0">
                <a:ln w="31750">
                  <a:noFill/>
                </a:ln>
                <a:solidFill>
                  <a:srgbClr val="FF6200"/>
                </a:solidFill>
                <a:latin typeface="Itau Display" panose="020B0503020204020204" pitchFamily="34" charset="0"/>
                <a:ea typeface="+mn-ea"/>
                <a:sym typeface="Avenir Next Medium"/>
              </a:rPr>
              <a:t>Pai do Luca, esposo da Ana</a:t>
            </a:r>
            <a:r>
              <a:rPr lang="pt-BR" sz="1800" kern="0" spc="-133" dirty="0">
                <a:ln w="31750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Itau Display" panose="020B0503020204020204" pitchFamily="34" charset="0"/>
                <a:ea typeface="+mn-ea"/>
                <a:sym typeface="Avenir Next Medium"/>
              </a:rPr>
              <a:t>, homem negro descendente de índio, amante dos carros antigos, praticante de canoa havaiana, de família humilde, aliado e aprendiz no universo da </a:t>
            </a:r>
            <a:r>
              <a:rPr lang="pt-BR" sz="1800" b="1" kern="0" spc="-133" dirty="0">
                <a:ln w="31750">
                  <a:noFill/>
                </a:ln>
                <a:solidFill>
                  <a:srgbClr val="FF6200"/>
                </a:solidFill>
                <a:latin typeface="Itau Display" panose="020B0503020204020204" pitchFamily="34" charset="0"/>
                <a:ea typeface="+mn-ea"/>
                <a:sym typeface="Avenir Next Medium"/>
              </a:rPr>
              <a:t>diversidade</a:t>
            </a:r>
            <a:r>
              <a:rPr lang="pt-BR" sz="1800" kern="0" spc="-133" dirty="0">
                <a:ln w="31750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Itau Display" panose="020B0503020204020204" pitchFamily="34" charset="0"/>
                <a:ea typeface="+mn-ea"/>
                <a:sym typeface="Avenir Next Medium"/>
              </a:rPr>
              <a:t>.</a:t>
            </a:r>
          </a:p>
          <a:p>
            <a:pPr marL="0" marR="0" lvl="0" indent="0" algn="just" defTabSz="825500" rtl="0" eaLnBrk="1" fontAlgn="auto" latinLnBrk="0" hangingPunct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800" kern="0" spc="-133" dirty="0">
                <a:ln w="31750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Itau Display" panose="020B0503020204020204" pitchFamily="34" charset="0"/>
                <a:ea typeface="+mn-ea"/>
              </a:rPr>
              <a:t>Executivo de </a:t>
            </a:r>
            <a:r>
              <a:rPr lang="pt-BR" sz="1800" b="1" kern="0" spc="-133" dirty="0">
                <a:ln w="31750">
                  <a:noFill/>
                </a:ln>
                <a:solidFill>
                  <a:srgbClr val="FF6200"/>
                </a:solidFill>
                <a:latin typeface="Itau Display" panose="020B0503020204020204" pitchFamily="34" charset="0"/>
                <a:ea typeface="+mn-ea"/>
              </a:rPr>
              <a:t>transformação digital </a:t>
            </a:r>
            <a:r>
              <a:rPr lang="pt-BR" sz="1800" kern="0" spc="-133" dirty="0">
                <a:ln w="31750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Itau Display" panose="020B0503020204020204" pitchFamily="34" charset="0"/>
                <a:ea typeface="+mn-ea"/>
              </a:rPr>
              <a:t>com 16 anos de experiência em melhoria de processos, com certificação Master </a:t>
            </a:r>
            <a:r>
              <a:rPr lang="pt-BR" sz="1800" i="1" kern="0" spc="-133" dirty="0" err="1">
                <a:ln w="31750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Itau Display" panose="020B0503020204020204" pitchFamily="34" charset="0"/>
                <a:ea typeface="+mn-ea"/>
              </a:rPr>
              <a:t>BlackBelt</a:t>
            </a:r>
            <a:r>
              <a:rPr lang="pt-BR" sz="1800" i="1" kern="0" spc="-133" dirty="0">
                <a:ln w="31750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Itau Display" panose="020B0503020204020204" pitchFamily="34" charset="0"/>
                <a:ea typeface="+mn-ea"/>
              </a:rPr>
              <a:t>,</a:t>
            </a:r>
            <a:r>
              <a:rPr lang="pt-BR" sz="1800" kern="0" spc="-133" dirty="0">
                <a:ln w="31750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Itau Display" panose="020B0503020204020204" pitchFamily="34" charset="0"/>
                <a:ea typeface="+mn-ea"/>
              </a:rPr>
              <a:t> </a:t>
            </a:r>
            <a:r>
              <a:rPr lang="pt-BR" sz="1800" i="1" kern="0" spc="-133" dirty="0" err="1">
                <a:ln w="31750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Itau Display" panose="020B0503020204020204" pitchFamily="34" charset="0"/>
                <a:ea typeface="+mn-ea"/>
              </a:rPr>
              <a:t>Agile</a:t>
            </a:r>
            <a:r>
              <a:rPr lang="pt-BR" sz="1800" i="1" kern="0" spc="-133" dirty="0">
                <a:ln w="31750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Itau Display" panose="020B0503020204020204" pitchFamily="34" charset="0"/>
                <a:ea typeface="+mn-ea"/>
              </a:rPr>
              <a:t> Coach Expert</a:t>
            </a:r>
            <a:r>
              <a:rPr lang="pt-BR" sz="1800" kern="0" spc="-133" dirty="0">
                <a:ln w="31750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Itau Display" panose="020B0503020204020204" pitchFamily="34" charset="0"/>
                <a:ea typeface="+mn-ea"/>
              </a:rPr>
              <a:t>, </a:t>
            </a:r>
            <a:r>
              <a:rPr lang="pt-BR" sz="1800" i="1" kern="0" spc="-133" dirty="0">
                <a:ln w="31750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Itau Display" panose="020B0503020204020204" pitchFamily="34" charset="0"/>
                <a:ea typeface="+mn-ea"/>
              </a:rPr>
              <a:t>OKR Coach</a:t>
            </a:r>
            <a:r>
              <a:rPr lang="pt-BR" sz="1800" kern="0" spc="-133" dirty="0">
                <a:ln w="31750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Itau Display" panose="020B0503020204020204" pitchFamily="34" charset="0"/>
                <a:ea typeface="+mn-ea"/>
              </a:rPr>
              <a:t>, </a:t>
            </a:r>
            <a:r>
              <a:rPr lang="pt-BR" sz="1800" i="1" kern="0" spc="-133" dirty="0" err="1">
                <a:ln w="31750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Itau Display" panose="020B0503020204020204" pitchFamily="34" charset="0"/>
                <a:ea typeface="+mn-ea"/>
              </a:rPr>
              <a:t>Change</a:t>
            </a:r>
            <a:r>
              <a:rPr lang="pt-BR" sz="1800" i="1" kern="0" spc="-133" dirty="0">
                <a:ln w="31750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Itau Display" panose="020B0503020204020204" pitchFamily="34" charset="0"/>
                <a:ea typeface="+mn-ea"/>
              </a:rPr>
              <a:t> Management</a:t>
            </a:r>
            <a:r>
              <a:rPr lang="pt-BR" sz="1800" kern="0" spc="-133" dirty="0">
                <a:ln w="31750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Itau Display" panose="020B0503020204020204" pitchFamily="34" charset="0"/>
                <a:ea typeface="+mn-ea"/>
              </a:rPr>
              <a:t>, PNL , </a:t>
            </a:r>
            <a:r>
              <a:rPr lang="pt-BR" sz="1800" i="1" kern="0" spc="-133" dirty="0">
                <a:ln w="31750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Itau Display" panose="020B0503020204020204" pitchFamily="34" charset="0"/>
                <a:ea typeface="+mn-ea"/>
              </a:rPr>
              <a:t>Design </a:t>
            </a:r>
            <a:r>
              <a:rPr lang="pt-BR" sz="1800" i="1" kern="0" spc="-133" dirty="0" err="1">
                <a:ln w="31750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Itau Display" panose="020B0503020204020204" pitchFamily="34" charset="0"/>
                <a:ea typeface="+mn-ea"/>
              </a:rPr>
              <a:t>Thinking</a:t>
            </a:r>
            <a:r>
              <a:rPr lang="pt-BR" sz="1800" kern="0" spc="-133" dirty="0">
                <a:ln w="31750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Itau Display" panose="020B0503020204020204" pitchFamily="34" charset="0"/>
                <a:ea typeface="+mn-ea"/>
              </a:rPr>
              <a:t>, </a:t>
            </a:r>
            <a:r>
              <a:rPr lang="pt-BR" sz="1800" i="1" kern="0" spc="-133" dirty="0">
                <a:ln w="31750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Itau Display" panose="020B0503020204020204" pitchFamily="34" charset="0"/>
                <a:ea typeface="+mn-ea"/>
              </a:rPr>
              <a:t>Digital</a:t>
            </a:r>
            <a:r>
              <a:rPr lang="pt-BR" sz="1800" kern="0" spc="-133" dirty="0">
                <a:ln w="31750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Itau Display" panose="020B0503020204020204" pitchFamily="34" charset="0"/>
                <a:ea typeface="+mn-ea"/>
              </a:rPr>
              <a:t> </a:t>
            </a:r>
            <a:r>
              <a:rPr lang="pt-BR" sz="1800" i="1" kern="0" spc="-133" dirty="0" err="1">
                <a:ln w="31750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Itau Display" panose="020B0503020204020204" pitchFamily="34" charset="0"/>
                <a:ea typeface="+mn-ea"/>
              </a:rPr>
              <a:t>Product</a:t>
            </a:r>
            <a:r>
              <a:rPr lang="pt-BR" sz="1800" i="1" kern="0" spc="-133" dirty="0">
                <a:ln w="31750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Itau Display" panose="020B0503020204020204" pitchFamily="34" charset="0"/>
                <a:ea typeface="+mn-ea"/>
              </a:rPr>
              <a:t> </a:t>
            </a:r>
            <a:r>
              <a:rPr lang="pt-BR" sz="1800" i="1" kern="0" spc="-133" dirty="0" err="1">
                <a:ln w="31750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Itau Display" panose="020B0503020204020204" pitchFamily="34" charset="0"/>
                <a:ea typeface="+mn-ea"/>
              </a:rPr>
              <a:t>Leadership</a:t>
            </a:r>
            <a:r>
              <a:rPr lang="pt-BR" sz="1800" i="1" kern="0" spc="-133" dirty="0">
                <a:ln w="31750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Itau Display" panose="020B0503020204020204" pitchFamily="34" charset="0"/>
                <a:ea typeface="+mn-ea"/>
              </a:rPr>
              <a:t> </a:t>
            </a:r>
            <a:r>
              <a:rPr lang="pt-BR" sz="1800" kern="0" spc="-133" dirty="0">
                <a:ln w="31750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Itau Display" panose="020B0503020204020204" pitchFamily="34" charset="0"/>
                <a:ea typeface="+mn-ea"/>
              </a:rPr>
              <a:t>entre outras. </a:t>
            </a:r>
          </a:p>
          <a:p>
            <a:pPr marL="0" marR="0" lvl="0" indent="0" algn="just" defTabSz="825500" rtl="0" eaLnBrk="1" fontAlgn="auto" latinLnBrk="0" hangingPunct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800" kern="0" spc="-133" dirty="0">
                <a:ln w="31750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Itau Display" panose="020B0503020204020204" pitchFamily="34" charset="0"/>
                <a:ea typeface="+mn-ea"/>
              </a:rPr>
              <a:t>Responsável pela condução institucional do Programa de Melhoria Contínua (Kaizen &amp; Lean) do </a:t>
            </a:r>
            <a:r>
              <a:rPr lang="pt-BR" sz="1800" b="1" kern="0" spc="-133" dirty="0">
                <a:ln w="31750">
                  <a:noFill/>
                </a:ln>
                <a:solidFill>
                  <a:srgbClr val="FF6200"/>
                </a:solidFill>
                <a:latin typeface="Itau Display" panose="020B0503020204020204" pitchFamily="34" charset="0"/>
                <a:ea typeface="+mn-ea"/>
              </a:rPr>
              <a:t>Itaú Unibanco</a:t>
            </a:r>
            <a:r>
              <a:rPr lang="pt-BR" sz="1800" kern="0" spc="-133" dirty="0">
                <a:ln w="31750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Itau Display" panose="020B0503020204020204" pitchFamily="34" charset="0"/>
                <a:ea typeface="+mn-ea"/>
              </a:rPr>
              <a:t>, Sócio Proprietário da </a:t>
            </a:r>
            <a:r>
              <a:rPr lang="pt-BR" sz="1800" b="1" kern="0" spc="-133" dirty="0" err="1">
                <a:ln w="31750">
                  <a:noFill/>
                </a:ln>
                <a:solidFill>
                  <a:srgbClr val="FF6200"/>
                </a:solidFill>
                <a:latin typeface="Itau Display" panose="020B0503020204020204" pitchFamily="34" charset="0"/>
                <a:ea typeface="+mn-ea"/>
              </a:rPr>
              <a:t>Evoluz</a:t>
            </a:r>
            <a:r>
              <a:rPr lang="pt-BR" sz="1800" kern="0" spc="-133" dirty="0">
                <a:ln w="31750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Itau Display" panose="020B0503020204020204" pitchFamily="34" charset="0"/>
                <a:ea typeface="+mn-ea"/>
              </a:rPr>
              <a:t>, Mentor, Coordenador e Professor na </a:t>
            </a:r>
            <a:r>
              <a:rPr lang="pt-BR" sz="1800" b="1" kern="0" spc="-133" dirty="0">
                <a:ln w="31750">
                  <a:noFill/>
                </a:ln>
                <a:solidFill>
                  <a:srgbClr val="FF6200"/>
                </a:solidFill>
                <a:latin typeface="Itau Display" panose="020B0503020204020204" pitchFamily="34" charset="0"/>
                <a:ea typeface="+mn-ea"/>
              </a:rPr>
              <a:t>UNEED</a:t>
            </a:r>
            <a:r>
              <a:rPr lang="pt-BR" sz="1800" kern="0" spc="-133" dirty="0">
                <a:ln w="31750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Itau Display" panose="020B0503020204020204" pitchFamily="34" charset="0"/>
                <a:ea typeface="+mn-ea"/>
              </a:rPr>
              <a:t>.</a:t>
            </a:r>
          </a:p>
        </p:txBody>
      </p:sp>
      <p:cxnSp>
        <p:nvCxnSpPr>
          <p:cNvPr id="3" name="Conector reto 2">
            <a:extLst>
              <a:ext uri="{FF2B5EF4-FFF2-40B4-BE49-F238E27FC236}">
                <a16:creationId xmlns:a16="http://schemas.microsoft.com/office/drawing/2014/main" id="{8AFC23E8-ABFE-3D11-0AA8-2346BA6BE077}"/>
              </a:ext>
            </a:extLst>
          </p:cNvPr>
          <p:cNvCxnSpPr>
            <a:cxnSpLocks/>
          </p:cNvCxnSpPr>
          <p:nvPr/>
        </p:nvCxnSpPr>
        <p:spPr>
          <a:xfrm>
            <a:off x="556290" y="2286384"/>
            <a:ext cx="0" cy="1944000"/>
          </a:xfrm>
          <a:prstGeom prst="line">
            <a:avLst/>
          </a:prstGeom>
          <a:noFill/>
          <a:ln w="38100" cap="flat" cmpd="sng" algn="ctr">
            <a:solidFill>
              <a:srgbClr val="FF6200"/>
            </a:solidFill>
            <a:prstDash val="solid"/>
            <a:miter lim="800000"/>
          </a:ln>
          <a:effectLst/>
        </p:spPr>
      </p:cxnSp>
      <p:pic>
        <p:nvPicPr>
          <p:cNvPr id="4" name="Imagem 3" descr="Mulher sentada no banco do parque&#10;&#10;Descrição gerada automaticamente">
            <a:extLst>
              <a:ext uri="{FF2B5EF4-FFF2-40B4-BE49-F238E27FC236}">
                <a16:creationId xmlns:a16="http://schemas.microsoft.com/office/drawing/2014/main" id="{0E11A848-7DBF-607D-01CB-9A032819702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91" r="13748"/>
          <a:stretch/>
        </p:blipFill>
        <p:spPr>
          <a:xfrm>
            <a:off x="6596356" y="838200"/>
            <a:ext cx="5425441" cy="5181599"/>
          </a:xfrm>
          <a:prstGeom prst="rect">
            <a:avLst/>
          </a:prstGeom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id="{6FC66BE6-3A94-51E8-1694-C0FB8FD3A589}"/>
              </a:ext>
            </a:extLst>
          </p:cNvPr>
          <p:cNvSpPr txBox="1"/>
          <p:nvPr/>
        </p:nvSpPr>
        <p:spPr>
          <a:xfrm>
            <a:off x="742005" y="1046632"/>
            <a:ext cx="680239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4000" b="1" kern="0" spc="-133" dirty="0">
                <a:ln w="31750">
                  <a:noFill/>
                </a:ln>
                <a:solidFill>
                  <a:srgbClr val="FF6200"/>
                </a:solidFill>
                <a:latin typeface="Itau Display" panose="020B0503020204020204" pitchFamily="34" charset="0"/>
                <a:sym typeface="Itau Display Black"/>
              </a:rPr>
              <a:t>Heitor Ruiz Leonel </a:t>
            </a:r>
          </a:p>
        </p:txBody>
      </p:sp>
      <p:sp>
        <p:nvSpPr>
          <p:cNvPr id="6" name="Google Shape;181;p7">
            <a:extLst>
              <a:ext uri="{FF2B5EF4-FFF2-40B4-BE49-F238E27FC236}">
                <a16:creationId xmlns:a16="http://schemas.microsoft.com/office/drawing/2014/main" id="{B4C33943-C846-B3F4-1F9D-E0CEF99AC24C}"/>
              </a:ext>
            </a:extLst>
          </p:cNvPr>
          <p:cNvSpPr txBox="1"/>
          <p:nvPr/>
        </p:nvSpPr>
        <p:spPr>
          <a:xfrm>
            <a:off x="482600" y="310634"/>
            <a:ext cx="6096000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rgbClr val="8F53FF"/>
                </a:solidFill>
                <a:latin typeface="Poppins"/>
                <a:ea typeface="Poppins"/>
                <a:cs typeface="Poppins"/>
                <a:sym typeface="Poppins"/>
              </a:rPr>
              <a:t>Quem sou eu...</a:t>
            </a:r>
            <a:endParaRPr sz="24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8238375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Agrupar 18">
            <a:extLst>
              <a:ext uri="{FF2B5EF4-FFF2-40B4-BE49-F238E27FC236}">
                <a16:creationId xmlns:a16="http://schemas.microsoft.com/office/drawing/2014/main" id="{C02C94DB-245A-E7FB-30E7-72B8E6263DFD}"/>
              </a:ext>
            </a:extLst>
          </p:cNvPr>
          <p:cNvGrpSpPr/>
          <p:nvPr/>
        </p:nvGrpSpPr>
        <p:grpSpPr>
          <a:xfrm>
            <a:off x="-1217750" y="1668667"/>
            <a:ext cx="4865224" cy="4466886"/>
            <a:chOff x="-1217750" y="782842"/>
            <a:chExt cx="4865224" cy="4466886"/>
          </a:xfrm>
        </p:grpSpPr>
        <p:grpSp>
          <p:nvGrpSpPr>
            <p:cNvPr id="9" name="Agrupar 8">
              <a:extLst>
                <a:ext uri="{FF2B5EF4-FFF2-40B4-BE49-F238E27FC236}">
                  <a16:creationId xmlns:a16="http://schemas.microsoft.com/office/drawing/2014/main" id="{2411D70D-9781-B074-6A60-047CA2FBFA11}"/>
                </a:ext>
              </a:extLst>
            </p:cNvPr>
            <p:cNvGrpSpPr/>
            <p:nvPr/>
          </p:nvGrpSpPr>
          <p:grpSpPr>
            <a:xfrm rot="5400000" flipH="1">
              <a:off x="-944600" y="509692"/>
              <a:ext cx="4267538" cy="4813838"/>
              <a:chOff x="3213538" y="153295"/>
              <a:chExt cx="4704213" cy="2381946"/>
            </a:xfrm>
            <a:solidFill>
              <a:schemeClr val="bg1">
                <a:lumMod val="95000"/>
              </a:schemeClr>
            </a:solidFill>
          </p:grpSpPr>
          <p:sp>
            <p:nvSpPr>
              <p:cNvPr id="10" name="Forma Livre: Forma 9">
                <a:extLst>
                  <a:ext uri="{FF2B5EF4-FFF2-40B4-BE49-F238E27FC236}">
                    <a16:creationId xmlns:a16="http://schemas.microsoft.com/office/drawing/2014/main" id="{3907B20A-C006-ADC2-55AB-8EDD2D7059A4}"/>
                  </a:ext>
                </a:extLst>
              </p:cNvPr>
              <p:cNvSpPr/>
              <p:nvPr/>
            </p:nvSpPr>
            <p:spPr>
              <a:xfrm>
                <a:off x="3242265" y="153295"/>
                <a:ext cx="4675486" cy="1596053"/>
              </a:xfrm>
              <a:custGeom>
                <a:avLst/>
                <a:gdLst>
                  <a:gd name="connsiteX0" fmla="*/ 0 w 1632413"/>
                  <a:gd name="connsiteY0" fmla="*/ 513070 h 513070"/>
                  <a:gd name="connsiteX1" fmla="*/ 1593992 w 1632413"/>
                  <a:gd name="connsiteY1" fmla="*/ 513070 h 513070"/>
                  <a:gd name="connsiteX2" fmla="*/ 1593992 w 1632413"/>
                  <a:gd name="connsiteY2" fmla="*/ 330133 h 513070"/>
                  <a:gd name="connsiteX3" fmla="*/ 1449034 w 1632413"/>
                  <a:gd name="connsiteY3" fmla="*/ 305675 h 513070"/>
                  <a:gd name="connsiteX4" fmla="*/ 1389927 w 1632413"/>
                  <a:gd name="connsiteY4" fmla="*/ 268292 h 513070"/>
                  <a:gd name="connsiteX5" fmla="*/ 1264555 w 1632413"/>
                  <a:gd name="connsiteY5" fmla="*/ 129746 h 513070"/>
                  <a:gd name="connsiteX6" fmla="*/ 1095835 w 1632413"/>
                  <a:gd name="connsiteY6" fmla="*/ 201430 h 513070"/>
                  <a:gd name="connsiteX7" fmla="*/ 1052487 w 1632413"/>
                  <a:gd name="connsiteY7" fmla="*/ 197006 h 513070"/>
                  <a:gd name="connsiteX8" fmla="*/ 626064 w 1632413"/>
                  <a:gd name="connsiteY8" fmla="*/ 0 h 513070"/>
                  <a:gd name="connsiteX9" fmla="*/ 314474 w 1632413"/>
                  <a:gd name="connsiteY9" fmla="*/ 293297 h 513070"/>
                  <a:gd name="connsiteX10" fmla="*/ 291954 w 1632413"/>
                  <a:gd name="connsiteY10" fmla="*/ 320389 h 513070"/>
                  <a:gd name="connsiteX11" fmla="*/ 70242 w 1632413"/>
                  <a:gd name="connsiteY11" fmla="*/ 330182 h 513070"/>
                  <a:gd name="connsiteX12" fmla="*/ 0 w 1632413"/>
                  <a:gd name="connsiteY12" fmla="*/ 513070 h 513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632413" h="513070">
                    <a:moveTo>
                      <a:pt x="0" y="513070"/>
                    </a:moveTo>
                    <a:lnTo>
                      <a:pt x="1593992" y="513070"/>
                    </a:lnTo>
                    <a:cubicBezTo>
                      <a:pt x="1593992" y="513070"/>
                      <a:pt x="1680440" y="403705"/>
                      <a:pt x="1593992" y="330133"/>
                    </a:cubicBezTo>
                    <a:cubicBezTo>
                      <a:pt x="1546269" y="289518"/>
                      <a:pt x="1489946" y="293744"/>
                      <a:pt x="1449034" y="305675"/>
                    </a:cubicBezTo>
                    <a:cubicBezTo>
                      <a:pt x="1422389" y="313430"/>
                      <a:pt x="1395793" y="295484"/>
                      <a:pt x="1389927" y="268292"/>
                    </a:cubicBezTo>
                    <a:cubicBezTo>
                      <a:pt x="1380233" y="223353"/>
                      <a:pt x="1350357" y="164495"/>
                      <a:pt x="1264555" y="129746"/>
                    </a:cubicBezTo>
                    <a:cubicBezTo>
                      <a:pt x="1180146" y="95545"/>
                      <a:pt x="1126756" y="147792"/>
                      <a:pt x="1095835" y="201430"/>
                    </a:cubicBezTo>
                    <a:cubicBezTo>
                      <a:pt x="1085644" y="219078"/>
                      <a:pt x="1058602" y="216443"/>
                      <a:pt x="1052487" y="197006"/>
                    </a:cubicBezTo>
                    <a:cubicBezTo>
                      <a:pt x="1025742" y="112298"/>
                      <a:pt x="932484" y="0"/>
                      <a:pt x="626064" y="0"/>
                    </a:cubicBezTo>
                    <a:cubicBezTo>
                      <a:pt x="236377" y="0"/>
                      <a:pt x="279676" y="207197"/>
                      <a:pt x="314474" y="293297"/>
                    </a:cubicBezTo>
                    <a:cubicBezTo>
                      <a:pt x="320538" y="308260"/>
                      <a:pt x="307713" y="323720"/>
                      <a:pt x="291954" y="320389"/>
                    </a:cubicBezTo>
                    <a:cubicBezTo>
                      <a:pt x="231853" y="307514"/>
                      <a:pt x="120252" y="290861"/>
                      <a:pt x="70242" y="330182"/>
                    </a:cubicBezTo>
                    <a:cubicBezTo>
                      <a:pt x="0" y="385312"/>
                      <a:pt x="0" y="513070"/>
                      <a:pt x="0" y="513070"/>
                    </a:cubicBezTo>
                    <a:close/>
                  </a:path>
                </a:pathLst>
              </a:custGeom>
              <a:grpFill/>
              <a:ln w="49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" name="Forma Livre: Forma 10">
                <a:extLst>
                  <a:ext uri="{FF2B5EF4-FFF2-40B4-BE49-F238E27FC236}">
                    <a16:creationId xmlns:a16="http://schemas.microsoft.com/office/drawing/2014/main" id="{B5411763-C6EE-129B-78B1-AEF97EC1C66B}"/>
                  </a:ext>
                </a:extLst>
              </p:cNvPr>
              <p:cNvSpPr/>
              <p:nvPr/>
            </p:nvSpPr>
            <p:spPr>
              <a:xfrm flipH="1" flipV="1">
                <a:off x="3213538" y="1621166"/>
                <a:ext cx="4675486" cy="914075"/>
              </a:xfrm>
              <a:custGeom>
                <a:avLst/>
                <a:gdLst>
                  <a:gd name="connsiteX0" fmla="*/ 0 w 1632413"/>
                  <a:gd name="connsiteY0" fmla="*/ 513070 h 513070"/>
                  <a:gd name="connsiteX1" fmla="*/ 1593992 w 1632413"/>
                  <a:gd name="connsiteY1" fmla="*/ 513070 h 513070"/>
                  <a:gd name="connsiteX2" fmla="*/ 1593992 w 1632413"/>
                  <a:gd name="connsiteY2" fmla="*/ 330133 h 513070"/>
                  <a:gd name="connsiteX3" fmla="*/ 1449034 w 1632413"/>
                  <a:gd name="connsiteY3" fmla="*/ 305675 h 513070"/>
                  <a:gd name="connsiteX4" fmla="*/ 1389927 w 1632413"/>
                  <a:gd name="connsiteY4" fmla="*/ 268292 h 513070"/>
                  <a:gd name="connsiteX5" fmla="*/ 1264555 w 1632413"/>
                  <a:gd name="connsiteY5" fmla="*/ 129746 h 513070"/>
                  <a:gd name="connsiteX6" fmla="*/ 1095835 w 1632413"/>
                  <a:gd name="connsiteY6" fmla="*/ 201430 h 513070"/>
                  <a:gd name="connsiteX7" fmla="*/ 1052487 w 1632413"/>
                  <a:gd name="connsiteY7" fmla="*/ 197006 h 513070"/>
                  <a:gd name="connsiteX8" fmla="*/ 626064 w 1632413"/>
                  <a:gd name="connsiteY8" fmla="*/ 0 h 513070"/>
                  <a:gd name="connsiteX9" fmla="*/ 314474 w 1632413"/>
                  <a:gd name="connsiteY9" fmla="*/ 293297 h 513070"/>
                  <a:gd name="connsiteX10" fmla="*/ 291954 w 1632413"/>
                  <a:gd name="connsiteY10" fmla="*/ 320389 h 513070"/>
                  <a:gd name="connsiteX11" fmla="*/ 70242 w 1632413"/>
                  <a:gd name="connsiteY11" fmla="*/ 330182 h 513070"/>
                  <a:gd name="connsiteX12" fmla="*/ 0 w 1632413"/>
                  <a:gd name="connsiteY12" fmla="*/ 513070 h 513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632413" h="513070">
                    <a:moveTo>
                      <a:pt x="0" y="513070"/>
                    </a:moveTo>
                    <a:lnTo>
                      <a:pt x="1593992" y="513070"/>
                    </a:lnTo>
                    <a:cubicBezTo>
                      <a:pt x="1593992" y="513070"/>
                      <a:pt x="1680440" y="403705"/>
                      <a:pt x="1593992" y="330133"/>
                    </a:cubicBezTo>
                    <a:cubicBezTo>
                      <a:pt x="1546269" y="289518"/>
                      <a:pt x="1489946" y="293744"/>
                      <a:pt x="1449034" y="305675"/>
                    </a:cubicBezTo>
                    <a:cubicBezTo>
                      <a:pt x="1422389" y="313430"/>
                      <a:pt x="1395793" y="295484"/>
                      <a:pt x="1389927" y="268292"/>
                    </a:cubicBezTo>
                    <a:cubicBezTo>
                      <a:pt x="1380233" y="223353"/>
                      <a:pt x="1350357" y="164495"/>
                      <a:pt x="1264555" y="129746"/>
                    </a:cubicBezTo>
                    <a:cubicBezTo>
                      <a:pt x="1180146" y="95545"/>
                      <a:pt x="1126756" y="147792"/>
                      <a:pt x="1095835" y="201430"/>
                    </a:cubicBezTo>
                    <a:cubicBezTo>
                      <a:pt x="1085644" y="219078"/>
                      <a:pt x="1058602" y="216443"/>
                      <a:pt x="1052487" y="197006"/>
                    </a:cubicBezTo>
                    <a:cubicBezTo>
                      <a:pt x="1025742" y="112298"/>
                      <a:pt x="932484" y="0"/>
                      <a:pt x="626064" y="0"/>
                    </a:cubicBezTo>
                    <a:cubicBezTo>
                      <a:pt x="236377" y="0"/>
                      <a:pt x="279676" y="207197"/>
                      <a:pt x="314474" y="293297"/>
                    </a:cubicBezTo>
                    <a:cubicBezTo>
                      <a:pt x="320538" y="308260"/>
                      <a:pt x="307713" y="323720"/>
                      <a:pt x="291954" y="320389"/>
                    </a:cubicBezTo>
                    <a:cubicBezTo>
                      <a:pt x="231853" y="307514"/>
                      <a:pt x="120252" y="290861"/>
                      <a:pt x="70242" y="330182"/>
                    </a:cubicBezTo>
                    <a:cubicBezTo>
                      <a:pt x="0" y="385312"/>
                      <a:pt x="0" y="513070"/>
                      <a:pt x="0" y="513070"/>
                    </a:cubicBezTo>
                    <a:close/>
                  </a:path>
                </a:pathLst>
              </a:custGeom>
              <a:grpFill/>
              <a:ln w="49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299" name="Agrupar 298">
              <a:extLst>
                <a:ext uri="{FF2B5EF4-FFF2-40B4-BE49-F238E27FC236}">
                  <a16:creationId xmlns:a16="http://schemas.microsoft.com/office/drawing/2014/main" id="{33C39F1E-C94E-89C5-6270-0C32A1D1A566}"/>
                </a:ext>
              </a:extLst>
            </p:cNvPr>
            <p:cNvGrpSpPr/>
            <p:nvPr/>
          </p:nvGrpSpPr>
          <p:grpSpPr>
            <a:xfrm>
              <a:off x="830536" y="1252140"/>
              <a:ext cx="1904582" cy="1440000"/>
              <a:chOff x="1103545" y="964802"/>
              <a:chExt cx="1904582" cy="1440000"/>
            </a:xfrm>
          </p:grpSpPr>
          <p:sp>
            <p:nvSpPr>
              <p:cNvPr id="293" name="Elipse 292">
                <a:extLst>
                  <a:ext uri="{FF2B5EF4-FFF2-40B4-BE49-F238E27FC236}">
                    <a16:creationId xmlns:a16="http://schemas.microsoft.com/office/drawing/2014/main" id="{C6470FE8-1098-C1D4-B478-1DD75E0EB8C5}"/>
                  </a:ext>
                </a:extLst>
              </p:cNvPr>
              <p:cNvSpPr/>
              <p:nvPr/>
            </p:nvSpPr>
            <p:spPr>
              <a:xfrm>
                <a:off x="1337416" y="964802"/>
                <a:ext cx="1440000" cy="1440000"/>
              </a:xfrm>
              <a:prstGeom prst="ellipse">
                <a:avLst/>
              </a:prstGeom>
              <a:solidFill>
                <a:schemeClr val="bg1"/>
              </a:solidFill>
              <a:ln w="3175">
                <a:solidFill>
                  <a:srgbClr val="FE96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209" name="Agrupar 208">
                <a:extLst>
                  <a:ext uri="{FF2B5EF4-FFF2-40B4-BE49-F238E27FC236}">
                    <a16:creationId xmlns:a16="http://schemas.microsoft.com/office/drawing/2014/main" id="{64ACD02C-74FF-D7EA-E183-2338C53402F9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885653" y="1225759"/>
                <a:ext cx="378531" cy="359998"/>
                <a:chOff x="15772437" y="6696510"/>
                <a:chExt cx="414632" cy="394335"/>
              </a:xfrm>
            </p:grpSpPr>
            <p:sp>
              <p:nvSpPr>
                <p:cNvPr id="210" name="Forma Livre: Forma 209">
                  <a:extLst>
                    <a:ext uri="{FF2B5EF4-FFF2-40B4-BE49-F238E27FC236}">
                      <a16:creationId xmlns:a16="http://schemas.microsoft.com/office/drawing/2014/main" id="{FA139203-6881-180F-1802-336CA9E3F231}"/>
                    </a:ext>
                  </a:extLst>
                </p:cNvPr>
                <p:cNvSpPr/>
                <p:nvPr/>
              </p:nvSpPr>
              <p:spPr>
                <a:xfrm>
                  <a:off x="15914939" y="6967020"/>
                  <a:ext cx="28575" cy="47625"/>
                </a:xfrm>
                <a:custGeom>
                  <a:avLst/>
                  <a:gdLst>
                    <a:gd name="connsiteX0" fmla="*/ 0 w 28575"/>
                    <a:gd name="connsiteY0" fmla="*/ 56769 h 47625"/>
                    <a:gd name="connsiteX1" fmla="*/ 24765 w 28575"/>
                    <a:gd name="connsiteY1" fmla="*/ 42481 h 47625"/>
                    <a:gd name="connsiteX2" fmla="*/ 31718 w 28575"/>
                    <a:gd name="connsiteY2" fmla="*/ 16478 h 47625"/>
                    <a:gd name="connsiteX3" fmla="*/ 22193 w 28575"/>
                    <a:gd name="connsiteY3" fmla="*/ 0 h 476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8575" h="47625">
                      <a:moveTo>
                        <a:pt x="0" y="56769"/>
                      </a:moveTo>
                      <a:lnTo>
                        <a:pt x="24765" y="42481"/>
                      </a:lnTo>
                      <a:cubicBezTo>
                        <a:pt x="33909" y="37243"/>
                        <a:pt x="36957" y="25527"/>
                        <a:pt x="31718" y="16478"/>
                      </a:cubicBezTo>
                      <a:lnTo>
                        <a:pt x="22193" y="0"/>
                      </a:lnTo>
                    </a:path>
                  </a:pathLst>
                </a:custGeom>
                <a:noFill/>
                <a:ln w="19050" cap="rnd">
                  <a:solidFill>
                    <a:srgbClr val="FE96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1" name="Forma Livre: Forma 210">
                  <a:extLst>
                    <a:ext uri="{FF2B5EF4-FFF2-40B4-BE49-F238E27FC236}">
                      <a16:creationId xmlns:a16="http://schemas.microsoft.com/office/drawing/2014/main" id="{1FF467CB-AD0A-5FDB-53DB-F51EDE41975C}"/>
                    </a:ext>
                  </a:extLst>
                </p:cNvPr>
                <p:cNvSpPr/>
                <p:nvPr/>
              </p:nvSpPr>
              <p:spPr>
                <a:xfrm>
                  <a:off x="15838168" y="6995595"/>
                  <a:ext cx="123825" cy="95250"/>
                </a:xfrm>
                <a:custGeom>
                  <a:avLst/>
                  <a:gdLst>
                    <a:gd name="connsiteX0" fmla="*/ 49530 w 123825"/>
                    <a:gd name="connsiteY0" fmla="*/ 0 h 95250"/>
                    <a:gd name="connsiteX1" fmla="*/ 53054 w 123825"/>
                    <a:gd name="connsiteY1" fmla="*/ 6001 h 95250"/>
                    <a:gd name="connsiteX2" fmla="*/ 68389 w 123825"/>
                    <a:gd name="connsiteY2" fmla="*/ 24194 h 95250"/>
                    <a:gd name="connsiteX3" fmla="*/ 117157 w 123825"/>
                    <a:gd name="connsiteY3" fmla="*/ 60008 h 95250"/>
                    <a:gd name="connsiteX4" fmla="*/ 114967 w 123825"/>
                    <a:gd name="connsiteY4" fmla="*/ 94298 h 95250"/>
                    <a:gd name="connsiteX5" fmla="*/ 106680 w 123825"/>
                    <a:gd name="connsiteY5" fmla="*/ 99060 h 95250"/>
                    <a:gd name="connsiteX6" fmla="*/ 67628 w 123825"/>
                    <a:gd name="connsiteY6" fmla="*/ 88583 h 95250"/>
                    <a:gd name="connsiteX7" fmla="*/ 18860 w 123825"/>
                    <a:gd name="connsiteY7" fmla="*/ 52769 h 95250"/>
                    <a:gd name="connsiteX8" fmla="*/ 3524 w 123825"/>
                    <a:gd name="connsiteY8" fmla="*/ 34576 h 95250"/>
                    <a:gd name="connsiteX9" fmla="*/ 0 w 123825"/>
                    <a:gd name="connsiteY9" fmla="*/ 28575 h 952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23825" h="95250">
                      <a:moveTo>
                        <a:pt x="49530" y="0"/>
                      </a:moveTo>
                      <a:lnTo>
                        <a:pt x="53054" y="6001"/>
                      </a:lnTo>
                      <a:cubicBezTo>
                        <a:pt x="57055" y="12954"/>
                        <a:pt x="62294" y="19050"/>
                        <a:pt x="68389" y="24194"/>
                      </a:cubicBezTo>
                      <a:cubicBezTo>
                        <a:pt x="68389" y="24194"/>
                        <a:pt x="105346" y="50292"/>
                        <a:pt x="117157" y="60008"/>
                      </a:cubicBezTo>
                      <a:cubicBezTo>
                        <a:pt x="135827" y="75343"/>
                        <a:pt x="124015" y="89059"/>
                        <a:pt x="114967" y="94298"/>
                      </a:cubicBezTo>
                      <a:lnTo>
                        <a:pt x="106680" y="99060"/>
                      </a:lnTo>
                      <a:cubicBezTo>
                        <a:pt x="90202" y="108585"/>
                        <a:pt x="75438" y="94869"/>
                        <a:pt x="67628" y="88583"/>
                      </a:cubicBezTo>
                      <a:cubicBezTo>
                        <a:pt x="59817" y="82296"/>
                        <a:pt x="18860" y="52769"/>
                        <a:pt x="18860" y="52769"/>
                      </a:cubicBezTo>
                      <a:cubicBezTo>
                        <a:pt x="12668" y="47720"/>
                        <a:pt x="7429" y="41529"/>
                        <a:pt x="3524" y="34576"/>
                      </a:cubicBezTo>
                      <a:lnTo>
                        <a:pt x="0" y="28575"/>
                      </a:lnTo>
                    </a:path>
                  </a:pathLst>
                </a:custGeom>
                <a:noFill/>
                <a:ln w="19050" cap="rnd">
                  <a:solidFill>
                    <a:srgbClr val="FE96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2" name="Forma Livre: Forma 211">
                  <a:extLst>
                    <a:ext uri="{FF2B5EF4-FFF2-40B4-BE49-F238E27FC236}">
                      <a16:creationId xmlns:a16="http://schemas.microsoft.com/office/drawing/2014/main" id="{02BDD1EB-CB2D-50FA-B268-9FC9C205DA19}"/>
                    </a:ext>
                  </a:extLst>
                </p:cNvPr>
                <p:cNvSpPr/>
                <p:nvPr/>
              </p:nvSpPr>
              <p:spPr>
                <a:xfrm>
                  <a:off x="16029715" y="6798557"/>
                  <a:ext cx="47625" cy="66675"/>
                </a:xfrm>
                <a:custGeom>
                  <a:avLst/>
                  <a:gdLst>
                    <a:gd name="connsiteX0" fmla="*/ 0 w 47625"/>
                    <a:gd name="connsiteY0" fmla="*/ 5014 h 66675"/>
                    <a:gd name="connsiteX1" fmla="*/ 52007 w 47625"/>
                    <a:gd name="connsiteY1" fmla="*/ 18921 h 66675"/>
                    <a:gd name="connsiteX2" fmla="*/ 38100 w 47625"/>
                    <a:gd name="connsiteY2" fmla="*/ 70927 h 66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7625" h="66675">
                      <a:moveTo>
                        <a:pt x="0" y="5014"/>
                      </a:moveTo>
                      <a:cubicBezTo>
                        <a:pt x="18193" y="-5559"/>
                        <a:pt x="41815" y="1299"/>
                        <a:pt x="52007" y="18921"/>
                      </a:cubicBezTo>
                      <a:cubicBezTo>
                        <a:pt x="62198" y="36637"/>
                        <a:pt x="56293" y="60450"/>
                        <a:pt x="38100" y="70927"/>
                      </a:cubicBezTo>
                    </a:path>
                  </a:pathLst>
                </a:custGeom>
                <a:noFill/>
                <a:ln w="19050" cap="rnd">
                  <a:solidFill>
                    <a:srgbClr val="FE96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3" name="Forma Livre: Forma 212">
                  <a:extLst>
                    <a:ext uri="{FF2B5EF4-FFF2-40B4-BE49-F238E27FC236}">
                      <a16:creationId xmlns:a16="http://schemas.microsoft.com/office/drawing/2014/main" id="{425C7A5F-96CA-B671-6223-DB61E4A5117A}"/>
                    </a:ext>
                  </a:extLst>
                </p:cNvPr>
                <p:cNvSpPr/>
                <p:nvPr/>
              </p:nvSpPr>
              <p:spPr>
                <a:xfrm>
                  <a:off x="15772437" y="6719193"/>
                  <a:ext cx="333375" cy="295275"/>
                </a:xfrm>
                <a:custGeom>
                  <a:avLst/>
                  <a:gdLst>
                    <a:gd name="connsiteX0" fmla="*/ 194033 w 333375"/>
                    <a:gd name="connsiteY0" fmla="*/ 6654 h 295275"/>
                    <a:gd name="connsiteX1" fmla="*/ 127548 w 333375"/>
                    <a:gd name="connsiteY1" fmla="*/ 126288 h 295275"/>
                    <a:gd name="connsiteX2" fmla="*/ 28583 w 333375"/>
                    <a:gd name="connsiteY2" fmla="*/ 183438 h 295275"/>
                    <a:gd name="connsiteX3" fmla="*/ 7628 w 333375"/>
                    <a:gd name="connsiteY3" fmla="*/ 261543 h 295275"/>
                    <a:gd name="connsiteX4" fmla="*/ 12391 w 333375"/>
                    <a:gd name="connsiteY4" fmla="*/ 269830 h 295275"/>
                    <a:gd name="connsiteX5" fmla="*/ 90496 w 333375"/>
                    <a:gd name="connsiteY5" fmla="*/ 290785 h 295275"/>
                    <a:gd name="connsiteX6" fmla="*/ 189461 w 333375"/>
                    <a:gd name="connsiteY6" fmla="*/ 233635 h 295275"/>
                    <a:gd name="connsiteX7" fmla="*/ 326335 w 333375"/>
                    <a:gd name="connsiteY7" fmla="*/ 235825 h 295275"/>
                    <a:gd name="connsiteX8" fmla="*/ 336622 w 333375"/>
                    <a:gd name="connsiteY8" fmla="*/ 221728 h 295275"/>
                    <a:gd name="connsiteX9" fmla="*/ 211368 w 333375"/>
                    <a:gd name="connsiteY9" fmla="*/ 4749 h 295275"/>
                    <a:gd name="connsiteX10" fmla="*/ 194033 w 333375"/>
                    <a:gd name="connsiteY10" fmla="*/ 6654 h 2952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33375" h="295275">
                      <a:moveTo>
                        <a:pt x="194033" y="6654"/>
                      </a:moveTo>
                      <a:cubicBezTo>
                        <a:pt x="179174" y="54945"/>
                        <a:pt x="155552" y="110095"/>
                        <a:pt x="127548" y="126288"/>
                      </a:cubicBezTo>
                      <a:lnTo>
                        <a:pt x="28583" y="183438"/>
                      </a:lnTo>
                      <a:cubicBezTo>
                        <a:pt x="1247" y="199249"/>
                        <a:pt x="-8088" y="234206"/>
                        <a:pt x="7628" y="261543"/>
                      </a:cubicBezTo>
                      <a:lnTo>
                        <a:pt x="12391" y="269830"/>
                      </a:lnTo>
                      <a:cubicBezTo>
                        <a:pt x="28202" y="297166"/>
                        <a:pt x="63159" y="306501"/>
                        <a:pt x="90496" y="290785"/>
                      </a:cubicBezTo>
                      <a:lnTo>
                        <a:pt x="189461" y="233635"/>
                      </a:lnTo>
                      <a:cubicBezTo>
                        <a:pt x="217559" y="217442"/>
                        <a:pt x="277091" y="224586"/>
                        <a:pt x="326335" y="235825"/>
                      </a:cubicBezTo>
                      <a:cubicBezTo>
                        <a:pt x="334431" y="237635"/>
                        <a:pt x="340813" y="228967"/>
                        <a:pt x="336622" y="221728"/>
                      </a:cubicBezTo>
                      <a:lnTo>
                        <a:pt x="211368" y="4749"/>
                      </a:lnTo>
                      <a:cubicBezTo>
                        <a:pt x="207272" y="-2395"/>
                        <a:pt x="196509" y="-1252"/>
                        <a:pt x="194033" y="6654"/>
                      </a:cubicBezTo>
                      <a:close/>
                    </a:path>
                  </a:pathLst>
                </a:custGeom>
                <a:noFill/>
                <a:ln w="19050" cap="rnd">
                  <a:solidFill>
                    <a:srgbClr val="FE96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4" name="Forma Livre: Forma 213">
                  <a:extLst>
                    <a:ext uri="{FF2B5EF4-FFF2-40B4-BE49-F238E27FC236}">
                      <a16:creationId xmlns:a16="http://schemas.microsoft.com/office/drawing/2014/main" id="{AEBF6A8B-1925-F892-76DF-4553D8816F5D}"/>
                    </a:ext>
                  </a:extLst>
                </p:cNvPr>
                <p:cNvSpPr/>
                <p:nvPr/>
              </p:nvSpPr>
              <p:spPr>
                <a:xfrm>
                  <a:off x="15899985" y="6845481"/>
                  <a:ext cx="57150" cy="104775"/>
                </a:xfrm>
                <a:custGeom>
                  <a:avLst/>
                  <a:gdLst>
                    <a:gd name="connsiteX0" fmla="*/ 0 w 57150"/>
                    <a:gd name="connsiteY0" fmla="*/ 0 h 104775"/>
                    <a:gd name="connsiteX1" fmla="*/ 61912 w 57150"/>
                    <a:gd name="connsiteY1" fmla="*/ 107251 h 104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7150" h="104775">
                      <a:moveTo>
                        <a:pt x="0" y="0"/>
                      </a:moveTo>
                      <a:lnTo>
                        <a:pt x="61912" y="107251"/>
                      </a:lnTo>
                    </a:path>
                  </a:pathLst>
                </a:custGeom>
                <a:ln w="19050" cap="rnd">
                  <a:solidFill>
                    <a:srgbClr val="FE96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5" name="Forma Livre: Forma 214">
                  <a:extLst>
                    <a:ext uri="{FF2B5EF4-FFF2-40B4-BE49-F238E27FC236}">
                      <a16:creationId xmlns:a16="http://schemas.microsoft.com/office/drawing/2014/main" id="{721CF460-58F6-E226-55FA-6C0A43EBC82E}"/>
                    </a:ext>
                  </a:extLst>
                </p:cNvPr>
                <p:cNvSpPr/>
                <p:nvPr/>
              </p:nvSpPr>
              <p:spPr>
                <a:xfrm>
                  <a:off x="16076579" y="6696510"/>
                  <a:ext cx="9525" cy="57150"/>
                </a:xfrm>
                <a:custGeom>
                  <a:avLst/>
                  <a:gdLst>
                    <a:gd name="connsiteX0" fmla="*/ 0 w 9525"/>
                    <a:gd name="connsiteY0" fmla="*/ 62389 h 57150"/>
                    <a:gd name="connsiteX1" fmla="*/ 16764 w 9525"/>
                    <a:gd name="connsiteY1" fmla="*/ 0 h 57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57150">
                      <a:moveTo>
                        <a:pt x="0" y="62389"/>
                      </a:moveTo>
                      <a:lnTo>
                        <a:pt x="16764" y="0"/>
                      </a:lnTo>
                    </a:path>
                  </a:pathLst>
                </a:custGeom>
                <a:ln w="19050" cap="rnd">
                  <a:solidFill>
                    <a:srgbClr val="FE96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6" name="Forma Livre: Forma 215">
                  <a:extLst>
                    <a:ext uri="{FF2B5EF4-FFF2-40B4-BE49-F238E27FC236}">
                      <a16:creationId xmlns:a16="http://schemas.microsoft.com/office/drawing/2014/main" id="{560E14AF-28E9-BDAA-48AC-0AB4A5B1DC50}"/>
                    </a:ext>
                  </a:extLst>
                </p:cNvPr>
                <p:cNvSpPr/>
                <p:nvPr/>
              </p:nvSpPr>
              <p:spPr>
                <a:xfrm>
                  <a:off x="16129919" y="6851291"/>
                  <a:ext cx="57150" cy="9525"/>
                </a:xfrm>
                <a:custGeom>
                  <a:avLst/>
                  <a:gdLst>
                    <a:gd name="connsiteX0" fmla="*/ 0 w 57150"/>
                    <a:gd name="connsiteY0" fmla="*/ 0 h 9525"/>
                    <a:gd name="connsiteX1" fmla="*/ 62484 w 57150"/>
                    <a:gd name="connsiteY1" fmla="*/ 16764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7150" h="9525">
                      <a:moveTo>
                        <a:pt x="0" y="0"/>
                      </a:moveTo>
                      <a:lnTo>
                        <a:pt x="62484" y="16764"/>
                      </a:lnTo>
                    </a:path>
                  </a:pathLst>
                </a:custGeom>
                <a:ln w="19050" cap="rnd">
                  <a:solidFill>
                    <a:srgbClr val="FE96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7" name="Forma Livre: Forma 216">
                  <a:extLst>
                    <a:ext uri="{FF2B5EF4-FFF2-40B4-BE49-F238E27FC236}">
                      <a16:creationId xmlns:a16="http://schemas.microsoft.com/office/drawing/2014/main" id="{76EC0CA9-EBFF-6F18-6AE1-A5384A80AF81}"/>
                    </a:ext>
                  </a:extLst>
                </p:cNvPr>
                <p:cNvSpPr/>
                <p:nvPr/>
              </p:nvSpPr>
              <p:spPr>
                <a:xfrm>
                  <a:off x="16113155" y="6768900"/>
                  <a:ext cx="47625" cy="28575"/>
                </a:xfrm>
                <a:custGeom>
                  <a:avLst/>
                  <a:gdLst>
                    <a:gd name="connsiteX0" fmla="*/ 0 w 47625"/>
                    <a:gd name="connsiteY0" fmla="*/ 30480 h 28575"/>
                    <a:gd name="connsiteX1" fmla="*/ 52769 w 47625"/>
                    <a:gd name="connsiteY1" fmla="*/ 0 h 28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7625" h="28575">
                      <a:moveTo>
                        <a:pt x="0" y="30480"/>
                      </a:moveTo>
                      <a:lnTo>
                        <a:pt x="52769" y="0"/>
                      </a:lnTo>
                    </a:path>
                  </a:pathLst>
                </a:custGeom>
                <a:ln w="19050" cap="rnd">
                  <a:solidFill>
                    <a:srgbClr val="FE96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18" name="Retângulo 217">
                <a:extLst>
                  <a:ext uri="{FF2B5EF4-FFF2-40B4-BE49-F238E27FC236}">
                    <a16:creationId xmlns:a16="http://schemas.microsoft.com/office/drawing/2014/main" id="{58766ED5-C598-C71F-313A-E221EAE5AB3B}"/>
                  </a:ext>
                </a:extLst>
              </p:cNvPr>
              <p:cNvSpPr/>
              <p:nvPr/>
            </p:nvSpPr>
            <p:spPr>
              <a:xfrm>
                <a:off x="1103545" y="1659003"/>
                <a:ext cx="1904582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FE9600"/>
                    </a:solidFill>
                    <a:effectLst/>
                    <a:uLnTx/>
                    <a:uFillTx/>
                    <a:latin typeface="Itau Display Pro App" panose="020B0503020204020204" pitchFamily="34" charset="0"/>
                    <a:ea typeface="+mn-ea"/>
                    <a:cs typeface="Itau Display Pro App" panose="020B0503020204020204" pitchFamily="34" charset="0"/>
                  </a:rPr>
                  <a:t>Reclamações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FE9600"/>
                    </a:solidFill>
                    <a:effectLst/>
                    <a:uLnTx/>
                    <a:uFillTx/>
                    <a:latin typeface="Itau Display Pro App" panose="020B0503020204020204" pitchFamily="34" charset="0"/>
                    <a:ea typeface="+mn-ea"/>
                    <a:cs typeface="Itau Display Pro App" panose="020B0503020204020204" pitchFamily="34" charset="0"/>
                  </a:rPr>
                  <a:t>(</a:t>
                </a:r>
                <a:r>
                  <a:rPr kumimoji="0" lang="pt-BR" sz="12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FE9600"/>
                    </a:solidFill>
                    <a:effectLst/>
                    <a:uLnTx/>
                    <a:uFillTx/>
                    <a:latin typeface="Itau Display Pro App" panose="020B0503020204020204" pitchFamily="34" charset="0"/>
                    <a:ea typeface="+mn-ea"/>
                    <a:cs typeface="Itau Display Pro App" panose="020B0503020204020204" pitchFamily="34" charset="0"/>
                  </a:rPr>
                  <a:t>FQs</a:t>
                </a:r>
                <a:r>
                  <a:rPr kumimoji="0" lang="pt-BR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FE9600"/>
                    </a:solidFill>
                    <a:effectLst/>
                    <a:uLnTx/>
                    <a:uFillTx/>
                    <a:latin typeface="Itau Display Pro App" panose="020B0503020204020204" pitchFamily="34" charset="0"/>
                    <a:ea typeface="+mn-ea"/>
                    <a:cs typeface="Itau Display Pro App" panose="020B0503020204020204" pitchFamily="34" charset="0"/>
                  </a:rPr>
                  <a:t>, HQs, BP4)</a:t>
                </a:r>
              </a:p>
            </p:txBody>
          </p:sp>
        </p:grpSp>
        <p:grpSp>
          <p:nvGrpSpPr>
            <p:cNvPr id="300" name="Agrupar 299">
              <a:extLst>
                <a:ext uri="{FF2B5EF4-FFF2-40B4-BE49-F238E27FC236}">
                  <a16:creationId xmlns:a16="http://schemas.microsoft.com/office/drawing/2014/main" id="{DCD4456F-81C1-084D-067B-8A65FC2C1892}"/>
                </a:ext>
              </a:extLst>
            </p:cNvPr>
            <p:cNvGrpSpPr/>
            <p:nvPr/>
          </p:nvGrpSpPr>
          <p:grpSpPr>
            <a:xfrm>
              <a:off x="1742892" y="2527409"/>
              <a:ext cx="1904582" cy="1440000"/>
              <a:chOff x="1967519" y="2256207"/>
              <a:chExt cx="1904582" cy="1440000"/>
            </a:xfrm>
          </p:grpSpPr>
          <p:sp>
            <p:nvSpPr>
              <p:cNvPr id="294" name="Elipse 293">
                <a:extLst>
                  <a:ext uri="{FF2B5EF4-FFF2-40B4-BE49-F238E27FC236}">
                    <a16:creationId xmlns:a16="http://schemas.microsoft.com/office/drawing/2014/main" id="{95A838E7-6B9D-0F61-AF6D-519E857179AC}"/>
                  </a:ext>
                </a:extLst>
              </p:cNvPr>
              <p:cNvSpPr/>
              <p:nvPr/>
            </p:nvSpPr>
            <p:spPr>
              <a:xfrm>
                <a:off x="2179323" y="2256207"/>
                <a:ext cx="1440000" cy="1440000"/>
              </a:xfrm>
              <a:prstGeom prst="ellipse">
                <a:avLst/>
              </a:prstGeom>
              <a:solidFill>
                <a:schemeClr val="bg1"/>
              </a:solidFill>
              <a:ln w="3175">
                <a:solidFill>
                  <a:srgbClr val="FE96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4" name="Retângulo 193">
                <a:extLst>
                  <a:ext uri="{FF2B5EF4-FFF2-40B4-BE49-F238E27FC236}">
                    <a16:creationId xmlns:a16="http://schemas.microsoft.com/office/drawing/2014/main" id="{3B30442E-B8B5-5A48-EB20-8E19A8A9F5AF}"/>
                  </a:ext>
                </a:extLst>
              </p:cNvPr>
              <p:cNvSpPr/>
              <p:nvPr/>
            </p:nvSpPr>
            <p:spPr>
              <a:xfrm>
                <a:off x="1967519" y="3030625"/>
                <a:ext cx="1904582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FE9600"/>
                    </a:solidFill>
                    <a:effectLst/>
                    <a:uLnTx/>
                    <a:uFillTx/>
                    <a:latin typeface="Itau Display Pro App" panose="020B0503020204020204" pitchFamily="34" charset="0"/>
                    <a:ea typeface="+mn-ea"/>
                    <a:cs typeface="Itau Display Pro App" panose="020B0503020204020204" pitchFamily="34" charset="0"/>
                  </a:rPr>
                  <a:t>NPS (_</a:t>
                </a:r>
                <a:r>
                  <a:rPr kumimoji="0" lang="pt-BR" sz="12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FE9600"/>
                    </a:solidFill>
                    <a:effectLst/>
                    <a:uLnTx/>
                    <a:uFillTx/>
                    <a:latin typeface="Itau Display Pro App" panose="020B0503020204020204" pitchFamily="34" charset="0"/>
                    <a:ea typeface="+mn-ea"/>
                    <a:cs typeface="Itau Display Pro App" panose="020B0503020204020204" pitchFamily="34" charset="0"/>
                  </a:rPr>
                  <a:t>gis</a:t>
                </a:r>
                <a:r>
                  <a:rPr kumimoji="0" lang="pt-BR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FE9600"/>
                    </a:solidFill>
                    <a:effectLst/>
                    <a:uLnTx/>
                    <a:uFillTx/>
                    <a:latin typeface="Itau Display Pro App" panose="020B0503020204020204" pitchFamily="34" charset="0"/>
                    <a:ea typeface="+mn-ea"/>
                    <a:cs typeface="Itau Display Pro App" panose="020B0503020204020204" pitchFamily="34" charset="0"/>
                  </a:rPr>
                  <a:t>)</a:t>
                </a:r>
              </a:p>
            </p:txBody>
          </p:sp>
          <p:grpSp>
            <p:nvGrpSpPr>
              <p:cNvPr id="195" name="Agrupar 194">
                <a:extLst>
                  <a:ext uri="{FF2B5EF4-FFF2-40B4-BE49-F238E27FC236}">
                    <a16:creationId xmlns:a16="http://schemas.microsoft.com/office/drawing/2014/main" id="{99F56B77-A1CE-80F9-D9C9-4B9F8EFA1C4A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671045" y="2610630"/>
                <a:ext cx="426776" cy="360000"/>
                <a:chOff x="9285542" y="1279890"/>
                <a:chExt cx="432024" cy="364427"/>
              </a:xfrm>
            </p:grpSpPr>
            <p:sp>
              <p:nvSpPr>
                <p:cNvPr id="196" name="Forma Livre: Forma 195">
                  <a:extLst>
                    <a:ext uri="{FF2B5EF4-FFF2-40B4-BE49-F238E27FC236}">
                      <a16:creationId xmlns:a16="http://schemas.microsoft.com/office/drawing/2014/main" id="{474A1A17-5A20-5C3D-26C1-99B934570021}"/>
                    </a:ext>
                  </a:extLst>
                </p:cNvPr>
                <p:cNvSpPr/>
                <p:nvPr/>
              </p:nvSpPr>
              <p:spPr>
                <a:xfrm>
                  <a:off x="9364561" y="1279890"/>
                  <a:ext cx="266700" cy="257175"/>
                </a:xfrm>
                <a:custGeom>
                  <a:avLst/>
                  <a:gdLst>
                    <a:gd name="connsiteX0" fmla="*/ 144212 w 266700"/>
                    <a:gd name="connsiteY0" fmla="*/ 4001 h 257175"/>
                    <a:gd name="connsiteX1" fmla="*/ 182408 w 266700"/>
                    <a:gd name="connsiteY1" fmla="*/ 87725 h 257175"/>
                    <a:gd name="connsiteX2" fmla="*/ 269942 w 266700"/>
                    <a:gd name="connsiteY2" fmla="*/ 95536 h 257175"/>
                    <a:gd name="connsiteX3" fmla="*/ 274133 w 266700"/>
                    <a:gd name="connsiteY3" fmla="*/ 107061 h 257175"/>
                    <a:gd name="connsiteX4" fmla="*/ 209839 w 266700"/>
                    <a:gd name="connsiteY4" fmla="*/ 170783 h 257175"/>
                    <a:gd name="connsiteX5" fmla="*/ 225937 w 266700"/>
                    <a:gd name="connsiteY5" fmla="*/ 253841 h 257175"/>
                    <a:gd name="connsiteX6" fmla="*/ 216221 w 266700"/>
                    <a:gd name="connsiteY6" fmla="*/ 261176 h 257175"/>
                    <a:gd name="connsiteX7" fmla="*/ 138116 w 266700"/>
                    <a:gd name="connsiteY7" fmla="*/ 221933 h 257175"/>
                    <a:gd name="connsiteX8" fmla="*/ 59916 w 266700"/>
                    <a:gd name="connsiteY8" fmla="*/ 260890 h 257175"/>
                    <a:gd name="connsiteX9" fmla="*/ 50201 w 266700"/>
                    <a:gd name="connsiteY9" fmla="*/ 253556 h 257175"/>
                    <a:gd name="connsiteX10" fmla="*/ 66298 w 266700"/>
                    <a:gd name="connsiteY10" fmla="*/ 170879 h 257175"/>
                    <a:gd name="connsiteX11" fmla="*/ 2004 w 266700"/>
                    <a:gd name="connsiteY11" fmla="*/ 107061 h 257175"/>
                    <a:gd name="connsiteX12" fmla="*/ 6195 w 266700"/>
                    <a:gd name="connsiteY12" fmla="*/ 95536 h 257175"/>
                    <a:gd name="connsiteX13" fmla="*/ 93730 w 266700"/>
                    <a:gd name="connsiteY13" fmla="*/ 87725 h 257175"/>
                    <a:gd name="connsiteX14" fmla="*/ 131925 w 266700"/>
                    <a:gd name="connsiteY14" fmla="*/ 4001 h 257175"/>
                    <a:gd name="connsiteX15" fmla="*/ 144212 w 266700"/>
                    <a:gd name="connsiteY15" fmla="*/ 4001 h 2571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266700" h="257175">
                      <a:moveTo>
                        <a:pt x="144212" y="4001"/>
                      </a:moveTo>
                      <a:lnTo>
                        <a:pt x="182408" y="87725"/>
                      </a:lnTo>
                      <a:lnTo>
                        <a:pt x="269942" y="95536"/>
                      </a:lnTo>
                      <a:cubicBezTo>
                        <a:pt x="275657" y="96012"/>
                        <a:pt x="278229" y="103061"/>
                        <a:pt x="274133" y="107061"/>
                      </a:cubicBezTo>
                      <a:lnTo>
                        <a:pt x="209839" y="170783"/>
                      </a:lnTo>
                      <a:lnTo>
                        <a:pt x="225937" y="253841"/>
                      </a:lnTo>
                      <a:cubicBezTo>
                        <a:pt x="226985" y="259366"/>
                        <a:pt x="221270" y="263747"/>
                        <a:pt x="216221" y="261176"/>
                      </a:cubicBezTo>
                      <a:lnTo>
                        <a:pt x="138116" y="221933"/>
                      </a:lnTo>
                      <a:lnTo>
                        <a:pt x="59916" y="260890"/>
                      </a:lnTo>
                      <a:cubicBezTo>
                        <a:pt x="54868" y="263366"/>
                        <a:pt x="49153" y="259080"/>
                        <a:pt x="50201" y="253556"/>
                      </a:cubicBezTo>
                      <a:lnTo>
                        <a:pt x="66298" y="170879"/>
                      </a:lnTo>
                      <a:lnTo>
                        <a:pt x="2004" y="107061"/>
                      </a:lnTo>
                      <a:cubicBezTo>
                        <a:pt x="-2092" y="102965"/>
                        <a:pt x="480" y="96012"/>
                        <a:pt x="6195" y="95536"/>
                      </a:cubicBezTo>
                      <a:lnTo>
                        <a:pt x="93730" y="87725"/>
                      </a:lnTo>
                      <a:lnTo>
                        <a:pt x="131925" y="4001"/>
                      </a:lnTo>
                      <a:cubicBezTo>
                        <a:pt x="134306" y="-1334"/>
                        <a:pt x="141831" y="-1334"/>
                        <a:pt x="144212" y="4001"/>
                      </a:cubicBezTo>
                      <a:close/>
                    </a:path>
                  </a:pathLst>
                </a:custGeom>
                <a:noFill/>
                <a:ln w="19050" cap="rnd">
                  <a:solidFill>
                    <a:srgbClr val="FE96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7" name="Forma Livre: Forma 196">
                  <a:extLst>
                    <a:ext uri="{FF2B5EF4-FFF2-40B4-BE49-F238E27FC236}">
                      <a16:creationId xmlns:a16="http://schemas.microsoft.com/office/drawing/2014/main" id="{EFCFBE7D-B1DA-DA1A-C0A6-AD0165C7959A}"/>
                    </a:ext>
                  </a:extLst>
                </p:cNvPr>
                <p:cNvSpPr/>
                <p:nvPr/>
              </p:nvSpPr>
              <p:spPr>
                <a:xfrm>
                  <a:off x="9285542" y="1453817"/>
                  <a:ext cx="219075" cy="190500"/>
                </a:xfrm>
                <a:custGeom>
                  <a:avLst/>
                  <a:gdLst>
                    <a:gd name="connsiteX0" fmla="*/ 223231 w 219075"/>
                    <a:gd name="connsiteY0" fmla="*/ 86296 h 190500"/>
                    <a:gd name="connsiteX1" fmla="*/ 193894 w 219075"/>
                    <a:gd name="connsiteY1" fmla="*/ 115348 h 190500"/>
                    <a:gd name="connsiteX2" fmla="*/ 208753 w 219075"/>
                    <a:gd name="connsiteY2" fmla="*/ 192119 h 190500"/>
                    <a:gd name="connsiteX3" fmla="*/ 199800 w 219075"/>
                    <a:gd name="connsiteY3" fmla="*/ 198882 h 190500"/>
                    <a:gd name="connsiteX4" fmla="*/ 127600 w 219075"/>
                    <a:gd name="connsiteY4" fmla="*/ 162592 h 190500"/>
                    <a:gd name="connsiteX5" fmla="*/ 55401 w 219075"/>
                    <a:gd name="connsiteY5" fmla="*/ 198596 h 190500"/>
                    <a:gd name="connsiteX6" fmla="*/ 46447 w 219075"/>
                    <a:gd name="connsiteY6" fmla="*/ 191834 h 190500"/>
                    <a:gd name="connsiteX7" fmla="*/ 61306 w 219075"/>
                    <a:gd name="connsiteY7" fmla="*/ 115348 h 190500"/>
                    <a:gd name="connsiteX8" fmla="*/ 1870 w 219075"/>
                    <a:gd name="connsiteY8" fmla="*/ 56388 h 190500"/>
                    <a:gd name="connsiteX9" fmla="*/ 5680 w 219075"/>
                    <a:gd name="connsiteY9" fmla="*/ 45720 h 190500"/>
                    <a:gd name="connsiteX10" fmla="*/ 86547 w 219075"/>
                    <a:gd name="connsiteY10" fmla="*/ 38481 h 190500"/>
                    <a:gd name="connsiteX11" fmla="*/ 104073 w 219075"/>
                    <a:gd name="connsiteY11" fmla="*/ 0 h 1905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19075" h="190500">
                      <a:moveTo>
                        <a:pt x="223231" y="86296"/>
                      </a:moveTo>
                      <a:lnTo>
                        <a:pt x="193894" y="115348"/>
                      </a:lnTo>
                      <a:lnTo>
                        <a:pt x="208753" y="192119"/>
                      </a:lnTo>
                      <a:cubicBezTo>
                        <a:pt x="209706" y="197263"/>
                        <a:pt x="204467" y="201263"/>
                        <a:pt x="199800" y="198882"/>
                      </a:cubicBezTo>
                      <a:lnTo>
                        <a:pt x="127600" y="162592"/>
                      </a:lnTo>
                      <a:lnTo>
                        <a:pt x="55401" y="198596"/>
                      </a:lnTo>
                      <a:cubicBezTo>
                        <a:pt x="50733" y="200882"/>
                        <a:pt x="45495" y="196882"/>
                        <a:pt x="46447" y="191834"/>
                      </a:cubicBezTo>
                      <a:lnTo>
                        <a:pt x="61306" y="115348"/>
                      </a:lnTo>
                      <a:lnTo>
                        <a:pt x="1870" y="56388"/>
                      </a:lnTo>
                      <a:cubicBezTo>
                        <a:pt x="-1940" y="52673"/>
                        <a:pt x="441" y="46196"/>
                        <a:pt x="5680" y="45720"/>
                      </a:cubicBezTo>
                      <a:lnTo>
                        <a:pt x="86547" y="38481"/>
                      </a:lnTo>
                      <a:lnTo>
                        <a:pt x="104073" y="0"/>
                      </a:lnTo>
                    </a:path>
                  </a:pathLst>
                </a:custGeom>
                <a:noFill/>
                <a:ln w="19050" cap="rnd">
                  <a:solidFill>
                    <a:srgbClr val="FE96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8" name="Forma Livre: Forma 197">
                  <a:extLst>
                    <a:ext uri="{FF2B5EF4-FFF2-40B4-BE49-F238E27FC236}">
                      <a16:creationId xmlns:a16="http://schemas.microsoft.com/office/drawing/2014/main" id="{5D63EC42-6D14-755D-7819-0E0A749B3FC8}"/>
                    </a:ext>
                  </a:extLst>
                </p:cNvPr>
                <p:cNvSpPr/>
                <p:nvPr/>
              </p:nvSpPr>
              <p:spPr>
                <a:xfrm>
                  <a:off x="9555641" y="1440386"/>
                  <a:ext cx="161925" cy="180975"/>
                </a:xfrm>
                <a:custGeom>
                  <a:avLst/>
                  <a:gdLst>
                    <a:gd name="connsiteX0" fmla="*/ 69242 w 161925"/>
                    <a:gd name="connsiteY0" fmla="*/ 0 h 180975"/>
                    <a:gd name="connsiteX1" fmla="*/ 97341 w 161925"/>
                    <a:gd name="connsiteY1" fmla="*/ 61531 h 180975"/>
                    <a:gd name="connsiteX2" fmla="*/ 161634 w 161925"/>
                    <a:gd name="connsiteY2" fmla="*/ 67246 h 180975"/>
                    <a:gd name="connsiteX3" fmla="*/ 164683 w 161925"/>
                    <a:gd name="connsiteY3" fmla="*/ 75724 h 180975"/>
                    <a:gd name="connsiteX4" fmla="*/ 117439 w 161925"/>
                    <a:gd name="connsiteY4" fmla="*/ 122587 h 180975"/>
                    <a:gd name="connsiteX5" fmla="*/ 129250 w 161925"/>
                    <a:gd name="connsiteY5" fmla="*/ 183642 h 180975"/>
                    <a:gd name="connsiteX6" fmla="*/ 122106 w 161925"/>
                    <a:gd name="connsiteY6" fmla="*/ 189071 h 180975"/>
                    <a:gd name="connsiteX7" fmla="*/ 64670 w 161925"/>
                    <a:gd name="connsiteY7" fmla="*/ 160210 h 180975"/>
                    <a:gd name="connsiteX8" fmla="*/ 7234 w 161925"/>
                    <a:gd name="connsiteY8" fmla="*/ 188881 h 180975"/>
                    <a:gd name="connsiteX9" fmla="*/ 91 w 161925"/>
                    <a:gd name="connsiteY9" fmla="*/ 183452 h 180975"/>
                    <a:gd name="connsiteX10" fmla="*/ 10663 w 161925"/>
                    <a:gd name="connsiteY10" fmla="*/ 128968 h 180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61925" h="180975">
                      <a:moveTo>
                        <a:pt x="69242" y="0"/>
                      </a:moveTo>
                      <a:lnTo>
                        <a:pt x="97341" y="61531"/>
                      </a:lnTo>
                      <a:lnTo>
                        <a:pt x="161634" y="67246"/>
                      </a:lnTo>
                      <a:cubicBezTo>
                        <a:pt x="165825" y="67628"/>
                        <a:pt x="167731" y="72771"/>
                        <a:pt x="164683" y="75724"/>
                      </a:cubicBezTo>
                      <a:lnTo>
                        <a:pt x="117439" y="122587"/>
                      </a:lnTo>
                      <a:lnTo>
                        <a:pt x="129250" y="183642"/>
                      </a:lnTo>
                      <a:cubicBezTo>
                        <a:pt x="130012" y="187738"/>
                        <a:pt x="125821" y="190881"/>
                        <a:pt x="122106" y="189071"/>
                      </a:cubicBezTo>
                      <a:lnTo>
                        <a:pt x="64670" y="160210"/>
                      </a:lnTo>
                      <a:lnTo>
                        <a:pt x="7234" y="188881"/>
                      </a:lnTo>
                      <a:cubicBezTo>
                        <a:pt x="3520" y="190690"/>
                        <a:pt x="-671" y="187547"/>
                        <a:pt x="91" y="183452"/>
                      </a:cubicBezTo>
                      <a:lnTo>
                        <a:pt x="10663" y="128968"/>
                      </a:lnTo>
                    </a:path>
                  </a:pathLst>
                </a:custGeom>
                <a:noFill/>
                <a:ln w="19050" cap="rnd">
                  <a:solidFill>
                    <a:srgbClr val="FE96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301" name="Agrupar 300">
              <a:extLst>
                <a:ext uri="{FF2B5EF4-FFF2-40B4-BE49-F238E27FC236}">
                  <a16:creationId xmlns:a16="http://schemas.microsoft.com/office/drawing/2014/main" id="{D02B8F5C-E87E-721D-A9DC-9B17F6FE3914}"/>
                </a:ext>
              </a:extLst>
            </p:cNvPr>
            <p:cNvGrpSpPr/>
            <p:nvPr/>
          </p:nvGrpSpPr>
          <p:grpSpPr>
            <a:xfrm>
              <a:off x="-30569" y="2515085"/>
              <a:ext cx="1904582" cy="1440000"/>
              <a:chOff x="178978" y="2769176"/>
              <a:chExt cx="1904582" cy="1440000"/>
            </a:xfrm>
          </p:grpSpPr>
          <p:sp>
            <p:nvSpPr>
              <p:cNvPr id="295" name="Elipse 294">
                <a:extLst>
                  <a:ext uri="{FF2B5EF4-FFF2-40B4-BE49-F238E27FC236}">
                    <a16:creationId xmlns:a16="http://schemas.microsoft.com/office/drawing/2014/main" id="{EA58C43B-3A18-87AA-AF2E-8AC3B76AD0C1}"/>
                  </a:ext>
                </a:extLst>
              </p:cNvPr>
              <p:cNvSpPr/>
              <p:nvPr/>
            </p:nvSpPr>
            <p:spPr>
              <a:xfrm>
                <a:off x="415081" y="2769176"/>
                <a:ext cx="1440000" cy="1440000"/>
              </a:xfrm>
              <a:prstGeom prst="ellipse">
                <a:avLst/>
              </a:prstGeom>
              <a:solidFill>
                <a:schemeClr val="bg1"/>
              </a:solidFill>
              <a:ln w="3175">
                <a:solidFill>
                  <a:srgbClr val="FE96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163" name="Agrupar 162">
                <a:extLst>
                  <a:ext uri="{FF2B5EF4-FFF2-40B4-BE49-F238E27FC236}">
                    <a16:creationId xmlns:a16="http://schemas.microsoft.com/office/drawing/2014/main" id="{73851669-994D-F94C-34DA-CDDB5160E909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960959" y="3004004"/>
                <a:ext cx="360161" cy="360000"/>
                <a:chOff x="8532937" y="2032365"/>
                <a:chExt cx="428720" cy="428530"/>
              </a:xfrm>
            </p:grpSpPr>
            <p:sp>
              <p:nvSpPr>
                <p:cNvPr id="164" name="Forma Livre: Forma 163">
                  <a:extLst>
                    <a:ext uri="{FF2B5EF4-FFF2-40B4-BE49-F238E27FC236}">
                      <a16:creationId xmlns:a16="http://schemas.microsoft.com/office/drawing/2014/main" id="{F927E0E6-07AC-B916-2876-9DF470994C54}"/>
                    </a:ext>
                  </a:extLst>
                </p:cNvPr>
                <p:cNvSpPr/>
                <p:nvPr/>
              </p:nvSpPr>
              <p:spPr>
                <a:xfrm>
                  <a:off x="8532937" y="2032365"/>
                  <a:ext cx="238125" cy="238125"/>
                </a:xfrm>
                <a:custGeom>
                  <a:avLst/>
                  <a:gdLst>
                    <a:gd name="connsiteX0" fmla="*/ 238125 w 238125"/>
                    <a:gd name="connsiteY0" fmla="*/ 119063 h 238125"/>
                    <a:gd name="connsiteX1" fmla="*/ 119063 w 238125"/>
                    <a:gd name="connsiteY1" fmla="*/ 238125 h 238125"/>
                    <a:gd name="connsiteX2" fmla="*/ 0 w 238125"/>
                    <a:gd name="connsiteY2" fmla="*/ 119063 h 238125"/>
                    <a:gd name="connsiteX3" fmla="*/ 119063 w 238125"/>
                    <a:gd name="connsiteY3" fmla="*/ 0 h 238125"/>
                    <a:gd name="connsiteX4" fmla="*/ 238125 w 238125"/>
                    <a:gd name="connsiteY4" fmla="*/ 119063 h 2381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8125" h="238125">
                      <a:moveTo>
                        <a:pt x="238125" y="119063"/>
                      </a:moveTo>
                      <a:cubicBezTo>
                        <a:pt x="238125" y="184785"/>
                        <a:pt x="184880" y="238125"/>
                        <a:pt x="119063" y="238125"/>
                      </a:cubicBezTo>
                      <a:cubicBezTo>
                        <a:pt x="53340" y="238125"/>
                        <a:pt x="0" y="184880"/>
                        <a:pt x="0" y="119063"/>
                      </a:cubicBezTo>
                      <a:cubicBezTo>
                        <a:pt x="0" y="53245"/>
                        <a:pt x="53245" y="0"/>
                        <a:pt x="119063" y="0"/>
                      </a:cubicBezTo>
                      <a:cubicBezTo>
                        <a:pt x="184880" y="95"/>
                        <a:pt x="238125" y="53340"/>
                        <a:pt x="238125" y="119063"/>
                      </a:cubicBezTo>
                      <a:close/>
                    </a:path>
                  </a:pathLst>
                </a:custGeom>
                <a:noFill/>
                <a:ln w="19050" cap="rnd">
                  <a:solidFill>
                    <a:srgbClr val="FE96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5" name="Forma Livre: Forma 164">
                  <a:extLst>
                    <a:ext uri="{FF2B5EF4-FFF2-40B4-BE49-F238E27FC236}">
                      <a16:creationId xmlns:a16="http://schemas.microsoft.com/office/drawing/2014/main" id="{9B9F3F56-20B7-8E8C-8B45-95DFFB952680}"/>
                    </a:ext>
                  </a:extLst>
                </p:cNvPr>
                <p:cNvSpPr/>
                <p:nvPr/>
              </p:nvSpPr>
              <p:spPr>
                <a:xfrm>
                  <a:off x="8582086" y="2165715"/>
                  <a:ext cx="133350" cy="57150"/>
                </a:xfrm>
                <a:custGeom>
                  <a:avLst/>
                  <a:gdLst>
                    <a:gd name="connsiteX0" fmla="*/ 140018 w 133350"/>
                    <a:gd name="connsiteY0" fmla="*/ 0 h 57150"/>
                    <a:gd name="connsiteX1" fmla="*/ 70009 w 133350"/>
                    <a:gd name="connsiteY1" fmla="*/ 57150 h 57150"/>
                    <a:gd name="connsiteX2" fmla="*/ 0 w 133350"/>
                    <a:gd name="connsiteY2" fmla="*/ 0 h 57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33350" h="57150">
                      <a:moveTo>
                        <a:pt x="140018" y="0"/>
                      </a:moveTo>
                      <a:cubicBezTo>
                        <a:pt x="133445" y="32671"/>
                        <a:pt x="104585" y="57150"/>
                        <a:pt x="70009" y="57150"/>
                      </a:cubicBezTo>
                      <a:cubicBezTo>
                        <a:pt x="35433" y="57150"/>
                        <a:pt x="6572" y="32575"/>
                        <a:pt x="0" y="0"/>
                      </a:cubicBezTo>
                    </a:path>
                  </a:pathLst>
                </a:custGeom>
                <a:noFill/>
                <a:ln w="19050" cap="rnd">
                  <a:solidFill>
                    <a:srgbClr val="FE96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6" name="Forma Livre: Forma 165">
                  <a:extLst>
                    <a:ext uri="{FF2B5EF4-FFF2-40B4-BE49-F238E27FC236}">
                      <a16:creationId xmlns:a16="http://schemas.microsoft.com/office/drawing/2014/main" id="{FE78DF71-39F8-84D3-2FA3-695E05E14F4A}"/>
                    </a:ext>
                  </a:extLst>
                </p:cNvPr>
                <p:cNvSpPr/>
                <p:nvPr/>
              </p:nvSpPr>
              <p:spPr>
                <a:xfrm>
                  <a:off x="8771157" y="2032460"/>
                  <a:ext cx="190500" cy="238125"/>
                </a:xfrm>
                <a:custGeom>
                  <a:avLst/>
                  <a:gdLst>
                    <a:gd name="connsiteX0" fmla="*/ 0 w 190500"/>
                    <a:gd name="connsiteY0" fmla="*/ 23813 h 238125"/>
                    <a:gd name="connsiteX1" fmla="*/ 71438 w 190500"/>
                    <a:gd name="connsiteY1" fmla="*/ 0 h 238125"/>
                    <a:gd name="connsiteX2" fmla="*/ 190500 w 190500"/>
                    <a:gd name="connsiteY2" fmla="*/ 119063 h 238125"/>
                    <a:gd name="connsiteX3" fmla="*/ 71438 w 190500"/>
                    <a:gd name="connsiteY3" fmla="*/ 238125 h 238125"/>
                    <a:gd name="connsiteX4" fmla="*/ 0 w 190500"/>
                    <a:gd name="connsiteY4" fmla="*/ 214313 h 2381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0500" h="238125">
                      <a:moveTo>
                        <a:pt x="0" y="23813"/>
                      </a:moveTo>
                      <a:cubicBezTo>
                        <a:pt x="19907" y="8858"/>
                        <a:pt x="44672" y="0"/>
                        <a:pt x="71438" y="0"/>
                      </a:cubicBezTo>
                      <a:cubicBezTo>
                        <a:pt x="137160" y="0"/>
                        <a:pt x="190500" y="53245"/>
                        <a:pt x="190500" y="119063"/>
                      </a:cubicBezTo>
                      <a:cubicBezTo>
                        <a:pt x="190500" y="184785"/>
                        <a:pt x="137255" y="238125"/>
                        <a:pt x="71438" y="238125"/>
                      </a:cubicBezTo>
                      <a:cubicBezTo>
                        <a:pt x="44577" y="238125"/>
                        <a:pt x="19907" y="229267"/>
                        <a:pt x="0" y="214313"/>
                      </a:cubicBezTo>
                    </a:path>
                  </a:pathLst>
                </a:custGeom>
                <a:noFill/>
                <a:ln w="19050" cap="rnd">
                  <a:solidFill>
                    <a:srgbClr val="FE96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7" name="Forma Livre: Forma 166">
                  <a:extLst>
                    <a:ext uri="{FF2B5EF4-FFF2-40B4-BE49-F238E27FC236}">
                      <a16:creationId xmlns:a16="http://schemas.microsoft.com/office/drawing/2014/main" id="{BF8589EF-B8C2-D66F-AA57-C0173022DF8B}"/>
                    </a:ext>
                  </a:extLst>
                </p:cNvPr>
                <p:cNvSpPr/>
                <p:nvPr/>
              </p:nvSpPr>
              <p:spPr>
                <a:xfrm>
                  <a:off x="8618757" y="2289445"/>
                  <a:ext cx="238125" cy="171450"/>
                </a:xfrm>
                <a:custGeom>
                  <a:avLst/>
                  <a:gdLst>
                    <a:gd name="connsiteX0" fmla="*/ 226028 w 238125"/>
                    <a:gd name="connsiteY0" fmla="*/ 95 h 171450"/>
                    <a:gd name="connsiteX1" fmla="*/ 238125 w 238125"/>
                    <a:gd name="connsiteY1" fmla="*/ 52483 h 171450"/>
                    <a:gd name="connsiteX2" fmla="*/ 119063 w 238125"/>
                    <a:gd name="connsiteY2" fmla="*/ 171545 h 171450"/>
                    <a:gd name="connsiteX3" fmla="*/ 0 w 238125"/>
                    <a:gd name="connsiteY3" fmla="*/ 52483 h 171450"/>
                    <a:gd name="connsiteX4" fmla="*/ 12097 w 238125"/>
                    <a:gd name="connsiteY4" fmla="*/ 0 h 171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8125" h="171450">
                      <a:moveTo>
                        <a:pt x="226028" y="95"/>
                      </a:moveTo>
                      <a:cubicBezTo>
                        <a:pt x="233839" y="15907"/>
                        <a:pt x="238125" y="33719"/>
                        <a:pt x="238125" y="52483"/>
                      </a:cubicBezTo>
                      <a:cubicBezTo>
                        <a:pt x="238125" y="118205"/>
                        <a:pt x="184880" y="171545"/>
                        <a:pt x="119063" y="171545"/>
                      </a:cubicBezTo>
                      <a:cubicBezTo>
                        <a:pt x="53340" y="171545"/>
                        <a:pt x="0" y="118301"/>
                        <a:pt x="0" y="52483"/>
                      </a:cubicBezTo>
                      <a:cubicBezTo>
                        <a:pt x="0" y="33623"/>
                        <a:pt x="4382" y="15907"/>
                        <a:pt x="12097" y="0"/>
                      </a:cubicBezTo>
                    </a:path>
                  </a:pathLst>
                </a:custGeom>
                <a:noFill/>
                <a:ln w="19050" cap="rnd">
                  <a:solidFill>
                    <a:srgbClr val="FE96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Forma Livre: Forma 167">
                  <a:extLst>
                    <a:ext uri="{FF2B5EF4-FFF2-40B4-BE49-F238E27FC236}">
                      <a16:creationId xmlns:a16="http://schemas.microsoft.com/office/drawing/2014/main" id="{95EDC343-F765-9765-4441-207E9E2A990B}"/>
                    </a:ext>
                  </a:extLst>
                </p:cNvPr>
                <p:cNvSpPr/>
                <p:nvPr/>
              </p:nvSpPr>
              <p:spPr>
                <a:xfrm>
                  <a:off x="8618757" y="2099040"/>
                  <a:ext cx="9525" cy="28575"/>
                </a:xfrm>
                <a:custGeom>
                  <a:avLst/>
                  <a:gdLst>
                    <a:gd name="connsiteX0" fmla="*/ 0 w 0"/>
                    <a:gd name="connsiteY0" fmla="*/ 0 h 28575"/>
                    <a:gd name="connsiteX1" fmla="*/ 0 w 0"/>
                    <a:gd name="connsiteY1" fmla="*/ 28575 h 28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h="28575">
                      <a:moveTo>
                        <a:pt x="0" y="0"/>
                      </a:moveTo>
                      <a:lnTo>
                        <a:pt x="0" y="28575"/>
                      </a:lnTo>
                    </a:path>
                  </a:pathLst>
                </a:custGeom>
                <a:ln w="19050" cap="rnd">
                  <a:solidFill>
                    <a:srgbClr val="FE96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9" name="Forma Livre: Forma 168">
                  <a:extLst>
                    <a:ext uri="{FF2B5EF4-FFF2-40B4-BE49-F238E27FC236}">
                      <a16:creationId xmlns:a16="http://schemas.microsoft.com/office/drawing/2014/main" id="{40AB9401-03FA-4180-962D-AA66F057DFD6}"/>
                    </a:ext>
                  </a:extLst>
                </p:cNvPr>
                <p:cNvSpPr/>
                <p:nvPr/>
              </p:nvSpPr>
              <p:spPr>
                <a:xfrm>
                  <a:off x="8685432" y="2099040"/>
                  <a:ext cx="9525" cy="28575"/>
                </a:xfrm>
                <a:custGeom>
                  <a:avLst/>
                  <a:gdLst>
                    <a:gd name="connsiteX0" fmla="*/ 0 w 0"/>
                    <a:gd name="connsiteY0" fmla="*/ 0 h 28575"/>
                    <a:gd name="connsiteX1" fmla="*/ 0 w 0"/>
                    <a:gd name="connsiteY1" fmla="*/ 28575 h 28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h="28575">
                      <a:moveTo>
                        <a:pt x="0" y="0"/>
                      </a:moveTo>
                      <a:lnTo>
                        <a:pt x="0" y="28575"/>
                      </a:lnTo>
                    </a:path>
                  </a:pathLst>
                </a:custGeom>
                <a:ln w="19050" cap="rnd">
                  <a:solidFill>
                    <a:srgbClr val="FE96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0" name="Forma Livre: Forma 169">
                  <a:extLst>
                    <a:ext uri="{FF2B5EF4-FFF2-40B4-BE49-F238E27FC236}">
                      <a16:creationId xmlns:a16="http://schemas.microsoft.com/office/drawing/2014/main" id="{3171B9DE-05A5-907F-189C-F3FA48C0E881}"/>
                    </a:ext>
                  </a:extLst>
                </p:cNvPr>
                <p:cNvSpPr/>
                <p:nvPr/>
              </p:nvSpPr>
              <p:spPr>
                <a:xfrm>
                  <a:off x="8704482" y="2299065"/>
                  <a:ext cx="9525" cy="28575"/>
                </a:xfrm>
                <a:custGeom>
                  <a:avLst/>
                  <a:gdLst>
                    <a:gd name="connsiteX0" fmla="*/ 0 w 0"/>
                    <a:gd name="connsiteY0" fmla="*/ 0 h 28575"/>
                    <a:gd name="connsiteX1" fmla="*/ 0 w 0"/>
                    <a:gd name="connsiteY1" fmla="*/ 28575 h 28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h="28575">
                      <a:moveTo>
                        <a:pt x="0" y="0"/>
                      </a:moveTo>
                      <a:lnTo>
                        <a:pt x="0" y="28575"/>
                      </a:lnTo>
                    </a:path>
                  </a:pathLst>
                </a:custGeom>
                <a:ln w="19050" cap="rnd">
                  <a:solidFill>
                    <a:srgbClr val="FE96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1" name="Forma Livre: Forma 170">
                  <a:extLst>
                    <a:ext uri="{FF2B5EF4-FFF2-40B4-BE49-F238E27FC236}">
                      <a16:creationId xmlns:a16="http://schemas.microsoft.com/office/drawing/2014/main" id="{8B70BC65-63E5-DEF5-C445-89F0172A0F91}"/>
                    </a:ext>
                  </a:extLst>
                </p:cNvPr>
                <p:cNvSpPr/>
                <p:nvPr/>
              </p:nvSpPr>
              <p:spPr>
                <a:xfrm>
                  <a:off x="8771157" y="2299065"/>
                  <a:ext cx="9525" cy="28575"/>
                </a:xfrm>
                <a:custGeom>
                  <a:avLst/>
                  <a:gdLst>
                    <a:gd name="connsiteX0" fmla="*/ 0 w 0"/>
                    <a:gd name="connsiteY0" fmla="*/ 0 h 28575"/>
                    <a:gd name="connsiteX1" fmla="*/ 0 w 0"/>
                    <a:gd name="connsiteY1" fmla="*/ 28575 h 28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h="28575">
                      <a:moveTo>
                        <a:pt x="0" y="0"/>
                      </a:moveTo>
                      <a:lnTo>
                        <a:pt x="0" y="28575"/>
                      </a:lnTo>
                    </a:path>
                  </a:pathLst>
                </a:custGeom>
                <a:ln w="19050" cap="rnd">
                  <a:solidFill>
                    <a:srgbClr val="FE96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2" name="Forma Livre: Forma 171">
                  <a:extLst>
                    <a:ext uri="{FF2B5EF4-FFF2-40B4-BE49-F238E27FC236}">
                      <a16:creationId xmlns:a16="http://schemas.microsoft.com/office/drawing/2014/main" id="{74B9A3C8-D056-18A0-D21C-5E1555FF6299}"/>
                    </a:ext>
                  </a:extLst>
                </p:cNvPr>
                <p:cNvSpPr/>
                <p:nvPr/>
              </p:nvSpPr>
              <p:spPr>
                <a:xfrm>
                  <a:off x="8693052" y="2394315"/>
                  <a:ext cx="95250" cy="19050"/>
                </a:xfrm>
                <a:custGeom>
                  <a:avLst/>
                  <a:gdLst>
                    <a:gd name="connsiteX0" fmla="*/ 97155 w 95250"/>
                    <a:gd name="connsiteY0" fmla="*/ 19050 h 19050"/>
                    <a:gd name="connsiteX1" fmla="*/ 48577 w 95250"/>
                    <a:gd name="connsiteY1" fmla="*/ 0 h 19050"/>
                    <a:gd name="connsiteX2" fmla="*/ 0 w 95250"/>
                    <a:gd name="connsiteY2" fmla="*/ 19050 h 19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5250" h="19050">
                      <a:moveTo>
                        <a:pt x="97155" y="19050"/>
                      </a:moveTo>
                      <a:cubicBezTo>
                        <a:pt x="84392" y="7239"/>
                        <a:pt x="67342" y="0"/>
                        <a:pt x="48577" y="0"/>
                      </a:cubicBezTo>
                      <a:cubicBezTo>
                        <a:pt x="29813" y="0"/>
                        <a:pt x="12668" y="7239"/>
                        <a:pt x="0" y="19050"/>
                      </a:cubicBezTo>
                    </a:path>
                  </a:pathLst>
                </a:custGeom>
                <a:noFill/>
                <a:ln w="19050" cap="rnd">
                  <a:solidFill>
                    <a:srgbClr val="FE96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3" name="Forma Livre: Forma 172">
                  <a:extLst>
                    <a:ext uri="{FF2B5EF4-FFF2-40B4-BE49-F238E27FC236}">
                      <a16:creationId xmlns:a16="http://schemas.microsoft.com/office/drawing/2014/main" id="{6DCA5B3A-F7C2-3509-7CBB-EEA8C818FE70}"/>
                    </a:ext>
                  </a:extLst>
                </p:cNvPr>
                <p:cNvSpPr/>
                <p:nvPr/>
              </p:nvSpPr>
              <p:spPr>
                <a:xfrm>
                  <a:off x="8818782" y="2127615"/>
                  <a:ext cx="9525" cy="19050"/>
                </a:xfrm>
                <a:custGeom>
                  <a:avLst/>
                  <a:gdLst>
                    <a:gd name="connsiteX0" fmla="*/ 0 w 0"/>
                    <a:gd name="connsiteY0" fmla="*/ 0 h 19050"/>
                    <a:gd name="connsiteX1" fmla="*/ 0 w 0"/>
                    <a:gd name="connsiteY1" fmla="*/ 19050 h 19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h="19050">
                      <a:moveTo>
                        <a:pt x="0" y="0"/>
                      </a:moveTo>
                      <a:lnTo>
                        <a:pt x="0" y="19050"/>
                      </a:lnTo>
                    </a:path>
                  </a:pathLst>
                </a:custGeom>
                <a:ln w="19050" cap="rnd">
                  <a:solidFill>
                    <a:srgbClr val="FE96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4" name="Forma Livre: Forma 173">
                  <a:extLst>
                    <a:ext uri="{FF2B5EF4-FFF2-40B4-BE49-F238E27FC236}">
                      <a16:creationId xmlns:a16="http://schemas.microsoft.com/office/drawing/2014/main" id="{DE5FD98A-8D58-4ED3-AF85-47DBF3C2F368}"/>
                    </a:ext>
                  </a:extLst>
                </p:cNvPr>
                <p:cNvSpPr/>
                <p:nvPr/>
              </p:nvSpPr>
              <p:spPr>
                <a:xfrm>
                  <a:off x="8885457" y="2127615"/>
                  <a:ext cx="9525" cy="19050"/>
                </a:xfrm>
                <a:custGeom>
                  <a:avLst/>
                  <a:gdLst>
                    <a:gd name="connsiteX0" fmla="*/ 0 w 0"/>
                    <a:gd name="connsiteY0" fmla="*/ 0 h 19050"/>
                    <a:gd name="connsiteX1" fmla="*/ 0 w 0"/>
                    <a:gd name="connsiteY1" fmla="*/ 19050 h 19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h="19050">
                      <a:moveTo>
                        <a:pt x="0" y="0"/>
                      </a:moveTo>
                      <a:lnTo>
                        <a:pt x="0" y="19050"/>
                      </a:lnTo>
                    </a:path>
                  </a:pathLst>
                </a:custGeom>
                <a:ln w="19050" cap="rnd">
                  <a:solidFill>
                    <a:srgbClr val="FE96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5" name="Forma Livre: Forma 174">
                  <a:extLst>
                    <a:ext uri="{FF2B5EF4-FFF2-40B4-BE49-F238E27FC236}">
                      <a16:creationId xmlns:a16="http://schemas.microsoft.com/office/drawing/2014/main" id="{E1BB5041-7D36-154E-730F-9F47A0DCDD57}"/>
                    </a:ext>
                  </a:extLst>
                </p:cNvPr>
                <p:cNvSpPr/>
                <p:nvPr/>
              </p:nvSpPr>
              <p:spPr>
                <a:xfrm>
                  <a:off x="8866407" y="2089515"/>
                  <a:ext cx="38100" cy="19050"/>
                </a:xfrm>
                <a:custGeom>
                  <a:avLst/>
                  <a:gdLst>
                    <a:gd name="connsiteX0" fmla="*/ 0 w 38100"/>
                    <a:gd name="connsiteY0" fmla="*/ 19050 h 19050"/>
                    <a:gd name="connsiteX1" fmla="*/ 38100 w 38100"/>
                    <a:gd name="connsiteY1" fmla="*/ 0 h 19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8100" h="19050">
                      <a:moveTo>
                        <a:pt x="0" y="19050"/>
                      </a:moveTo>
                      <a:lnTo>
                        <a:pt x="38100" y="0"/>
                      </a:lnTo>
                    </a:path>
                  </a:pathLst>
                </a:custGeom>
                <a:ln w="19050" cap="rnd">
                  <a:solidFill>
                    <a:srgbClr val="FE96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6" name="Forma Livre: Forma 175">
                  <a:extLst>
                    <a:ext uri="{FF2B5EF4-FFF2-40B4-BE49-F238E27FC236}">
                      <a16:creationId xmlns:a16="http://schemas.microsoft.com/office/drawing/2014/main" id="{90C2E339-2AEA-793C-86B8-0E875C0C0BF7}"/>
                    </a:ext>
                  </a:extLst>
                </p:cNvPr>
                <p:cNvSpPr/>
                <p:nvPr/>
              </p:nvSpPr>
              <p:spPr>
                <a:xfrm>
                  <a:off x="8799732" y="2089515"/>
                  <a:ext cx="38100" cy="19050"/>
                </a:xfrm>
                <a:custGeom>
                  <a:avLst/>
                  <a:gdLst>
                    <a:gd name="connsiteX0" fmla="*/ 38100 w 38100"/>
                    <a:gd name="connsiteY0" fmla="*/ 19050 h 19050"/>
                    <a:gd name="connsiteX1" fmla="*/ 0 w 38100"/>
                    <a:gd name="connsiteY1" fmla="*/ 0 h 19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8100" h="19050">
                      <a:moveTo>
                        <a:pt x="38100" y="19050"/>
                      </a:moveTo>
                      <a:lnTo>
                        <a:pt x="0" y="0"/>
                      </a:lnTo>
                    </a:path>
                  </a:pathLst>
                </a:custGeom>
                <a:ln w="19050" cap="rnd">
                  <a:solidFill>
                    <a:srgbClr val="FE96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7" name="Forma Livre: Forma 176">
                  <a:extLst>
                    <a:ext uri="{FF2B5EF4-FFF2-40B4-BE49-F238E27FC236}">
                      <a16:creationId xmlns:a16="http://schemas.microsoft.com/office/drawing/2014/main" id="{665FF04E-11DC-0F4A-F05B-FB6E695CE4D8}"/>
                    </a:ext>
                  </a:extLst>
                </p:cNvPr>
                <p:cNvSpPr/>
                <p:nvPr/>
              </p:nvSpPr>
              <p:spPr>
                <a:xfrm>
                  <a:off x="8818782" y="2213340"/>
                  <a:ext cx="66675" cy="9525"/>
                </a:xfrm>
                <a:custGeom>
                  <a:avLst/>
                  <a:gdLst>
                    <a:gd name="connsiteX0" fmla="*/ 0 w 66675"/>
                    <a:gd name="connsiteY0" fmla="*/ 0 h 0"/>
                    <a:gd name="connsiteX1" fmla="*/ 66675 w 66675"/>
                    <a:gd name="connsiteY1" fmla="*/ 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6675">
                      <a:moveTo>
                        <a:pt x="0" y="0"/>
                      </a:moveTo>
                      <a:lnTo>
                        <a:pt x="66675" y="0"/>
                      </a:lnTo>
                    </a:path>
                  </a:pathLst>
                </a:custGeom>
                <a:ln w="19050" cap="rnd">
                  <a:solidFill>
                    <a:srgbClr val="FE96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78" name="Retângulo 177">
                <a:extLst>
                  <a:ext uri="{FF2B5EF4-FFF2-40B4-BE49-F238E27FC236}">
                    <a16:creationId xmlns:a16="http://schemas.microsoft.com/office/drawing/2014/main" id="{8C9C2C66-46C6-9071-93BA-A37473045B23}"/>
                  </a:ext>
                </a:extLst>
              </p:cNvPr>
              <p:cNvSpPr/>
              <p:nvPr/>
            </p:nvSpPr>
            <p:spPr>
              <a:xfrm>
                <a:off x="178978" y="3408076"/>
                <a:ext cx="1904582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2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FE9600"/>
                    </a:solidFill>
                    <a:effectLst/>
                    <a:uLnTx/>
                    <a:uFillTx/>
                    <a:latin typeface="Itau Display Pro App" panose="020B0503020204020204" pitchFamily="34" charset="0"/>
                    <a:ea typeface="+mn-ea"/>
                    <a:cs typeface="Itau Display Pro App" panose="020B0503020204020204" pitchFamily="34" charset="0"/>
                  </a:rPr>
                  <a:t>Likert</a:t>
                </a:r>
                <a:endParaRPr kumimoji="0" lang="pt-BR" sz="1200" b="0" i="0" u="none" strike="noStrike" kern="0" cap="none" spc="0" normalizeH="0" baseline="0" noProof="0">
                  <a:ln>
                    <a:noFill/>
                  </a:ln>
                  <a:solidFill>
                    <a:srgbClr val="FE9600"/>
                  </a:solidFill>
                  <a:effectLst/>
                  <a:uLnTx/>
                  <a:uFillTx/>
                  <a:latin typeface="Itau Display Pro App" panose="020B0503020204020204" pitchFamily="34" charset="0"/>
                  <a:ea typeface="+mn-ea"/>
                  <a:cs typeface="Itau Display Pro App" panose="020B0503020204020204" pitchFamily="34" charset="0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FE9600"/>
                    </a:solidFill>
                    <a:effectLst/>
                    <a:uLnTx/>
                    <a:uFillTx/>
                    <a:latin typeface="Itau Display Pro App" panose="020B0503020204020204" pitchFamily="34" charset="0"/>
                    <a:ea typeface="+mn-ea"/>
                    <a:cs typeface="Itau Display Pro App" panose="020B0503020204020204" pitchFamily="34" charset="0"/>
                  </a:rPr>
                  <a:t>(Portal Corresp.)</a:t>
                </a:r>
              </a:p>
            </p:txBody>
          </p:sp>
        </p:grpSp>
        <p:grpSp>
          <p:nvGrpSpPr>
            <p:cNvPr id="302" name="Agrupar 301">
              <a:extLst>
                <a:ext uri="{FF2B5EF4-FFF2-40B4-BE49-F238E27FC236}">
                  <a16:creationId xmlns:a16="http://schemas.microsoft.com/office/drawing/2014/main" id="{8346BB51-6DC7-2154-DA68-BEE4E69CE361}"/>
                </a:ext>
              </a:extLst>
            </p:cNvPr>
            <p:cNvGrpSpPr/>
            <p:nvPr/>
          </p:nvGrpSpPr>
          <p:grpSpPr>
            <a:xfrm>
              <a:off x="879500" y="3809728"/>
              <a:ext cx="1904582" cy="1440000"/>
              <a:chOff x="1103545" y="4211289"/>
              <a:chExt cx="1904582" cy="1440000"/>
            </a:xfrm>
          </p:grpSpPr>
          <p:sp>
            <p:nvSpPr>
              <p:cNvPr id="296" name="Elipse 295">
                <a:extLst>
                  <a:ext uri="{FF2B5EF4-FFF2-40B4-BE49-F238E27FC236}">
                    <a16:creationId xmlns:a16="http://schemas.microsoft.com/office/drawing/2014/main" id="{59925E69-05BB-3499-A442-58F41CA8E8B5}"/>
                  </a:ext>
                </a:extLst>
              </p:cNvPr>
              <p:cNvSpPr/>
              <p:nvPr/>
            </p:nvSpPr>
            <p:spPr>
              <a:xfrm>
                <a:off x="1327546" y="4211289"/>
                <a:ext cx="1440000" cy="1440000"/>
              </a:xfrm>
              <a:prstGeom prst="ellipse">
                <a:avLst/>
              </a:prstGeom>
              <a:solidFill>
                <a:schemeClr val="bg1"/>
              </a:solidFill>
              <a:ln w="3175">
                <a:solidFill>
                  <a:srgbClr val="FE96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147" name="Agrupar 146">
                <a:extLst>
                  <a:ext uri="{FF2B5EF4-FFF2-40B4-BE49-F238E27FC236}">
                    <a16:creationId xmlns:a16="http://schemas.microsoft.com/office/drawing/2014/main" id="{346C54B5-24B1-5687-ED1D-91163EE918ED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885635" y="4518901"/>
                <a:ext cx="360161" cy="360000"/>
                <a:chOff x="8532937" y="2032365"/>
                <a:chExt cx="428720" cy="428530"/>
              </a:xfrm>
            </p:grpSpPr>
            <p:sp>
              <p:nvSpPr>
                <p:cNvPr id="148" name="Forma Livre: Forma 147">
                  <a:extLst>
                    <a:ext uri="{FF2B5EF4-FFF2-40B4-BE49-F238E27FC236}">
                      <a16:creationId xmlns:a16="http://schemas.microsoft.com/office/drawing/2014/main" id="{9FA2E31B-47A3-180B-02E7-1C6E7D48B229}"/>
                    </a:ext>
                  </a:extLst>
                </p:cNvPr>
                <p:cNvSpPr/>
                <p:nvPr/>
              </p:nvSpPr>
              <p:spPr>
                <a:xfrm>
                  <a:off x="8532937" y="2032365"/>
                  <a:ext cx="238125" cy="238125"/>
                </a:xfrm>
                <a:custGeom>
                  <a:avLst/>
                  <a:gdLst>
                    <a:gd name="connsiteX0" fmla="*/ 238125 w 238125"/>
                    <a:gd name="connsiteY0" fmla="*/ 119063 h 238125"/>
                    <a:gd name="connsiteX1" fmla="*/ 119063 w 238125"/>
                    <a:gd name="connsiteY1" fmla="*/ 238125 h 238125"/>
                    <a:gd name="connsiteX2" fmla="*/ 0 w 238125"/>
                    <a:gd name="connsiteY2" fmla="*/ 119063 h 238125"/>
                    <a:gd name="connsiteX3" fmla="*/ 119063 w 238125"/>
                    <a:gd name="connsiteY3" fmla="*/ 0 h 238125"/>
                    <a:gd name="connsiteX4" fmla="*/ 238125 w 238125"/>
                    <a:gd name="connsiteY4" fmla="*/ 119063 h 2381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8125" h="238125">
                      <a:moveTo>
                        <a:pt x="238125" y="119063"/>
                      </a:moveTo>
                      <a:cubicBezTo>
                        <a:pt x="238125" y="184785"/>
                        <a:pt x="184880" y="238125"/>
                        <a:pt x="119063" y="238125"/>
                      </a:cubicBezTo>
                      <a:cubicBezTo>
                        <a:pt x="53340" y="238125"/>
                        <a:pt x="0" y="184880"/>
                        <a:pt x="0" y="119063"/>
                      </a:cubicBezTo>
                      <a:cubicBezTo>
                        <a:pt x="0" y="53245"/>
                        <a:pt x="53245" y="0"/>
                        <a:pt x="119063" y="0"/>
                      </a:cubicBezTo>
                      <a:cubicBezTo>
                        <a:pt x="184880" y="95"/>
                        <a:pt x="238125" y="53340"/>
                        <a:pt x="238125" y="119063"/>
                      </a:cubicBezTo>
                      <a:close/>
                    </a:path>
                  </a:pathLst>
                </a:custGeom>
                <a:noFill/>
                <a:ln w="19050" cap="rnd">
                  <a:solidFill>
                    <a:srgbClr val="FE96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9" name="Forma Livre: Forma 148">
                  <a:extLst>
                    <a:ext uri="{FF2B5EF4-FFF2-40B4-BE49-F238E27FC236}">
                      <a16:creationId xmlns:a16="http://schemas.microsoft.com/office/drawing/2014/main" id="{ED32FDA8-D8DF-6C63-F21D-EA4F777D9A7F}"/>
                    </a:ext>
                  </a:extLst>
                </p:cNvPr>
                <p:cNvSpPr/>
                <p:nvPr/>
              </p:nvSpPr>
              <p:spPr>
                <a:xfrm>
                  <a:off x="8582086" y="2165715"/>
                  <a:ext cx="133350" cy="57150"/>
                </a:xfrm>
                <a:custGeom>
                  <a:avLst/>
                  <a:gdLst>
                    <a:gd name="connsiteX0" fmla="*/ 140018 w 133350"/>
                    <a:gd name="connsiteY0" fmla="*/ 0 h 57150"/>
                    <a:gd name="connsiteX1" fmla="*/ 70009 w 133350"/>
                    <a:gd name="connsiteY1" fmla="*/ 57150 h 57150"/>
                    <a:gd name="connsiteX2" fmla="*/ 0 w 133350"/>
                    <a:gd name="connsiteY2" fmla="*/ 0 h 57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33350" h="57150">
                      <a:moveTo>
                        <a:pt x="140018" y="0"/>
                      </a:moveTo>
                      <a:cubicBezTo>
                        <a:pt x="133445" y="32671"/>
                        <a:pt x="104585" y="57150"/>
                        <a:pt x="70009" y="57150"/>
                      </a:cubicBezTo>
                      <a:cubicBezTo>
                        <a:pt x="35433" y="57150"/>
                        <a:pt x="6572" y="32575"/>
                        <a:pt x="0" y="0"/>
                      </a:cubicBezTo>
                    </a:path>
                  </a:pathLst>
                </a:custGeom>
                <a:noFill/>
                <a:ln w="19050" cap="rnd">
                  <a:solidFill>
                    <a:srgbClr val="FE96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0" name="Forma Livre: Forma 149">
                  <a:extLst>
                    <a:ext uri="{FF2B5EF4-FFF2-40B4-BE49-F238E27FC236}">
                      <a16:creationId xmlns:a16="http://schemas.microsoft.com/office/drawing/2014/main" id="{BC9D453E-1DCD-3288-8B21-9F25C9CF5F7C}"/>
                    </a:ext>
                  </a:extLst>
                </p:cNvPr>
                <p:cNvSpPr/>
                <p:nvPr/>
              </p:nvSpPr>
              <p:spPr>
                <a:xfrm>
                  <a:off x="8771157" y="2032460"/>
                  <a:ext cx="190500" cy="238125"/>
                </a:xfrm>
                <a:custGeom>
                  <a:avLst/>
                  <a:gdLst>
                    <a:gd name="connsiteX0" fmla="*/ 0 w 190500"/>
                    <a:gd name="connsiteY0" fmla="*/ 23813 h 238125"/>
                    <a:gd name="connsiteX1" fmla="*/ 71438 w 190500"/>
                    <a:gd name="connsiteY1" fmla="*/ 0 h 238125"/>
                    <a:gd name="connsiteX2" fmla="*/ 190500 w 190500"/>
                    <a:gd name="connsiteY2" fmla="*/ 119063 h 238125"/>
                    <a:gd name="connsiteX3" fmla="*/ 71438 w 190500"/>
                    <a:gd name="connsiteY3" fmla="*/ 238125 h 238125"/>
                    <a:gd name="connsiteX4" fmla="*/ 0 w 190500"/>
                    <a:gd name="connsiteY4" fmla="*/ 214313 h 2381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0500" h="238125">
                      <a:moveTo>
                        <a:pt x="0" y="23813"/>
                      </a:moveTo>
                      <a:cubicBezTo>
                        <a:pt x="19907" y="8858"/>
                        <a:pt x="44672" y="0"/>
                        <a:pt x="71438" y="0"/>
                      </a:cubicBezTo>
                      <a:cubicBezTo>
                        <a:pt x="137160" y="0"/>
                        <a:pt x="190500" y="53245"/>
                        <a:pt x="190500" y="119063"/>
                      </a:cubicBezTo>
                      <a:cubicBezTo>
                        <a:pt x="190500" y="184785"/>
                        <a:pt x="137255" y="238125"/>
                        <a:pt x="71438" y="238125"/>
                      </a:cubicBezTo>
                      <a:cubicBezTo>
                        <a:pt x="44577" y="238125"/>
                        <a:pt x="19907" y="229267"/>
                        <a:pt x="0" y="214313"/>
                      </a:cubicBezTo>
                    </a:path>
                  </a:pathLst>
                </a:custGeom>
                <a:noFill/>
                <a:ln w="19050" cap="rnd">
                  <a:solidFill>
                    <a:srgbClr val="FE96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1" name="Forma Livre: Forma 150">
                  <a:extLst>
                    <a:ext uri="{FF2B5EF4-FFF2-40B4-BE49-F238E27FC236}">
                      <a16:creationId xmlns:a16="http://schemas.microsoft.com/office/drawing/2014/main" id="{F9612DAA-66D5-7507-D011-12C47B08A249}"/>
                    </a:ext>
                  </a:extLst>
                </p:cNvPr>
                <p:cNvSpPr/>
                <p:nvPr/>
              </p:nvSpPr>
              <p:spPr>
                <a:xfrm>
                  <a:off x="8618757" y="2289445"/>
                  <a:ext cx="238125" cy="171450"/>
                </a:xfrm>
                <a:custGeom>
                  <a:avLst/>
                  <a:gdLst>
                    <a:gd name="connsiteX0" fmla="*/ 226028 w 238125"/>
                    <a:gd name="connsiteY0" fmla="*/ 95 h 171450"/>
                    <a:gd name="connsiteX1" fmla="*/ 238125 w 238125"/>
                    <a:gd name="connsiteY1" fmla="*/ 52483 h 171450"/>
                    <a:gd name="connsiteX2" fmla="*/ 119063 w 238125"/>
                    <a:gd name="connsiteY2" fmla="*/ 171545 h 171450"/>
                    <a:gd name="connsiteX3" fmla="*/ 0 w 238125"/>
                    <a:gd name="connsiteY3" fmla="*/ 52483 h 171450"/>
                    <a:gd name="connsiteX4" fmla="*/ 12097 w 238125"/>
                    <a:gd name="connsiteY4" fmla="*/ 0 h 171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8125" h="171450">
                      <a:moveTo>
                        <a:pt x="226028" y="95"/>
                      </a:moveTo>
                      <a:cubicBezTo>
                        <a:pt x="233839" y="15907"/>
                        <a:pt x="238125" y="33719"/>
                        <a:pt x="238125" y="52483"/>
                      </a:cubicBezTo>
                      <a:cubicBezTo>
                        <a:pt x="238125" y="118205"/>
                        <a:pt x="184880" y="171545"/>
                        <a:pt x="119063" y="171545"/>
                      </a:cubicBezTo>
                      <a:cubicBezTo>
                        <a:pt x="53340" y="171545"/>
                        <a:pt x="0" y="118301"/>
                        <a:pt x="0" y="52483"/>
                      </a:cubicBezTo>
                      <a:cubicBezTo>
                        <a:pt x="0" y="33623"/>
                        <a:pt x="4382" y="15907"/>
                        <a:pt x="12097" y="0"/>
                      </a:cubicBezTo>
                    </a:path>
                  </a:pathLst>
                </a:custGeom>
                <a:noFill/>
                <a:ln w="19050" cap="rnd">
                  <a:solidFill>
                    <a:srgbClr val="FE96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2" name="Forma Livre: Forma 151">
                  <a:extLst>
                    <a:ext uri="{FF2B5EF4-FFF2-40B4-BE49-F238E27FC236}">
                      <a16:creationId xmlns:a16="http://schemas.microsoft.com/office/drawing/2014/main" id="{734F7EFD-9498-F3D7-C962-CE402A59B22C}"/>
                    </a:ext>
                  </a:extLst>
                </p:cNvPr>
                <p:cNvSpPr/>
                <p:nvPr/>
              </p:nvSpPr>
              <p:spPr>
                <a:xfrm>
                  <a:off x="8618757" y="2099040"/>
                  <a:ext cx="9525" cy="28575"/>
                </a:xfrm>
                <a:custGeom>
                  <a:avLst/>
                  <a:gdLst>
                    <a:gd name="connsiteX0" fmla="*/ 0 w 0"/>
                    <a:gd name="connsiteY0" fmla="*/ 0 h 28575"/>
                    <a:gd name="connsiteX1" fmla="*/ 0 w 0"/>
                    <a:gd name="connsiteY1" fmla="*/ 28575 h 28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h="28575">
                      <a:moveTo>
                        <a:pt x="0" y="0"/>
                      </a:moveTo>
                      <a:lnTo>
                        <a:pt x="0" y="28575"/>
                      </a:lnTo>
                    </a:path>
                  </a:pathLst>
                </a:custGeom>
                <a:ln w="19050" cap="rnd">
                  <a:solidFill>
                    <a:srgbClr val="FE96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3" name="Forma Livre: Forma 152">
                  <a:extLst>
                    <a:ext uri="{FF2B5EF4-FFF2-40B4-BE49-F238E27FC236}">
                      <a16:creationId xmlns:a16="http://schemas.microsoft.com/office/drawing/2014/main" id="{EF6D2D78-279D-262E-06CF-148459C80242}"/>
                    </a:ext>
                  </a:extLst>
                </p:cNvPr>
                <p:cNvSpPr/>
                <p:nvPr/>
              </p:nvSpPr>
              <p:spPr>
                <a:xfrm>
                  <a:off x="8685432" y="2099040"/>
                  <a:ext cx="9525" cy="28575"/>
                </a:xfrm>
                <a:custGeom>
                  <a:avLst/>
                  <a:gdLst>
                    <a:gd name="connsiteX0" fmla="*/ 0 w 0"/>
                    <a:gd name="connsiteY0" fmla="*/ 0 h 28575"/>
                    <a:gd name="connsiteX1" fmla="*/ 0 w 0"/>
                    <a:gd name="connsiteY1" fmla="*/ 28575 h 28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h="28575">
                      <a:moveTo>
                        <a:pt x="0" y="0"/>
                      </a:moveTo>
                      <a:lnTo>
                        <a:pt x="0" y="28575"/>
                      </a:lnTo>
                    </a:path>
                  </a:pathLst>
                </a:custGeom>
                <a:ln w="19050" cap="rnd">
                  <a:solidFill>
                    <a:srgbClr val="FE96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4" name="Forma Livre: Forma 153">
                  <a:extLst>
                    <a:ext uri="{FF2B5EF4-FFF2-40B4-BE49-F238E27FC236}">
                      <a16:creationId xmlns:a16="http://schemas.microsoft.com/office/drawing/2014/main" id="{1722A056-30A6-AB2D-5BCA-689DD168BF04}"/>
                    </a:ext>
                  </a:extLst>
                </p:cNvPr>
                <p:cNvSpPr/>
                <p:nvPr/>
              </p:nvSpPr>
              <p:spPr>
                <a:xfrm>
                  <a:off x="8704482" y="2299065"/>
                  <a:ext cx="9525" cy="28575"/>
                </a:xfrm>
                <a:custGeom>
                  <a:avLst/>
                  <a:gdLst>
                    <a:gd name="connsiteX0" fmla="*/ 0 w 0"/>
                    <a:gd name="connsiteY0" fmla="*/ 0 h 28575"/>
                    <a:gd name="connsiteX1" fmla="*/ 0 w 0"/>
                    <a:gd name="connsiteY1" fmla="*/ 28575 h 28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h="28575">
                      <a:moveTo>
                        <a:pt x="0" y="0"/>
                      </a:moveTo>
                      <a:lnTo>
                        <a:pt x="0" y="28575"/>
                      </a:lnTo>
                    </a:path>
                  </a:pathLst>
                </a:custGeom>
                <a:ln w="19050" cap="rnd">
                  <a:solidFill>
                    <a:srgbClr val="FE96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5" name="Forma Livre: Forma 154">
                  <a:extLst>
                    <a:ext uri="{FF2B5EF4-FFF2-40B4-BE49-F238E27FC236}">
                      <a16:creationId xmlns:a16="http://schemas.microsoft.com/office/drawing/2014/main" id="{5561A4DB-0422-7FFC-9D1B-CC949235C010}"/>
                    </a:ext>
                  </a:extLst>
                </p:cNvPr>
                <p:cNvSpPr/>
                <p:nvPr/>
              </p:nvSpPr>
              <p:spPr>
                <a:xfrm>
                  <a:off x="8771157" y="2299065"/>
                  <a:ext cx="9525" cy="28575"/>
                </a:xfrm>
                <a:custGeom>
                  <a:avLst/>
                  <a:gdLst>
                    <a:gd name="connsiteX0" fmla="*/ 0 w 0"/>
                    <a:gd name="connsiteY0" fmla="*/ 0 h 28575"/>
                    <a:gd name="connsiteX1" fmla="*/ 0 w 0"/>
                    <a:gd name="connsiteY1" fmla="*/ 28575 h 28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h="28575">
                      <a:moveTo>
                        <a:pt x="0" y="0"/>
                      </a:moveTo>
                      <a:lnTo>
                        <a:pt x="0" y="28575"/>
                      </a:lnTo>
                    </a:path>
                  </a:pathLst>
                </a:custGeom>
                <a:ln w="19050" cap="rnd">
                  <a:solidFill>
                    <a:srgbClr val="FE96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6" name="Forma Livre: Forma 155">
                  <a:extLst>
                    <a:ext uri="{FF2B5EF4-FFF2-40B4-BE49-F238E27FC236}">
                      <a16:creationId xmlns:a16="http://schemas.microsoft.com/office/drawing/2014/main" id="{03235F0F-4AA9-BC66-2478-0D5DA28A806B}"/>
                    </a:ext>
                  </a:extLst>
                </p:cNvPr>
                <p:cNvSpPr/>
                <p:nvPr/>
              </p:nvSpPr>
              <p:spPr>
                <a:xfrm>
                  <a:off x="8693052" y="2394315"/>
                  <a:ext cx="95250" cy="19050"/>
                </a:xfrm>
                <a:custGeom>
                  <a:avLst/>
                  <a:gdLst>
                    <a:gd name="connsiteX0" fmla="*/ 97155 w 95250"/>
                    <a:gd name="connsiteY0" fmla="*/ 19050 h 19050"/>
                    <a:gd name="connsiteX1" fmla="*/ 48577 w 95250"/>
                    <a:gd name="connsiteY1" fmla="*/ 0 h 19050"/>
                    <a:gd name="connsiteX2" fmla="*/ 0 w 95250"/>
                    <a:gd name="connsiteY2" fmla="*/ 19050 h 19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5250" h="19050">
                      <a:moveTo>
                        <a:pt x="97155" y="19050"/>
                      </a:moveTo>
                      <a:cubicBezTo>
                        <a:pt x="84392" y="7239"/>
                        <a:pt x="67342" y="0"/>
                        <a:pt x="48577" y="0"/>
                      </a:cubicBezTo>
                      <a:cubicBezTo>
                        <a:pt x="29813" y="0"/>
                        <a:pt x="12668" y="7239"/>
                        <a:pt x="0" y="19050"/>
                      </a:cubicBezTo>
                    </a:path>
                  </a:pathLst>
                </a:custGeom>
                <a:noFill/>
                <a:ln w="19050" cap="rnd">
                  <a:solidFill>
                    <a:srgbClr val="FE96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7" name="Forma Livre: Forma 156">
                  <a:extLst>
                    <a:ext uri="{FF2B5EF4-FFF2-40B4-BE49-F238E27FC236}">
                      <a16:creationId xmlns:a16="http://schemas.microsoft.com/office/drawing/2014/main" id="{2D8EC098-DCB7-5C0B-F1F9-67F54EAEC0A6}"/>
                    </a:ext>
                  </a:extLst>
                </p:cNvPr>
                <p:cNvSpPr/>
                <p:nvPr/>
              </p:nvSpPr>
              <p:spPr>
                <a:xfrm>
                  <a:off x="8818782" y="2127615"/>
                  <a:ext cx="9525" cy="19050"/>
                </a:xfrm>
                <a:custGeom>
                  <a:avLst/>
                  <a:gdLst>
                    <a:gd name="connsiteX0" fmla="*/ 0 w 0"/>
                    <a:gd name="connsiteY0" fmla="*/ 0 h 19050"/>
                    <a:gd name="connsiteX1" fmla="*/ 0 w 0"/>
                    <a:gd name="connsiteY1" fmla="*/ 19050 h 19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h="19050">
                      <a:moveTo>
                        <a:pt x="0" y="0"/>
                      </a:moveTo>
                      <a:lnTo>
                        <a:pt x="0" y="19050"/>
                      </a:lnTo>
                    </a:path>
                  </a:pathLst>
                </a:custGeom>
                <a:ln w="19050" cap="rnd">
                  <a:solidFill>
                    <a:srgbClr val="FE96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8" name="Forma Livre: Forma 157">
                  <a:extLst>
                    <a:ext uri="{FF2B5EF4-FFF2-40B4-BE49-F238E27FC236}">
                      <a16:creationId xmlns:a16="http://schemas.microsoft.com/office/drawing/2014/main" id="{6F922461-1F98-C04A-9F9C-8B9AAA469C33}"/>
                    </a:ext>
                  </a:extLst>
                </p:cNvPr>
                <p:cNvSpPr/>
                <p:nvPr/>
              </p:nvSpPr>
              <p:spPr>
                <a:xfrm>
                  <a:off x="8885457" y="2127615"/>
                  <a:ext cx="9525" cy="19050"/>
                </a:xfrm>
                <a:custGeom>
                  <a:avLst/>
                  <a:gdLst>
                    <a:gd name="connsiteX0" fmla="*/ 0 w 0"/>
                    <a:gd name="connsiteY0" fmla="*/ 0 h 19050"/>
                    <a:gd name="connsiteX1" fmla="*/ 0 w 0"/>
                    <a:gd name="connsiteY1" fmla="*/ 19050 h 19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h="19050">
                      <a:moveTo>
                        <a:pt x="0" y="0"/>
                      </a:moveTo>
                      <a:lnTo>
                        <a:pt x="0" y="19050"/>
                      </a:lnTo>
                    </a:path>
                  </a:pathLst>
                </a:custGeom>
                <a:ln w="19050" cap="rnd">
                  <a:solidFill>
                    <a:srgbClr val="FE96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9" name="Forma Livre: Forma 158">
                  <a:extLst>
                    <a:ext uri="{FF2B5EF4-FFF2-40B4-BE49-F238E27FC236}">
                      <a16:creationId xmlns:a16="http://schemas.microsoft.com/office/drawing/2014/main" id="{62609F9C-5ABE-BE1E-A380-AEF1EF1A37F9}"/>
                    </a:ext>
                  </a:extLst>
                </p:cNvPr>
                <p:cNvSpPr/>
                <p:nvPr/>
              </p:nvSpPr>
              <p:spPr>
                <a:xfrm>
                  <a:off x="8866407" y="2089515"/>
                  <a:ext cx="38100" cy="19050"/>
                </a:xfrm>
                <a:custGeom>
                  <a:avLst/>
                  <a:gdLst>
                    <a:gd name="connsiteX0" fmla="*/ 0 w 38100"/>
                    <a:gd name="connsiteY0" fmla="*/ 19050 h 19050"/>
                    <a:gd name="connsiteX1" fmla="*/ 38100 w 38100"/>
                    <a:gd name="connsiteY1" fmla="*/ 0 h 19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8100" h="19050">
                      <a:moveTo>
                        <a:pt x="0" y="19050"/>
                      </a:moveTo>
                      <a:lnTo>
                        <a:pt x="38100" y="0"/>
                      </a:lnTo>
                    </a:path>
                  </a:pathLst>
                </a:custGeom>
                <a:ln w="19050" cap="rnd">
                  <a:solidFill>
                    <a:srgbClr val="FE96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0" name="Forma Livre: Forma 159">
                  <a:extLst>
                    <a:ext uri="{FF2B5EF4-FFF2-40B4-BE49-F238E27FC236}">
                      <a16:creationId xmlns:a16="http://schemas.microsoft.com/office/drawing/2014/main" id="{AF7A3E5B-72A9-BE0B-E3F2-62ECF3CA797C}"/>
                    </a:ext>
                  </a:extLst>
                </p:cNvPr>
                <p:cNvSpPr/>
                <p:nvPr/>
              </p:nvSpPr>
              <p:spPr>
                <a:xfrm>
                  <a:off x="8799732" y="2089515"/>
                  <a:ext cx="38100" cy="19050"/>
                </a:xfrm>
                <a:custGeom>
                  <a:avLst/>
                  <a:gdLst>
                    <a:gd name="connsiteX0" fmla="*/ 38100 w 38100"/>
                    <a:gd name="connsiteY0" fmla="*/ 19050 h 19050"/>
                    <a:gd name="connsiteX1" fmla="*/ 0 w 38100"/>
                    <a:gd name="connsiteY1" fmla="*/ 0 h 19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8100" h="19050">
                      <a:moveTo>
                        <a:pt x="38100" y="19050"/>
                      </a:moveTo>
                      <a:lnTo>
                        <a:pt x="0" y="0"/>
                      </a:lnTo>
                    </a:path>
                  </a:pathLst>
                </a:custGeom>
                <a:ln w="19050" cap="rnd">
                  <a:solidFill>
                    <a:srgbClr val="FE96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Forma Livre: Forma 160">
                  <a:extLst>
                    <a:ext uri="{FF2B5EF4-FFF2-40B4-BE49-F238E27FC236}">
                      <a16:creationId xmlns:a16="http://schemas.microsoft.com/office/drawing/2014/main" id="{D3C3BB3E-A44E-CD95-BD7B-B95B356CB8F3}"/>
                    </a:ext>
                  </a:extLst>
                </p:cNvPr>
                <p:cNvSpPr/>
                <p:nvPr/>
              </p:nvSpPr>
              <p:spPr>
                <a:xfrm>
                  <a:off x="8818782" y="2213340"/>
                  <a:ext cx="66675" cy="9525"/>
                </a:xfrm>
                <a:custGeom>
                  <a:avLst/>
                  <a:gdLst>
                    <a:gd name="connsiteX0" fmla="*/ 0 w 66675"/>
                    <a:gd name="connsiteY0" fmla="*/ 0 h 0"/>
                    <a:gd name="connsiteX1" fmla="*/ 66675 w 66675"/>
                    <a:gd name="connsiteY1" fmla="*/ 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6675">
                      <a:moveTo>
                        <a:pt x="0" y="0"/>
                      </a:moveTo>
                      <a:lnTo>
                        <a:pt x="66675" y="0"/>
                      </a:lnTo>
                    </a:path>
                  </a:pathLst>
                </a:custGeom>
                <a:ln w="19050" cap="rnd">
                  <a:solidFill>
                    <a:srgbClr val="FE96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62" name="Retângulo 161">
                <a:extLst>
                  <a:ext uri="{FF2B5EF4-FFF2-40B4-BE49-F238E27FC236}">
                    <a16:creationId xmlns:a16="http://schemas.microsoft.com/office/drawing/2014/main" id="{767A5589-3879-B81C-F556-98487C52CB26}"/>
                  </a:ext>
                </a:extLst>
              </p:cNvPr>
              <p:cNvSpPr/>
              <p:nvPr/>
            </p:nvSpPr>
            <p:spPr>
              <a:xfrm>
                <a:off x="1103545" y="4903263"/>
                <a:ext cx="1904582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2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FE9600"/>
                    </a:solidFill>
                    <a:effectLst/>
                    <a:uLnTx/>
                    <a:uFillTx/>
                    <a:latin typeface="Itau Display Pro App" panose="020B0503020204020204" pitchFamily="34" charset="0"/>
                    <a:ea typeface="+mn-ea"/>
                    <a:cs typeface="Itau Display Pro App" panose="020B0503020204020204" pitchFamily="34" charset="0"/>
                  </a:rPr>
                  <a:t>Likert</a:t>
                </a:r>
                <a:br>
                  <a:rPr kumimoji="0" lang="pt-BR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FE9600"/>
                    </a:solidFill>
                    <a:effectLst/>
                    <a:uLnTx/>
                    <a:uFillTx/>
                    <a:latin typeface="Itau Display Pro App" panose="020B0503020204020204" pitchFamily="34" charset="0"/>
                    <a:ea typeface="+mn-ea"/>
                    <a:cs typeface="Itau Display Pro App" panose="020B0503020204020204" pitchFamily="34" charset="0"/>
                  </a:rPr>
                </a:br>
                <a:r>
                  <a:rPr kumimoji="0" lang="pt-BR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FE9600"/>
                    </a:solidFill>
                    <a:effectLst/>
                    <a:uLnTx/>
                    <a:uFillTx/>
                    <a:latin typeface="Itau Display Pro App" panose="020B0503020204020204" pitchFamily="34" charset="0"/>
                    <a:ea typeface="+mn-ea"/>
                    <a:cs typeface="Itau Display Pro App" panose="020B0503020204020204" pitchFamily="34" charset="0"/>
                  </a:rPr>
                  <a:t>(</a:t>
                </a:r>
                <a:r>
                  <a:rPr kumimoji="0" lang="pt-BR" sz="12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FE9600"/>
                    </a:solidFill>
                    <a:effectLst/>
                    <a:uLnTx/>
                    <a:uFillTx/>
                    <a:latin typeface="Itau Display Pro App" panose="020B0503020204020204" pitchFamily="34" charset="0"/>
                    <a:ea typeface="+mn-ea"/>
                    <a:cs typeface="Itau Display Pro App" panose="020B0503020204020204" pitchFamily="34" charset="0"/>
                  </a:rPr>
                  <a:t>Medallia</a:t>
                </a:r>
                <a:r>
                  <a:rPr kumimoji="0" lang="pt-BR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FE9600"/>
                    </a:solidFill>
                    <a:effectLst/>
                    <a:uLnTx/>
                    <a:uFillTx/>
                    <a:latin typeface="Itau Display Pro App" panose="020B0503020204020204" pitchFamily="34" charset="0"/>
                    <a:ea typeface="+mn-ea"/>
                    <a:cs typeface="Itau Display Pro App" panose="020B0503020204020204" pitchFamily="34" charset="0"/>
                  </a:rPr>
                  <a:t>)</a:t>
                </a:r>
              </a:p>
            </p:txBody>
          </p:sp>
        </p:grpSp>
      </p:grpSp>
      <p:grpSp>
        <p:nvGrpSpPr>
          <p:cNvPr id="12" name="Agrupar 11">
            <a:extLst>
              <a:ext uri="{FF2B5EF4-FFF2-40B4-BE49-F238E27FC236}">
                <a16:creationId xmlns:a16="http://schemas.microsoft.com/office/drawing/2014/main" id="{A60ED9CE-6099-A5BD-82D2-AFFEA4C8986E}"/>
              </a:ext>
            </a:extLst>
          </p:cNvPr>
          <p:cNvGrpSpPr/>
          <p:nvPr/>
        </p:nvGrpSpPr>
        <p:grpSpPr>
          <a:xfrm>
            <a:off x="7828585" y="3216015"/>
            <a:ext cx="5646115" cy="2671238"/>
            <a:chOff x="3242265" y="153295"/>
            <a:chExt cx="4675486" cy="2255716"/>
          </a:xfrm>
          <a:solidFill>
            <a:schemeClr val="bg1">
              <a:lumMod val="95000"/>
            </a:schemeClr>
          </a:solidFill>
        </p:grpSpPr>
        <p:sp>
          <p:nvSpPr>
            <p:cNvPr id="13" name="Forma Livre: Forma 12">
              <a:extLst>
                <a:ext uri="{FF2B5EF4-FFF2-40B4-BE49-F238E27FC236}">
                  <a16:creationId xmlns:a16="http://schemas.microsoft.com/office/drawing/2014/main" id="{45D3547E-E744-F9CE-03D8-A964C845584C}"/>
                </a:ext>
              </a:extLst>
            </p:cNvPr>
            <p:cNvSpPr/>
            <p:nvPr/>
          </p:nvSpPr>
          <p:spPr>
            <a:xfrm>
              <a:off x="3242265" y="153295"/>
              <a:ext cx="4675486" cy="1596053"/>
            </a:xfrm>
            <a:custGeom>
              <a:avLst/>
              <a:gdLst>
                <a:gd name="connsiteX0" fmla="*/ 0 w 1632413"/>
                <a:gd name="connsiteY0" fmla="*/ 513070 h 513070"/>
                <a:gd name="connsiteX1" fmla="*/ 1593992 w 1632413"/>
                <a:gd name="connsiteY1" fmla="*/ 513070 h 513070"/>
                <a:gd name="connsiteX2" fmla="*/ 1593992 w 1632413"/>
                <a:gd name="connsiteY2" fmla="*/ 330133 h 513070"/>
                <a:gd name="connsiteX3" fmla="*/ 1449034 w 1632413"/>
                <a:gd name="connsiteY3" fmla="*/ 305675 h 513070"/>
                <a:gd name="connsiteX4" fmla="*/ 1389927 w 1632413"/>
                <a:gd name="connsiteY4" fmla="*/ 268292 h 513070"/>
                <a:gd name="connsiteX5" fmla="*/ 1264555 w 1632413"/>
                <a:gd name="connsiteY5" fmla="*/ 129746 h 513070"/>
                <a:gd name="connsiteX6" fmla="*/ 1095835 w 1632413"/>
                <a:gd name="connsiteY6" fmla="*/ 201430 h 513070"/>
                <a:gd name="connsiteX7" fmla="*/ 1052487 w 1632413"/>
                <a:gd name="connsiteY7" fmla="*/ 197006 h 513070"/>
                <a:gd name="connsiteX8" fmla="*/ 626064 w 1632413"/>
                <a:gd name="connsiteY8" fmla="*/ 0 h 513070"/>
                <a:gd name="connsiteX9" fmla="*/ 314474 w 1632413"/>
                <a:gd name="connsiteY9" fmla="*/ 293297 h 513070"/>
                <a:gd name="connsiteX10" fmla="*/ 291954 w 1632413"/>
                <a:gd name="connsiteY10" fmla="*/ 320389 h 513070"/>
                <a:gd name="connsiteX11" fmla="*/ 70242 w 1632413"/>
                <a:gd name="connsiteY11" fmla="*/ 330182 h 513070"/>
                <a:gd name="connsiteX12" fmla="*/ 0 w 1632413"/>
                <a:gd name="connsiteY12" fmla="*/ 513070 h 513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32413" h="513070">
                  <a:moveTo>
                    <a:pt x="0" y="513070"/>
                  </a:moveTo>
                  <a:lnTo>
                    <a:pt x="1593992" y="513070"/>
                  </a:lnTo>
                  <a:cubicBezTo>
                    <a:pt x="1593992" y="513070"/>
                    <a:pt x="1680440" y="403705"/>
                    <a:pt x="1593992" y="330133"/>
                  </a:cubicBezTo>
                  <a:cubicBezTo>
                    <a:pt x="1546269" y="289518"/>
                    <a:pt x="1489946" y="293744"/>
                    <a:pt x="1449034" y="305675"/>
                  </a:cubicBezTo>
                  <a:cubicBezTo>
                    <a:pt x="1422389" y="313430"/>
                    <a:pt x="1395793" y="295484"/>
                    <a:pt x="1389927" y="268292"/>
                  </a:cubicBezTo>
                  <a:cubicBezTo>
                    <a:pt x="1380233" y="223353"/>
                    <a:pt x="1350357" y="164495"/>
                    <a:pt x="1264555" y="129746"/>
                  </a:cubicBezTo>
                  <a:cubicBezTo>
                    <a:pt x="1180146" y="95545"/>
                    <a:pt x="1126756" y="147792"/>
                    <a:pt x="1095835" y="201430"/>
                  </a:cubicBezTo>
                  <a:cubicBezTo>
                    <a:pt x="1085644" y="219078"/>
                    <a:pt x="1058602" y="216443"/>
                    <a:pt x="1052487" y="197006"/>
                  </a:cubicBezTo>
                  <a:cubicBezTo>
                    <a:pt x="1025742" y="112298"/>
                    <a:pt x="932484" y="0"/>
                    <a:pt x="626064" y="0"/>
                  </a:cubicBezTo>
                  <a:cubicBezTo>
                    <a:pt x="236377" y="0"/>
                    <a:pt x="279676" y="207197"/>
                    <a:pt x="314474" y="293297"/>
                  </a:cubicBezTo>
                  <a:cubicBezTo>
                    <a:pt x="320538" y="308260"/>
                    <a:pt x="307713" y="323720"/>
                    <a:pt x="291954" y="320389"/>
                  </a:cubicBezTo>
                  <a:cubicBezTo>
                    <a:pt x="231853" y="307514"/>
                    <a:pt x="120252" y="290861"/>
                    <a:pt x="70242" y="330182"/>
                  </a:cubicBezTo>
                  <a:cubicBezTo>
                    <a:pt x="0" y="385312"/>
                    <a:pt x="0" y="513070"/>
                    <a:pt x="0" y="513070"/>
                  </a:cubicBezTo>
                  <a:close/>
                </a:path>
              </a:pathLst>
            </a:custGeom>
            <a:grpFill/>
            <a:ln w="49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orma Livre: Forma 13">
              <a:extLst>
                <a:ext uri="{FF2B5EF4-FFF2-40B4-BE49-F238E27FC236}">
                  <a16:creationId xmlns:a16="http://schemas.microsoft.com/office/drawing/2014/main" id="{EBC4A383-C9FC-A3A5-EF64-B0B9D0DFC30B}"/>
                </a:ext>
              </a:extLst>
            </p:cNvPr>
            <p:cNvSpPr/>
            <p:nvPr/>
          </p:nvSpPr>
          <p:spPr>
            <a:xfrm flipH="1" flipV="1">
              <a:off x="3262597" y="1494936"/>
              <a:ext cx="4634821" cy="914075"/>
            </a:xfrm>
            <a:custGeom>
              <a:avLst/>
              <a:gdLst>
                <a:gd name="connsiteX0" fmla="*/ 0 w 1632413"/>
                <a:gd name="connsiteY0" fmla="*/ 513070 h 513070"/>
                <a:gd name="connsiteX1" fmla="*/ 1593992 w 1632413"/>
                <a:gd name="connsiteY1" fmla="*/ 513070 h 513070"/>
                <a:gd name="connsiteX2" fmla="*/ 1593992 w 1632413"/>
                <a:gd name="connsiteY2" fmla="*/ 330133 h 513070"/>
                <a:gd name="connsiteX3" fmla="*/ 1449034 w 1632413"/>
                <a:gd name="connsiteY3" fmla="*/ 305675 h 513070"/>
                <a:gd name="connsiteX4" fmla="*/ 1389927 w 1632413"/>
                <a:gd name="connsiteY4" fmla="*/ 268292 h 513070"/>
                <a:gd name="connsiteX5" fmla="*/ 1264555 w 1632413"/>
                <a:gd name="connsiteY5" fmla="*/ 129746 h 513070"/>
                <a:gd name="connsiteX6" fmla="*/ 1095835 w 1632413"/>
                <a:gd name="connsiteY6" fmla="*/ 201430 h 513070"/>
                <a:gd name="connsiteX7" fmla="*/ 1052487 w 1632413"/>
                <a:gd name="connsiteY7" fmla="*/ 197006 h 513070"/>
                <a:gd name="connsiteX8" fmla="*/ 626064 w 1632413"/>
                <a:gd name="connsiteY8" fmla="*/ 0 h 513070"/>
                <a:gd name="connsiteX9" fmla="*/ 314474 w 1632413"/>
                <a:gd name="connsiteY9" fmla="*/ 293297 h 513070"/>
                <a:gd name="connsiteX10" fmla="*/ 291954 w 1632413"/>
                <a:gd name="connsiteY10" fmla="*/ 320389 h 513070"/>
                <a:gd name="connsiteX11" fmla="*/ 70242 w 1632413"/>
                <a:gd name="connsiteY11" fmla="*/ 330182 h 513070"/>
                <a:gd name="connsiteX12" fmla="*/ 0 w 1632413"/>
                <a:gd name="connsiteY12" fmla="*/ 513070 h 513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32413" h="513070">
                  <a:moveTo>
                    <a:pt x="0" y="513070"/>
                  </a:moveTo>
                  <a:lnTo>
                    <a:pt x="1593992" y="513070"/>
                  </a:lnTo>
                  <a:cubicBezTo>
                    <a:pt x="1593992" y="513070"/>
                    <a:pt x="1680440" y="403705"/>
                    <a:pt x="1593992" y="330133"/>
                  </a:cubicBezTo>
                  <a:cubicBezTo>
                    <a:pt x="1546269" y="289518"/>
                    <a:pt x="1489946" y="293744"/>
                    <a:pt x="1449034" y="305675"/>
                  </a:cubicBezTo>
                  <a:cubicBezTo>
                    <a:pt x="1422389" y="313430"/>
                    <a:pt x="1395793" y="295484"/>
                    <a:pt x="1389927" y="268292"/>
                  </a:cubicBezTo>
                  <a:cubicBezTo>
                    <a:pt x="1380233" y="223353"/>
                    <a:pt x="1350357" y="164495"/>
                    <a:pt x="1264555" y="129746"/>
                  </a:cubicBezTo>
                  <a:cubicBezTo>
                    <a:pt x="1180146" y="95545"/>
                    <a:pt x="1126756" y="147792"/>
                    <a:pt x="1095835" y="201430"/>
                  </a:cubicBezTo>
                  <a:cubicBezTo>
                    <a:pt x="1085644" y="219078"/>
                    <a:pt x="1058602" y="216443"/>
                    <a:pt x="1052487" y="197006"/>
                  </a:cubicBezTo>
                  <a:cubicBezTo>
                    <a:pt x="1025742" y="112298"/>
                    <a:pt x="932484" y="0"/>
                    <a:pt x="626064" y="0"/>
                  </a:cubicBezTo>
                  <a:cubicBezTo>
                    <a:pt x="236377" y="0"/>
                    <a:pt x="279676" y="207197"/>
                    <a:pt x="314474" y="293297"/>
                  </a:cubicBezTo>
                  <a:cubicBezTo>
                    <a:pt x="320538" y="308260"/>
                    <a:pt x="307713" y="323720"/>
                    <a:pt x="291954" y="320389"/>
                  </a:cubicBezTo>
                  <a:cubicBezTo>
                    <a:pt x="231853" y="307514"/>
                    <a:pt x="120252" y="290861"/>
                    <a:pt x="70242" y="330182"/>
                  </a:cubicBezTo>
                  <a:cubicBezTo>
                    <a:pt x="0" y="385312"/>
                    <a:pt x="0" y="513070"/>
                    <a:pt x="0" y="513070"/>
                  </a:cubicBezTo>
                  <a:close/>
                </a:path>
              </a:pathLst>
            </a:custGeom>
            <a:grpFill/>
            <a:ln w="49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04" name="Agrupar 303">
            <a:extLst>
              <a:ext uri="{FF2B5EF4-FFF2-40B4-BE49-F238E27FC236}">
                <a16:creationId xmlns:a16="http://schemas.microsoft.com/office/drawing/2014/main" id="{D88AB5F0-FA2A-8613-30C6-52A12831B6A4}"/>
              </a:ext>
            </a:extLst>
          </p:cNvPr>
          <p:cNvGrpSpPr/>
          <p:nvPr/>
        </p:nvGrpSpPr>
        <p:grpSpPr>
          <a:xfrm>
            <a:off x="8535443" y="3347515"/>
            <a:ext cx="1904582" cy="1440000"/>
            <a:chOff x="9122826" y="1700507"/>
            <a:chExt cx="1904582" cy="1440000"/>
          </a:xfrm>
        </p:grpSpPr>
        <p:sp>
          <p:nvSpPr>
            <p:cNvPr id="303" name="Elipse 302">
              <a:extLst>
                <a:ext uri="{FF2B5EF4-FFF2-40B4-BE49-F238E27FC236}">
                  <a16:creationId xmlns:a16="http://schemas.microsoft.com/office/drawing/2014/main" id="{026FF731-F146-774E-1052-A4A9768EB610}"/>
                </a:ext>
              </a:extLst>
            </p:cNvPr>
            <p:cNvSpPr/>
            <p:nvPr/>
          </p:nvSpPr>
          <p:spPr>
            <a:xfrm>
              <a:off x="9343393" y="1700507"/>
              <a:ext cx="1440000" cy="1440000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rgbClr val="FE96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268" name="Agrupar 267">
              <a:extLst>
                <a:ext uri="{FF2B5EF4-FFF2-40B4-BE49-F238E27FC236}">
                  <a16:creationId xmlns:a16="http://schemas.microsoft.com/office/drawing/2014/main" id="{BA5869AE-5DCE-72CA-5B65-7FDDA5592F8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903973" y="1963039"/>
              <a:ext cx="342325" cy="359990"/>
              <a:chOff x="7043962" y="1981286"/>
              <a:chExt cx="407670" cy="428720"/>
            </a:xfrm>
          </p:grpSpPr>
          <p:sp>
            <p:nvSpPr>
              <p:cNvPr id="269" name="Forma Livre: Forma 268">
                <a:extLst>
                  <a:ext uri="{FF2B5EF4-FFF2-40B4-BE49-F238E27FC236}">
                    <a16:creationId xmlns:a16="http://schemas.microsoft.com/office/drawing/2014/main" id="{6E202583-A5B7-879D-7128-2C8070C6AF40}"/>
                  </a:ext>
                </a:extLst>
              </p:cNvPr>
              <p:cNvSpPr/>
              <p:nvPr/>
            </p:nvSpPr>
            <p:spPr>
              <a:xfrm>
                <a:off x="7167787" y="2200456"/>
                <a:ext cx="276225" cy="9525"/>
              </a:xfrm>
              <a:custGeom>
                <a:avLst/>
                <a:gdLst>
                  <a:gd name="connsiteX0" fmla="*/ 0 w 276225"/>
                  <a:gd name="connsiteY0" fmla="*/ 0 h 0"/>
                  <a:gd name="connsiteX1" fmla="*/ 276225 w 2762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76225">
                    <a:moveTo>
                      <a:pt x="0" y="0"/>
                    </a:moveTo>
                    <a:lnTo>
                      <a:pt x="276225" y="0"/>
                    </a:lnTo>
                  </a:path>
                </a:pathLst>
              </a:custGeom>
              <a:ln w="19050" cap="rnd">
                <a:solidFill>
                  <a:srgbClr val="FE96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0" name="Forma Livre: Forma 269">
                <a:extLst>
                  <a:ext uri="{FF2B5EF4-FFF2-40B4-BE49-F238E27FC236}">
                    <a16:creationId xmlns:a16="http://schemas.microsoft.com/office/drawing/2014/main" id="{4D397E52-9764-1AE0-07B0-38A1E2AA22F0}"/>
                  </a:ext>
                </a:extLst>
              </p:cNvPr>
              <p:cNvSpPr/>
              <p:nvPr/>
            </p:nvSpPr>
            <p:spPr>
              <a:xfrm>
                <a:off x="7129687" y="2343331"/>
                <a:ext cx="9525" cy="47625"/>
              </a:xfrm>
              <a:custGeom>
                <a:avLst/>
                <a:gdLst>
                  <a:gd name="connsiteX0" fmla="*/ 0 w 0"/>
                  <a:gd name="connsiteY0" fmla="*/ 0 h 47625"/>
                  <a:gd name="connsiteX1" fmla="*/ 0 w 0"/>
                  <a:gd name="connsiteY1" fmla="*/ 476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47625">
                    <a:moveTo>
                      <a:pt x="0" y="0"/>
                    </a:moveTo>
                    <a:lnTo>
                      <a:pt x="0" y="47625"/>
                    </a:lnTo>
                  </a:path>
                </a:pathLst>
              </a:custGeom>
              <a:ln w="19050" cap="rnd">
                <a:solidFill>
                  <a:srgbClr val="FE96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1" name="Forma Livre: Forma 270">
                <a:extLst>
                  <a:ext uri="{FF2B5EF4-FFF2-40B4-BE49-F238E27FC236}">
                    <a16:creationId xmlns:a16="http://schemas.microsoft.com/office/drawing/2014/main" id="{6469D2DB-7B93-0EDC-E00C-006B0F481A03}"/>
                  </a:ext>
                </a:extLst>
              </p:cNvPr>
              <p:cNvSpPr/>
              <p:nvPr/>
            </p:nvSpPr>
            <p:spPr>
              <a:xfrm>
                <a:off x="7082062" y="2105206"/>
                <a:ext cx="190500" cy="304800"/>
              </a:xfrm>
              <a:custGeom>
                <a:avLst/>
                <a:gdLst>
                  <a:gd name="connsiteX0" fmla="*/ 180975 w 190500"/>
                  <a:gd name="connsiteY0" fmla="*/ 304800 h 304800"/>
                  <a:gd name="connsiteX1" fmla="*/ 123825 w 190500"/>
                  <a:gd name="connsiteY1" fmla="*/ 200025 h 304800"/>
                  <a:gd name="connsiteX2" fmla="*/ 57150 w 190500"/>
                  <a:gd name="connsiteY2" fmla="*/ 200025 h 304800"/>
                  <a:gd name="connsiteX3" fmla="*/ 0 w 190500"/>
                  <a:gd name="connsiteY3" fmla="*/ 142875 h 304800"/>
                  <a:gd name="connsiteX4" fmla="*/ 0 w 190500"/>
                  <a:gd name="connsiteY4" fmla="*/ 38100 h 304800"/>
                  <a:gd name="connsiteX5" fmla="*/ 38100 w 190500"/>
                  <a:gd name="connsiteY5" fmla="*/ 0 h 304800"/>
                  <a:gd name="connsiteX6" fmla="*/ 76200 w 190500"/>
                  <a:gd name="connsiteY6" fmla="*/ 0 h 304800"/>
                  <a:gd name="connsiteX7" fmla="*/ 123825 w 190500"/>
                  <a:gd name="connsiteY7" fmla="*/ 57150 h 304800"/>
                  <a:gd name="connsiteX8" fmla="*/ 190500 w 190500"/>
                  <a:gd name="connsiteY8" fmla="*/ 57150 h 304800"/>
                  <a:gd name="connsiteX9" fmla="*/ 152400 w 190500"/>
                  <a:gd name="connsiteY9" fmla="*/ 95250 h 304800"/>
                  <a:gd name="connsiteX10" fmla="*/ 95250 w 190500"/>
                  <a:gd name="connsiteY10" fmla="*/ 95250 h 304800"/>
                  <a:gd name="connsiteX11" fmla="*/ 57150 w 190500"/>
                  <a:gd name="connsiteY11" fmla="*/ 57150 h 304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90500" h="304800">
                    <a:moveTo>
                      <a:pt x="180975" y="304800"/>
                    </a:moveTo>
                    <a:lnTo>
                      <a:pt x="123825" y="200025"/>
                    </a:lnTo>
                    <a:lnTo>
                      <a:pt x="57150" y="200025"/>
                    </a:lnTo>
                    <a:cubicBezTo>
                      <a:pt x="25622" y="200025"/>
                      <a:pt x="0" y="174403"/>
                      <a:pt x="0" y="142875"/>
                    </a:cubicBezTo>
                    <a:lnTo>
                      <a:pt x="0" y="38100"/>
                    </a:lnTo>
                    <a:cubicBezTo>
                      <a:pt x="0" y="17050"/>
                      <a:pt x="17050" y="0"/>
                      <a:pt x="38100" y="0"/>
                    </a:cubicBezTo>
                    <a:lnTo>
                      <a:pt x="76200" y="0"/>
                    </a:lnTo>
                    <a:lnTo>
                      <a:pt x="123825" y="57150"/>
                    </a:lnTo>
                    <a:lnTo>
                      <a:pt x="190500" y="57150"/>
                    </a:lnTo>
                    <a:cubicBezTo>
                      <a:pt x="190500" y="57150"/>
                      <a:pt x="195929" y="95250"/>
                      <a:pt x="152400" y="95250"/>
                    </a:cubicBezTo>
                    <a:cubicBezTo>
                      <a:pt x="126968" y="95250"/>
                      <a:pt x="95250" y="95250"/>
                      <a:pt x="95250" y="95250"/>
                    </a:cubicBezTo>
                    <a:lnTo>
                      <a:pt x="57150" y="57150"/>
                    </a:lnTo>
                  </a:path>
                </a:pathLst>
              </a:custGeom>
              <a:noFill/>
              <a:ln w="19050" cap="rnd">
                <a:solidFill>
                  <a:srgbClr val="FE96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2" name="Forma Livre: Forma 271">
                <a:extLst>
                  <a:ext uri="{FF2B5EF4-FFF2-40B4-BE49-F238E27FC236}">
                    <a16:creationId xmlns:a16="http://schemas.microsoft.com/office/drawing/2014/main" id="{6E6ED928-3F6B-4A0B-90C2-6A3D6DAD2B93}"/>
                  </a:ext>
                </a:extLst>
              </p:cNvPr>
              <p:cNvSpPr/>
              <p:nvPr/>
            </p:nvSpPr>
            <p:spPr>
              <a:xfrm>
                <a:off x="7167787" y="2181406"/>
                <a:ext cx="133350" cy="228600"/>
              </a:xfrm>
              <a:custGeom>
                <a:avLst/>
                <a:gdLst>
                  <a:gd name="connsiteX0" fmla="*/ 0 w 133350"/>
                  <a:gd name="connsiteY0" fmla="*/ 0 h 228600"/>
                  <a:gd name="connsiteX1" fmla="*/ 0 w 133350"/>
                  <a:gd name="connsiteY1" fmla="*/ 57150 h 228600"/>
                  <a:gd name="connsiteX2" fmla="*/ 47625 w 133350"/>
                  <a:gd name="connsiteY2" fmla="*/ 57150 h 228600"/>
                  <a:gd name="connsiteX3" fmla="*/ 92583 w 133350"/>
                  <a:gd name="connsiteY3" fmla="*/ 89059 h 228600"/>
                  <a:gd name="connsiteX4" fmla="*/ 138589 w 133350"/>
                  <a:gd name="connsiteY4" fmla="*/ 228600 h 22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3350" h="228600">
                    <a:moveTo>
                      <a:pt x="0" y="0"/>
                    </a:moveTo>
                    <a:lnTo>
                      <a:pt x="0" y="57150"/>
                    </a:lnTo>
                    <a:lnTo>
                      <a:pt x="47625" y="57150"/>
                    </a:lnTo>
                    <a:cubicBezTo>
                      <a:pt x="67818" y="57150"/>
                      <a:pt x="85916" y="69913"/>
                      <a:pt x="92583" y="89059"/>
                    </a:cubicBezTo>
                    <a:lnTo>
                      <a:pt x="138589" y="228600"/>
                    </a:lnTo>
                  </a:path>
                </a:pathLst>
              </a:custGeom>
              <a:noFill/>
              <a:ln w="19050" cap="rnd">
                <a:solidFill>
                  <a:srgbClr val="FE96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3" name="Forma Livre: Forma 272">
                <a:extLst>
                  <a:ext uri="{FF2B5EF4-FFF2-40B4-BE49-F238E27FC236}">
                    <a16:creationId xmlns:a16="http://schemas.microsoft.com/office/drawing/2014/main" id="{162E4F22-7881-50D3-04CE-50FCE2A3AA55}"/>
                  </a:ext>
                </a:extLst>
              </p:cNvPr>
              <p:cNvSpPr/>
              <p:nvPr/>
            </p:nvSpPr>
            <p:spPr>
              <a:xfrm>
                <a:off x="7043962" y="2124256"/>
                <a:ext cx="142875" cy="219075"/>
              </a:xfrm>
              <a:custGeom>
                <a:avLst/>
                <a:gdLst>
                  <a:gd name="connsiteX0" fmla="*/ 0 w 142875"/>
                  <a:gd name="connsiteY0" fmla="*/ 0 h 219075"/>
                  <a:gd name="connsiteX1" fmla="*/ 0 w 142875"/>
                  <a:gd name="connsiteY1" fmla="*/ 142875 h 219075"/>
                  <a:gd name="connsiteX2" fmla="*/ 76200 w 142875"/>
                  <a:gd name="connsiteY2" fmla="*/ 219075 h 219075"/>
                  <a:gd name="connsiteX3" fmla="*/ 142875 w 142875"/>
                  <a:gd name="connsiteY3" fmla="*/ 219075 h 219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875" h="219075">
                    <a:moveTo>
                      <a:pt x="0" y="0"/>
                    </a:moveTo>
                    <a:lnTo>
                      <a:pt x="0" y="142875"/>
                    </a:lnTo>
                    <a:cubicBezTo>
                      <a:pt x="0" y="184975"/>
                      <a:pt x="34100" y="219075"/>
                      <a:pt x="76200" y="219075"/>
                    </a:cubicBezTo>
                    <a:lnTo>
                      <a:pt x="142875" y="219075"/>
                    </a:lnTo>
                  </a:path>
                </a:pathLst>
              </a:custGeom>
              <a:noFill/>
              <a:ln w="19050" cap="rnd">
                <a:solidFill>
                  <a:srgbClr val="FE96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4" name="Forma Livre: Forma 273">
                <a:extLst>
                  <a:ext uri="{FF2B5EF4-FFF2-40B4-BE49-F238E27FC236}">
                    <a16:creationId xmlns:a16="http://schemas.microsoft.com/office/drawing/2014/main" id="{5EE4554D-B3DB-02A9-5DFA-2CAD719C7258}"/>
                  </a:ext>
                </a:extLst>
              </p:cNvPr>
              <p:cNvSpPr/>
              <p:nvPr/>
            </p:nvSpPr>
            <p:spPr>
              <a:xfrm>
                <a:off x="7072537" y="2390956"/>
                <a:ext cx="114300" cy="19050"/>
              </a:xfrm>
              <a:custGeom>
                <a:avLst/>
                <a:gdLst>
                  <a:gd name="connsiteX0" fmla="*/ 114300 w 114300"/>
                  <a:gd name="connsiteY0" fmla="*/ 19050 h 19050"/>
                  <a:gd name="connsiteX1" fmla="*/ 95250 w 114300"/>
                  <a:gd name="connsiteY1" fmla="*/ 19050 h 19050"/>
                  <a:gd name="connsiteX2" fmla="*/ 76200 w 114300"/>
                  <a:gd name="connsiteY2" fmla="*/ 19050 h 19050"/>
                  <a:gd name="connsiteX3" fmla="*/ 57150 w 114300"/>
                  <a:gd name="connsiteY3" fmla="*/ 0 h 19050"/>
                  <a:gd name="connsiteX4" fmla="*/ 38100 w 114300"/>
                  <a:gd name="connsiteY4" fmla="*/ 19050 h 19050"/>
                  <a:gd name="connsiteX5" fmla="*/ 19050 w 114300"/>
                  <a:gd name="connsiteY5" fmla="*/ 19050 h 19050"/>
                  <a:gd name="connsiteX6" fmla="*/ 0 w 114300"/>
                  <a:gd name="connsiteY6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4300" h="19050">
                    <a:moveTo>
                      <a:pt x="114300" y="19050"/>
                    </a:moveTo>
                    <a:lnTo>
                      <a:pt x="95250" y="19050"/>
                    </a:lnTo>
                    <a:lnTo>
                      <a:pt x="76200" y="19050"/>
                    </a:lnTo>
                    <a:lnTo>
                      <a:pt x="57150" y="0"/>
                    </a:lnTo>
                    <a:lnTo>
                      <a:pt x="38100" y="19050"/>
                    </a:lnTo>
                    <a:lnTo>
                      <a:pt x="19050" y="19050"/>
                    </a:lnTo>
                    <a:lnTo>
                      <a:pt x="0" y="19050"/>
                    </a:lnTo>
                  </a:path>
                </a:pathLst>
              </a:custGeom>
              <a:noFill/>
              <a:ln w="19050" cap="rnd">
                <a:solidFill>
                  <a:srgbClr val="FE96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5" name="Forma Livre: Forma 274">
                <a:extLst>
                  <a:ext uri="{FF2B5EF4-FFF2-40B4-BE49-F238E27FC236}">
                    <a16:creationId xmlns:a16="http://schemas.microsoft.com/office/drawing/2014/main" id="{8A4CBC50-9087-DBC7-4D8A-99B73315FCF8}"/>
                  </a:ext>
                </a:extLst>
              </p:cNvPr>
              <p:cNvSpPr/>
              <p:nvPr/>
            </p:nvSpPr>
            <p:spPr>
              <a:xfrm>
                <a:off x="7091587" y="1981286"/>
                <a:ext cx="85725" cy="95250"/>
              </a:xfrm>
              <a:custGeom>
                <a:avLst/>
                <a:gdLst>
                  <a:gd name="connsiteX0" fmla="*/ 42863 w 85725"/>
                  <a:gd name="connsiteY0" fmla="*/ 95345 h 95250"/>
                  <a:gd name="connsiteX1" fmla="*/ 85725 w 85725"/>
                  <a:gd name="connsiteY1" fmla="*/ 54483 h 95250"/>
                  <a:gd name="connsiteX2" fmla="*/ 85725 w 85725"/>
                  <a:gd name="connsiteY2" fmla="*/ 40862 h 95250"/>
                  <a:gd name="connsiteX3" fmla="*/ 42863 w 85725"/>
                  <a:gd name="connsiteY3" fmla="*/ 0 h 95250"/>
                  <a:gd name="connsiteX4" fmla="*/ 0 w 85725"/>
                  <a:gd name="connsiteY4" fmla="*/ 40958 h 95250"/>
                  <a:gd name="connsiteX5" fmla="*/ 0 w 85725"/>
                  <a:gd name="connsiteY5" fmla="*/ 54578 h 95250"/>
                  <a:gd name="connsiteX6" fmla="*/ 42863 w 85725"/>
                  <a:gd name="connsiteY6" fmla="*/ 95345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725" h="95250">
                    <a:moveTo>
                      <a:pt x="42863" y="95345"/>
                    </a:moveTo>
                    <a:cubicBezTo>
                      <a:pt x="66770" y="95345"/>
                      <a:pt x="85725" y="77057"/>
                      <a:pt x="85725" y="54483"/>
                    </a:cubicBezTo>
                    <a:lnTo>
                      <a:pt x="85725" y="40862"/>
                    </a:lnTo>
                    <a:cubicBezTo>
                      <a:pt x="85725" y="18288"/>
                      <a:pt x="66770" y="0"/>
                      <a:pt x="42863" y="0"/>
                    </a:cubicBezTo>
                    <a:cubicBezTo>
                      <a:pt x="18955" y="0"/>
                      <a:pt x="0" y="18383"/>
                      <a:pt x="0" y="40958"/>
                    </a:cubicBezTo>
                    <a:lnTo>
                      <a:pt x="0" y="54578"/>
                    </a:lnTo>
                    <a:cubicBezTo>
                      <a:pt x="0" y="77057"/>
                      <a:pt x="18955" y="95345"/>
                      <a:pt x="42863" y="95345"/>
                    </a:cubicBezTo>
                    <a:close/>
                  </a:path>
                </a:pathLst>
              </a:custGeom>
              <a:noFill/>
              <a:ln w="19050" cap="rnd">
                <a:solidFill>
                  <a:srgbClr val="FE96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6" name="Forma Livre: Forma 275">
                <a:extLst>
                  <a:ext uri="{FF2B5EF4-FFF2-40B4-BE49-F238E27FC236}">
                    <a16:creationId xmlns:a16="http://schemas.microsoft.com/office/drawing/2014/main" id="{B92AA2B4-3934-EC1C-335B-2B640E10F46A}"/>
                  </a:ext>
                </a:extLst>
              </p:cNvPr>
              <p:cNvSpPr/>
              <p:nvPr/>
            </p:nvSpPr>
            <p:spPr>
              <a:xfrm>
                <a:off x="7251607" y="2057581"/>
                <a:ext cx="200025" cy="114300"/>
              </a:xfrm>
              <a:custGeom>
                <a:avLst/>
                <a:gdLst>
                  <a:gd name="connsiteX0" fmla="*/ 0 w 200025"/>
                  <a:gd name="connsiteY0" fmla="*/ 76200 h 114300"/>
                  <a:gd name="connsiteX1" fmla="*/ 30480 w 200025"/>
                  <a:gd name="connsiteY1" fmla="*/ 0 h 114300"/>
                  <a:gd name="connsiteX2" fmla="*/ 201930 w 200025"/>
                  <a:gd name="connsiteY2" fmla="*/ 0 h 114300"/>
                  <a:gd name="connsiteX3" fmla="*/ 156210 w 200025"/>
                  <a:gd name="connsiteY3" fmla="*/ 114300 h 114300"/>
                  <a:gd name="connsiteX4" fmla="*/ 49530 w 200025"/>
                  <a:gd name="connsiteY4" fmla="*/ 114300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0025" h="114300">
                    <a:moveTo>
                      <a:pt x="0" y="76200"/>
                    </a:moveTo>
                    <a:lnTo>
                      <a:pt x="30480" y="0"/>
                    </a:lnTo>
                    <a:lnTo>
                      <a:pt x="201930" y="0"/>
                    </a:lnTo>
                    <a:lnTo>
                      <a:pt x="156210" y="114300"/>
                    </a:lnTo>
                    <a:lnTo>
                      <a:pt x="49530" y="114300"/>
                    </a:lnTo>
                  </a:path>
                </a:pathLst>
              </a:custGeom>
              <a:noFill/>
              <a:ln w="19050" cap="rnd">
                <a:solidFill>
                  <a:srgbClr val="FE96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77" name="Retângulo 276">
              <a:extLst>
                <a:ext uri="{FF2B5EF4-FFF2-40B4-BE49-F238E27FC236}">
                  <a16:creationId xmlns:a16="http://schemas.microsoft.com/office/drawing/2014/main" id="{CA71B06A-3280-97F7-7A60-733770E9E94E}"/>
                </a:ext>
              </a:extLst>
            </p:cNvPr>
            <p:cNvSpPr/>
            <p:nvPr/>
          </p:nvSpPr>
          <p:spPr>
            <a:xfrm>
              <a:off x="9122826" y="2409680"/>
              <a:ext cx="1904582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200" b="0" i="0" u="none" strike="noStrike" kern="0" cap="none" spc="0" normalizeH="0" baseline="0" noProof="0">
                  <a:ln>
                    <a:noFill/>
                  </a:ln>
                  <a:solidFill>
                    <a:srgbClr val="FE9600"/>
                  </a:solidFill>
                  <a:effectLst/>
                  <a:uLnTx/>
                  <a:uFillTx/>
                  <a:latin typeface="Itau Display Pro App" panose="020B0503020204020204" pitchFamily="34" charset="0"/>
                  <a:ea typeface="+mn-ea"/>
                  <a:cs typeface="Itau Display Pro App" panose="020B0503020204020204" pitchFamily="34" charset="0"/>
                </a:rPr>
                <a:t>Desk </a:t>
              </a:r>
              <a:r>
                <a:rPr kumimoji="0" lang="pt-BR" sz="1200" b="0" i="0" u="none" strike="noStrike" kern="0" cap="none" spc="0" normalizeH="0" baseline="0" noProof="0" err="1">
                  <a:ln>
                    <a:noFill/>
                  </a:ln>
                  <a:solidFill>
                    <a:srgbClr val="FE9600"/>
                  </a:solidFill>
                  <a:effectLst/>
                  <a:uLnTx/>
                  <a:uFillTx/>
                  <a:latin typeface="Itau Display Pro App" panose="020B0503020204020204" pitchFamily="34" charset="0"/>
                  <a:ea typeface="+mn-ea"/>
                  <a:cs typeface="Itau Display Pro App" panose="020B0503020204020204" pitchFamily="34" charset="0"/>
                </a:rPr>
                <a:t>Research</a:t>
              </a:r>
              <a:br>
                <a:rPr kumimoji="0" lang="pt-BR" sz="1200" b="0" i="0" u="none" strike="noStrike" kern="0" cap="none" spc="0" normalizeH="0" baseline="0" noProof="0">
                  <a:ln>
                    <a:noFill/>
                  </a:ln>
                  <a:solidFill>
                    <a:srgbClr val="FE9600"/>
                  </a:solidFill>
                  <a:effectLst/>
                  <a:uLnTx/>
                  <a:uFillTx/>
                  <a:latin typeface="Itau Display Pro App" panose="020B0503020204020204" pitchFamily="34" charset="0"/>
                  <a:ea typeface="+mn-ea"/>
                  <a:cs typeface="Itau Display Pro App" panose="020B0503020204020204" pitchFamily="34" charset="0"/>
                </a:rPr>
              </a:br>
              <a:r>
                <a:rPr kumimoji="0" lang="pt-BR" sz="1200" b="0" i="0" u="none" strike="noStrike" kern="0" cap="none" spc="0" normalizeH="0" baseline="0" noProof="0">
                  <a:ln>
                    <a:noFill/>
                  </a:ln>
                  <a:solidFill>
                    <a:srgbClr val="FE9600"/>
                  </a:solidFill>
                  <a:effectLst/>
                  <a:uLnTx/>
                  <a:uFillTx/>
                  <a:latin typeface="Itau Display Pro App" panose="020B0503020204020204" pitchFamily="34" charset="0"/>
                  <a:ea typeface="+mn-ea"/>
                  <a:cs typeface="Itau Display Pro App" panose="020B0503020204020204" pitchFamily="34" charset="0"/>
                </a:rPr>
                <a:t>(Sharepoint UX)</a:t>
              </a:r>
            </a:p>
          </p:txBody>
        </p:sp>
      </p:grpSp>
      <p:grpSp>
        <p:nvGrpSpPr>
          <p:cNvPr id="306" name="Agrupar 305">
            <a:extLst>
              <a:ext uri="{FF2B5EF4-FFF2-40B4-BE49-F238E27FC236}">
                <a16:creationId xmlns:a16="http://schemas.microsoft.com/office/drawing/2014/main" id="{2465C55F-4272-37CE-302D-CD6C8DA70A28}"/>
              </a:ext>
            </a:extLst>
          </p:cNvPr>
          <p:cNvGrpSpPr/>
          <p:nvPr/>
        </p:nvGrpSpPr>
        <p:grpSpPr>
          <a:xfrm>
            <a:off x="9183905" y="4712525"/>
            <a:ext cx="1904582" cy="1440000"/>
            <a:chOff x="8535689" y="3346644"/>
            <a:chExt cx="1904582" cy="1440000"/>
          </a:xfrm>
        </p:grpSpPr>
        <p:sp>
          <p:nvSpPr>
            <p:cNvPr id="305" name="Elipse 304">
              <a:extLst>
                <a:ext uri="{FF2B5EF4-FFF2-40B4-BE49-F238E27FC236}">
                  <a16:creationId xmlns:a16="http://schemas.microsoft.com/office/drawing/2014/main" id="{01D9AE9F-AAE2-4DD2-E3F8-9CB4388BF642}"/>
                </a:ext>
              </a:extLst>
            </p:cNvPr>
            <p:cNvSpPr/>
            <p:nvPr/>
          </p:nvSpPr>
          <p:spPr>
            <a:xfrm>
              <a:off x="8732959" y="3346644"/>
              <a:ext cx="1440000" cy="1440000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rgbClr val="FE96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278" name="Agrupar 277">
              <a:extLst>
                <a:ext uri="{FF2B5EF4-FFF2-40B4-BE49-F238E27FC236}">
                  <a16:creationId xmlns:a16="http://schemas.microsoft.com/office/drawing/2014/main" id="{59162A66-10AF-C87D-9299-9DEE157FE1D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268905" y="3604979"/>
              <a:ext cx="394286" cy="360000"/>
              <a:chOff x="12707981" y="8216900"/>
              <a:chExt cx="438150" cy="400050"/>
            </a:xfrm>
          </p:grpSpPr>
          <p:sp>
            <p:nvSpPr>
              <p:cNvPr id="279" name="Forma Livre: Forma 278">
                <a:extLst>
                  <a:ext uri="{FF2B5EF4-FFF2-40B4-BE49-F238E27FC236}">
                    <a16:creationId xmlns:a16="http://schemas.microsoft.com/office/drawing/2014/main" id="{B8C24176-329C-EFE5-FA8F-EA72FB373D12}"/>
                  </a:ext>
                </a:extLst>
              </p:cNvPr>
              <p:cNvSpPr/>
              <p:nvPr/>
            </p:nvSpPr>
            <p:spPr>
              <a:xfrm>
                <a:off x="12707981" y="8216900"/>
                <a:ext cx="381000" cy="400050"/>
              </a:xfrm>
              <a:custGeom>
                <a:avLst/>
                <a:gdLst>
                  <a:gd name="connsiteX0" fmla="*/ 381000 w 381000"/>
                  <a:gd name="connsiteY0" fmla="*/ 85725 h 400050"/>
                  <a:gd name="connsiteX1" fmla="*/ 381000 w 381000"/>
                  <a:gd name="connsiteY1" fmla="*/ 0 h 400050"/>
                  <a:gd name="connsiteX2" fmla="*/ 0 w 381000"/>
                  <a:gd name="connsiteY2" fmla="*/ 0 h 400050"/>
                  <a:gd name="connsiteX3" fmla="*/ 0 w 381000"/>
                  <a:gd name="connsiteY3" fmla="*/ 400050 h 400050"/>
                  <a:gd name="connsiteX4" fmla="*/ 381000 w 381000"/>
                  <a:gd name="connsiteY4" fmla="*/ 400050 h 400050"/>
                  <a:gd name="connsiteX5" fmla="*/ 381000 w 381000"/>
                  <a:gd name="connsiteY5" fmla="*/ 323850 h 400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81000" h="400050">
                    <a:moveTo>
                      <a:pt x="381000" y="85725"/>
                    </a:moveTo>
                    <a:lnTo>
                      <a:pt x="381000" y="0"/>
                    </a:lnTo>
                    <a:lnTo>
                      <a:pt x="0" y="0"/>
                    </a:lnTo>
                    <a:lnTo>
                      <a:pt x="0" y="400050"/>
                    </a:lnTo>
                    <a:lnTo>
                      <a:pt x="381000" y="400050"/>
                    </a:lnTo>
                    <a:lnTo>
                      <a:pt x="381000" y="323850"/>
                    </a:lnTo>
                  </a:path>
                </a:pathLst>
              </a:custGeom>
              <a:noFill/>
              <a:ln w="19050" cap="rnd">
                <a:solidFill>
                  <a:srgbClr val="FE96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0" name="Forma Livre: Forma 279">
                <a:extLst>
                  <a:ext uri="{FF2B5EF4-FFF2-40B4-BE49-F238E27FC236}">
                    <a16:creationId xmlns:a16="http://schemas.microsoft.com/office/drawing/2014/main" id="{83E46BAF-E2CE-1C2D-C080-A68FF5BD2CF1}"/>
                  </a:ext>
                </a:extLst>
              </p:cNvPr>
              <p:cNvSpPr/>
              <p:nvPr/>
            </p:nvSpPr>
            <p:spPr>
              <a:xfrm>
                <a:off x="12707981" y="8274050"/>
                <a:ext cx="381000" cy="9525"/>
              </a:xfrm>
              <a:custGeom>
                <a:avLst/>
                <a:gdLst>
                  <a:gd name="connsiteX0" fmla="*/ 0 w 381000"/>
                  <a:gd name="connsiteY0" fmla="*/ 0 h 0"/>
                  <a:gd name="connsiteX1" fmla="*/ 381000 w 381000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1000">
                    <a:moveTo>
                      <a:pt x="0" y="0"/>
                    </a:moveTo>
                    <a:lnTo>
                      <a:pt x="381000" y="0"/>
                    </a:lnTo>
                  </a:path>
                </a:pathLst>
              </a:custGeom>
              <a:ln w="19050" cap="rnd">
                <a:solidFill>
                  <a:srgbClr val="FE96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1" name="Forma Livre: Forma 280">
                <a:extLst>
                  <a:ext uri="{FF2B5EF4-FFF2-40B4-BE49-F238E27FC236}">
                    <a16:creationId xmlns:a16="http://schemas.microsoft.com/office/drawing/2014/main" id="{891F9E08-99A5-5D95-3FB9-D96918EC279D}"/>
                  </a:ext>
                </a:extLst>
              </p:cNvPr>
              <p:cNvSpPr/>
              <p:nvPr/>
            </p:nvSpPr>
            <p:spPr>
              <a:xfrm>
                <a:off x="12736556" y="8245475"/>
                <a:ext cx="19050" cy="9525"/>
              </a:xfrm>
              <a:custGeom>
                <a:avLst/>
                <a:gdLst>
                  <a:gd name="connsiteX0" fmla="*/ 0 w 19050"/>
                  <a:gd name="connsiteY0" fmla="*/ 0 h 0"/>
                  <a:gd name="connsiteX1" fmla="*/ 19050 w 19050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050">
                    <a:moveTo>
                      <a:pt x="0" y="0"/>
                    </a:moveTo>
                    <a:lnTo>
                      <a:pt x="19050" y="0"/>
                    </a:lnTo>
                  </a:path>
                </a:pathLst>
              </a:custGeom>
              <a:ln w="19050" cap="rnd">
                <a:solidFill>
                  <a:srgbClr val="FE96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2" name="Forma Livre: Forma 281">
                <a:extLst>
                  <a:ext uri="{FF2B5EF4-FFF2-40B4-BE49-F238E27FC236}">
                    <a16:creationId xmlns:a16="http://schemas.microsoft.com/office/drawing/2014/main" id="{CE0E72EA-B57E-1EB2-F639-5B137480E0B0}"/>
                  </a:ext>
                </a:extLst>
              </p:cNvPr>
              <p:cNvSpPr/>
              <p:nvPr/>
            </p:nvSpPr>
            <p:spPr>
              <a:xfrm>
                <a:off x="12774656" y="8245475"/>
                <a:ext cx="19050" cy="9525"/>
              </a:xfrm>
              <a:custGeom>
                <a:avLst/>
                <a:gdLst>
                  <a:gd name="connsiteX0" fmla="*/ 0 w 19050"/>
                  <a:gd name="connsiteY0" fmla="*/ 0 h 0"/>
                  <a:gd name="connsiteX1" fmla="*/ 19050 w 19050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050">
                    <a:moveTo>
                      <a:pt x="0" y="0"/>
                    </a:moveTo>
                    <a:lnTo>
                      <a:pt x="19050" y="0"/>
                    </a:lnTo>
                  </a:path>
                </a:pathLst>
              </a:custGeom>
              <a:ln w="19050" cap="rnd">
                <a:solidFill>
                  <a:srgbClr val="FE96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3" name="Forma Livre: Forma 282">
                <a:extLst>
                  <a:ext uri="{FF2B5EF4-FFF2-40B4-BE49-F238E27FC236}">
                    <a16:creationId xmlns:a16="http://schemas.microsoft.com/office/drawing/2014/main" id="{86A16DFA-9C4B-D9B1-B65F-5E80AF0FD2BD}"/>
                  </a:ext>
                </a:extLst>
              </p:cNvPr>
              <p:cNvSpPr/>
              <p:nvPr/>
            </p:nvSpPr>
            <p:spPr>
              <a:xfrm>
                <a:off x="12812756" y="8245475"/>
                <a:ext cx="19050" cy="9525"/>
              </a:xfrm>
              <a:custGeom>
                <a:avLst/>
                <a:gdLst>
                  <a:gd name="connsiteX0" fmla="*/ 0 w 19050"/>
                  <a:gd name="connsiteY0" fmla="*/ 0 h 0"/>
                  <a:gd name="connsiteX1" fmla="*/ 19050 w 19050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050">
                    <a:moveTo>
                      <a:pt x="0" y="0"/>
                    </a:moveTo>
                    <a:lnTo>
                      <a:pt x="19050" y="0"/>
                    </a:lnTo>
                  </a:path>
                </a:pathLst>
              </a:custGeom>
              <a:ln w="19050" cap="rnd">
                <a:solidFill>
                  <a:srgbClr val="FE96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4" name="Forma Livre: Forma 283">
                <a:extLst>
                  <a:ext uri="{FF2B5EF4-FFF2-40B4-BE49-F238E27FC236}">
                    <a16:creationId xmlns:a16="http://schemas.microsoft.com/office/drawing/2014/main" id="{7691E353-1D04-17EB-8257-F2CAC16DE602}"/>
                  </a:ext>
                </a:extLst>
              </p:cNvPr>
              <p:cNvSpPr/>
              <p:nvPr/>
            </p:nvSpPr>
            <p:spPr>
              <a:xfrm>
                <a:off x="12850856" y="8321675"/>
                <a:ext cx="295275" cy="247650"/>
              </a:xfrm>
              <a:custGeom>
                <a:avLst/>
                <a:gdLst>
                  <a:gd name="connsiteX0" fmla="*/ 38100 w 295275"/>
                  <a:gd name="connsiteY0" fmla="*/ 0 h 247650"/>
                  <a:gd name="connsiteX1" fmla="*/ 257175 w 295275"/>
                  <a:gd name="connsiteY1" fmla="*/ 0 h 247650"/>
                  <a:gd name="connsiteX2" fmla="*/ 295275 w 295275"/>
                  <a:gd name="connsiteY2" fmla="*/ 38100 h 247650"/>
                  <a:gd name="connsiteX3" fmla="*/ 295275 w 295275"/>
                  <a:gd name="connsiteY3" fmla="*/ 161925 h 247650"/>
                  <a:gd name="connsiteX4" fmla="*/ 257175 w 295275"/>
                  <a:gd name="connsiteY4" fmla="*/ 200025 h 247650"/>
                  <a:gd name="connsiteX5" fmla="*/ 114300 w 295275"/>
                  <a:gd name="connsiteY5" fmla="*/ 200025 h 247650"/>
                  <a:gd name="connsiteX6" fmla="*/ 63913 w 295275"/>
                  <a:gd name="connsiteY6" fmla="*/ 250412 h 247650"/>
                  <a:gd name="connsiteX7" fmla="*/ 47625 w 295275"/>
                  <a:gd name="connsiteY7" fmla="*/ 243649 h 247650"/>
                  <a:gd name="connsiteX8" fmla="*/ 47625 w 295275"/>
                  <a:gd name="connsiteY8" fmla="*/ 200025 h 247650"/>
                  <a:gd name="connsiteX9" fmla="*/ 38100 w 295275"/>
                  <a:gd name="connsiteY9" fmla="*/ 200025 h 247650"/>
                  <a:gd name="connsiteX10" fmla="*/ 0 w 295275"/>
                  <a:gd name="connsiteY10" fmla="*/ 161925 h 247650"/>
                  <a:gd name="connsiteX11" fmla="*/ 0 w 295275"/>
                  <a:gd name="connsiteY11" fmla="*/ 38100 h 247650"/>
                  <a:gd name="connsiteX12" fmla="*/ 38100 w 295275"/>
                  <a:gd name="connsiteY12" fmla="*/ 0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95275" h="247650">
                    <a:moveTo>
                      <a:pt x="38100" y="0"/>
                    </a:moveTo>
                    <a:lnTo>
                      <a:pt x="257175" y="0"/>
                    </a:lnTo>
                    <a:cubicBezTo>
                      <a:pt x="278225" y="0"/>
                      <a:pt x="295275" y="17050"/>
                      <a:pt x="295275" y="38100"/>
                    </a:cubicBezTo>
                    <a:lnTo>
                      <a:pt x="295275" y="161925"/>
                    </a:lnTo>
                    <a:cubicBezTo>
                      <a:pt x="295275" y="182975"/>
                      <a:pt x="278225" y="200025"/>
                      <a:pt x="257175" y="200025"/>
                    </a:cubicBezTo>
                    <a:lnTo>
                      <a:pt x="114300" y="200025"/>
                    </a:lnTo>
                    <a:lnTo>
                      <a:pt x="63913" y="250412"/>
                    </a:lnTo>
                    <a:cubicBezTo>
                      <a:pt x="57912" y="256413"/>
                      <a:pt x="47625" y="252127"/>
                      <a:pt x="47625" y="243649"/>
                    </a:cubicBezTo>
                    <a:lnTo>
                      <a:pt x="47625" y="200025"/>
                    </a:lnTo>
                    <a:lnTo>
                      <a:pt x="38100" y="200025"/>
                    </a:lnTo>
                    <a:cubicBezTo>
                      <a:pt x="17050" y="200025"/>
                      <a:pt x="0" y="182975"/>
                      <a:pt x="0" y="161925"/>
                    </a:cubicBezTo>
                    <a:lnTo>
                      <a:pt x="0" y="38100"/>
                    </a:lnTo>
                    <a:cubicBezTo>
                      <a:pt x="0" y="17050"/>
                      <a:pt x="17050" y="0"/>
                      <a:pt x="38100" y="0"/>
                    </a:cubicBezTo>
                    <a:close/>
                  </a:path>
                </a:pathLst>
              </a:custGeom>
              <a:noFill/>
              <a:ln w="19050" cap="rnd">
                <a:solidFill>
                  <a:srgbClr val="FE96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5" name="Forma Livre: Forma 284">
                <a:extLst>
                  <a:ext uri="{FF2B5EF4-FFF2-40B4-BE49-F238E27FC236}">
                    <a16:creationId xmlns:a16="http://schemas.microsoft.com/office/drawing/2014/main" id="{C1B56EAD-52E7-8CD4-BFEA-496827339474}"/>
                  </a:ext>
                </a:extLst>
              </p:cNvPr>
              <p:cNvSpPr/>
              <p:nvPr/>
            </p:nvSpPr>
            <p:spPr>
              <a:xfrm>
                <a:off x="13003256" y="8464550"/>
                <a:ext cx="9525" cy="19050"/>
              </a:xfrm>
              <a:custGeom>
                <a:avLst/>
                <a:gdLst>
                  <a:gd name="connsiteX0" fmla="*/ 0 w 0"/>
                  <a:gd name="connsiteY0" fmla="*/ 0 h 19050"/>
                  <a:gd name="connsiteX1" fmla="*/ 0 w 0"/>
                  <a:gd name="connsiteY1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19050">
                    <a:moveTo>
                      <a:pt x="0" y="0"/>
                    </a:moveTo>
                    <a:lnTo>
                      <a:pt x="0" y="19050"/>
                    </a:lnTo>
                  </a:path>
                </a:pathLst>
              </a:custGeom>
              <a:ln w="19050" cap="rnd">
                <a:solidFill>
                  <a:srgbClr val="FE96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6" name="Forma Livre: Forma 285">
                <a:extLst>
                  <a:ext uri="{FF2B5EF4-FFF2-40B4-BE49-F238E27FC236}">
                    <a16:creationId xmlns:a16="http://schemas.microsoft.com/office/drawing/2014/main" id="{B0AF1D20-982F-75DD-2436-72662E22596E}"/>
                  </a:ext>
                </a:extLst>
              </p:cNvPr>
              <p:cNvSpPr/>
              <p:nvPr/>
            </p:nvSpPr>
            <p:spPr>
              <a:xfrm>
                <a:off x="12975443" y="8369300"/>
                <a:ext cx="47625" cy="85725"/>
              </a:xfrm>
              <a:custGeom>
                <a:avLst/>
                <a:gdLst>
                  <a:gd name="connsiteX0" fmla="*/ 0 w 47625"/>
                  <a:gd name="connsiteY0" fmla="*/ 28194 h 85725"/>
                  <a:gd name="connsiteX1" fmla="*/ 28194 w 47625"/>
                  <a:gd name="connsiteY1" fmla="*/ 0 h 85725"/>
                  <a:gd name="connsiteX2" fmla="*/ 56388 w 47625"/>
                  <a:gd name="connsiteY2" fmla="*/ 28194 h 85725"/>
                  <a:gd name="connsiteX3" fmla="*/ 42291 w 47625"/>
                  <a:gd name="connsiteY3" fmla="*/ 54197 h 85725"/>
                  <a:gd name="connsiteX4" fmla="*/ 28670 w 47625"/>
                  <a:gd name="connsiteY4" fmla="*/ 85725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625" h="85725">
                    <a:moveTo>
                      <a:pt x="0" y="28194"/>
                    </a:moveTo>
                    <a:cubicBezTo>
                      <a:pt x="0" y="11239"/>
                      <a:pt x="11240" y="0"/>
                      <a:pt x="28194" y="0"/>
                    </a:cubicBezTo>
                    <a:cubicBezTo>
                      <a:pt x="44767" y="0"/>
                      <a:pt x="56388" y="11621"/>
                      <a:pt x="56388" y="28194"/>
                    </a:cubicBezTo>
                    <a:cubicBezTo>
                      <a:pt x="56388" y="37910"/>
                      <a:pt x="49339" y="48578"/>
                      <a:pt x="42291" y="54197"/>
                    </a:cubicBezTo>
                    <a:cubicBezTo>
                      <a:pt x="30766" y="63437"/>
                      <a:pt x="28670" y="70961"/>
                      <a:pt x="28670" y="85725"/>
                    </a:cubicBezTo>
                  </a:path>
                </a:pathLst>
              </a:custGeom>
              <a:noFill/>
              <a:ln w="19050" cap="rnd">
                <a:solidFill>
                  <a:srgbClr val="FE96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87" name="Retângulo 286">
              <a:extLst>
                <a:ext uri="{FF2B5EF4-FFF2-40B4-BE49-F238E27FC236}">
                  <a16:creationId xmlns:a16="http://schemas.microsoft.com/office/drawing/2014/main" id="{3350D7FB-4A71-74FF-7D49-E246800704E0}"/>
                </a:ext>
              </a:extLst>
            </p:cNvPr>
            <p:cNvSpPr/>
            <p:nvPr/>
          </p:nvSpPr>
          <p:spPr>
            <a:xfrm>
              <a:off x="8535689" y="4045056"/>
              <a:ext cx="1904582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200" b="0" i="0" u="none" strike="noStrike" kern="0" cap="none" spc="0" normalizeH="0" baseline="0" noProof="0">
                  <a:ln>
                    <a:noFill/>
                  </a:ln>
                  <a:solidFill>
                    <a:srgbClr val="FE9600"/>
                  </a:solidFill>
                  <a:effectLst/>
                  <a:uLnTx/>
                  <a:uFillTx/>
                  <a:latin typeface="Itau Display Pro App" panose="020B0503020204020204" pitchFamily="34" charset="0"/>
                  <a:ea typeface="+mn-ea"/>
                  <a:cs typeface="Itau Display Pro App" panose="020B0503020204020204" pitchFamily="34" charset="0"/>
                </a:rPr>
                <a:t>Pesquisa Quant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200" b="0" i="0" u="none" strike="noStrike" kern="0" cap="none" spc="0" normalizeH="0" baseline="0" noProof="0">
                  <a:ln>
                    <a:noFill/>
                  </a:ln>
                  <a:solidFill>
                    <a:srgbClr val="FE9600"/>
                  </a:solidFill>
                  <a:effectLst/>
                  <a:uLnTx/>
                  <a:uFillTx/>
                  <a:latin typeface="Itau Display Pro App" panose="020B0503020204020204" pitchFamily="34" charset="0"/>
                  <a:ea typeface="+mn-ea"/>
                  <a:cs typeface="Itau Display Pro App" panose="020B0503020204020204" pitchFamily="34" charset="0"/>
                </a:rPr>
                <a:t>(UX)</a:t>
              </a:r>
            </a:p>
          </p:txBody>
        </p:sp>
      </p:grpSp>
      <p:sp>
        <p:nvSpPr>
          <p:cNvPr id="307" name="Elipse 306">
            <a:extLst>
              <a:ext uri="{FF2B5EF4-FFF2-40B4-BE49-F238E27FC236}">
                <a16:creationId xmlns:a16="http://schemas.microsoft.com/office/drawing/2014/main" id="{251B2C21-952F-F24E-D248-8D2FCC0E7B31}"/>
              </a:ext>
            </a:extLst>
          </p:cNvPr>
          <p:cNvSpPr/>
          <p:nvPr/>
        </p:nvSpPr>
        <p:spPr>
          <a:xfrm>
            <a:off x="10239044" y="3489756"/>
            <a:ext cx="1440000" cy="1440000"/>
          </a:xfrm>
          <a:prstGeom prst="ellipse">
            <a:avLst/>
          </a:prstGeom>
          <a:solidFill>
            <a:schemeClr val="bg1"/>
          </a:solidFill>
          <a:ln w="3175">
            <a:solidFill>
              <a:srgbClr val="FEBB5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88" name="Agrupar 287">
            <a:extLst>
              <a:ext uri="{FF2B5EF4-FFF2-40B4-BE49-F238E27FC236}">
                <a16:creationId xmlns:a16="http://schemas.microsoft.com/office/drawing/2014/main" id="{9EE20C46-B701-B7A6-11C6-7F28707EFA62}"/>
              </a:ext>
            </a:extLst>
          </p:cNvPr>
          <p:cNvGrpSpPr>
            <a:grpSpLocks noChangeAspect="1"/>
          </p:cNvGrpSpPr>
          <p:nvPr/>
        </p:nvGrpSpPr>
        <p:grpSpPr>
          <a:xfrm>
            <a:off x="10723336" y="3783945"/>
            <a:ext cx="435790" cy="360000"/>
            <a:chOff x="2809240" y="2032317"/>
            <a:chExt cx="438150" cy="361950"/>
          </a:xfrm>
        </p:grpSpPr>
        <p:sp>
          <p:nvSpPr>
            <p:cNvPr id="289" name="Forma Livre: Forma 288">
              <a:extLst>
                <a:ext uri="{FF2B5EF4-FFF2-40B4-BE49-F238E27FC236}">
                  <a16:creationId xmlns:a16="http://schemas.microsoft.com/office/drawing/2014/main" id="{6D67AB28-BF8E-53EA-CA46-97D78B118773}"/>
                </a:ext>
              </a:extLst>
            </p:cNvPr>
            <p:cNvSpPr/>
            <p:nvPr/>
          </p:nvSpPr>
          <p:spPr>
            <a:xfrm>
              <a:off x="2809240" y="2032317"/>
              <a:ext cx="276225" cy="295275"/>
            </a:xfrm>
            <a:custGeom>
              <a:avLst/>
              <a:gdLst>
                <a:gd name="connsiteX0" fmla="*/ 38100 w 276225"/>
                <a:gd name="connsiteY0" fmla="*/ 0 h 295275"/>
                <a:gd name="connsiteX1" fmla="*/ 238125 w 276225"/>
                <a:gd name="connsiteY1" fmla="*/ 0 h 295275"/>
                <a:gd name="connsiteX2" fmla="*/ 276225 w 276225"/>
                <a:gd name="connsiteY2" fmla="*/ 38100 h 295275"/>
                <a:gd name="connsiteX3" fmla="*/ 276225 w 276225"/>
                <a:gd name="connsiteY3" fmla="*/ 190500 h 295275"/>
                <a:gd name="connsiteX4" fmla="*/ 238125 w 276225"/>
                <a:gd name="connsiteY4" fmla="*/ 228600 h 295275"/>
                <a:gd name="connsiteX5" fmla="*/ 140017 w 276225"/>
                <a:gd name="connsiteY5" fmla="*/ 228600 h 295275"/>
                <a:gd name="connsiteX6" fmla="*/ 73533 w 276225"/>
                <a:gd name="connsiteY6" fmla="*/ 297371 h 295275"/>
                <a:gd name="connsiteX7" fmla="*/ 57150 w 276225"/>
                <a:gd name="connsiteY7" fmla="*/ 290798 h 295275"/>
                <a:gd name="connsiteX8" fmla="*/ 57150 w 276225"/>
                <a:gd name="connsiteY8" fmla="*/ 228600 h 295275"/>
                <a:gd name="connsiteX9" fmla="*/ 38100 w 276225"/>
                <a:gd name="connsiteY9" fmla="*/ 228600 h 295275"/>
                <a:gd name="connsiteX10" fmla="*/ 0 w 276225"/>
                <a:gd name="connsiteY10" fmla="*/ 190500 h 295275"/>
                <a:gd name="connsiteX11" fmla="*/ 0 w 276225"/>
                <a:gd name="connsiteY11" fmla="*/ 38100 h 295275"/>
                <a:gd name="connsiteX12" fmla="*/ 38100 w 276225"/>
                <a:gd name="connsiteY12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6225" h="295275">
                  <a:moveTo>
                    <a:pt x="38100" y="0"/>
                  </a:moveTo>
                  <a:lnTo>
                    <a:pt x="238125" y="0"/>
                  </a:lnTo>
                  <a:cubicBezTo>
                    <a:pt x="259175" y="0"/>
                    <a:pt x="276225" y="17050"/>
                    <a:pt x="276225" y="38100"/>
                  </a:cubicBezTo>
                  <a:lnTo>
                    <a:pt x="276225" y="190500"/>
                  </a:lnTo>
                  <a:cubicBezTo>
                    <a:pt x="276225" y="211550"/>
                    <a:pt x="259175" y="228600"/>
                    <a:pt x="238125" y="228600"/>
                  </a:cubicBezTo>
                  <a:lnTo>
                    <a:pt x="140017" y="228600"/>
                  </a:lnTo>
                  <a:lnTo>
                    <a:pt x="73533" y="297371"/>
                  </a:lnTo>
                  <a:cubicBezTo>
                    <a:pt x="67628" y="303562"/>
                    <a:pt x="57150" y="299275"/>
                    <a:pt x="57150" y="290798"/>
                  </a:cubicBezTo>
                  <a:lnTo>
                    <a:pt x="57150" y="228600"/>
                  </a:lnTo>
                  <a:lnTo>
                    <a:pt x="38100" y="228600"/>
                  </a:lnTo>
                  <a:cubicBezTo>
                    <a:pt x="17050" y="228600"/>
                    <a:pt x="0" y="211550"/>
                    <a:pt x="0" y="190500"/>
                  </a:cubicBezTo>
                  <a:lnTo>
                    <a:pt x="0" y="38100"/>
                  </a:lnTo>
                  <a:cubicBezTo>
                    <a:pt x="0" y="17050"/>
                    <a:pt x="17050" y="0"/>
                    <a:pt x="38100" y="0"/>
                  </a:cubicBezTo>
                  <a:close/>
                </a:path>
              </a:pathLst>
            </a:custGeom>
            <a:noFill/>
            <a:ln w="19050" cap="rnd">
              <a:solidFill>
                <a:srgbClr val="FEBB5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0" name="Forma Livre: Forma 289">
              <a:extLst>
                <a:ext uri="{FF2B5EF4-FFF2-40B4-BE49-F238E27FC236}">
                  <a16:creationId xmlns:a16="http://schemas.microsoft.com/office/drawing/2014/main" id="{9139084A-EEC0-07D8-ACF7-4F1A0D075188}"/>
                </a:ext>
              </a:extLst>
            </p:cNvPr>
            <p:cNvSpPr/>
            <p:nvPr/>
          </p:nvSpPr>
          <p:spPr>
            <a:xfrm>
              <a:off x="2990215" y="2098992"/>
              <a:ext cx="257175" cy="295275"/>
            </a:xfrm>
            <a:custGeom>
              <a:avLst/>
              <a:gdLst>
                <a:gd name="connsiteX0" fmla="*/ 0 w 257175"/>
                <a:gd name="connsiteY0" fmla="*/ 161925 h 295275"/>
                <a:gd name="connsiteX1" fmla="*/ 0 w 257175"/>
                <a:gd name="connsiteY1" fmla="*/ 190500 h 295275"/>
                <a:gd name="connsiteX2" fmla="*/ 38100 w 257175"/>
                <a:gd name="connsiteY2" fmla="*/ 228600 h 295275"/>
                <a:gd name="connsiteX3" fmla="*/ 126683 w 257175"/>
                <a:gd name="connsiteY3" fmla="*/ 228600 h 295275"/>
                <a:gd name="connsiteX4" fmla="*/ 193167 w 257175"/>
                <a:gd name="connsiteY4" fmla="*/ 297371 h 295275"/>
                <a:gd name="connsiteX5" fmla="*/ 209550 w 257175"/>
                <a:gd name="connsiteY5" fmla="*/ 290798 h 295275"/>
                <a:gd name="connsiteX6" fmla="*/ 209550 w 257175"/>
                <a:gd name="connsiteY6" fmla="*/ 228600 h 295275"/>
                <a:gd name="connsiteX7" fmla="*/ 219075 w 257175"/>
                <a:gd name="connsiteY7" fmla="*/ 228600 h 295275"/>
                <a:gd name="connsiteX8" fmla="*/ 257175 w 257175"/>
                <a:gd name="connsiteY8" fmla="*/ 190500 h 295275"/>
                <a:gd name="connsiteX9" fmla="*/ 257175 w 257175"/>
                <a:gd name="connsiteY9" fmla="*/ 38100 h 295275"/>
                <a:gd name="connsiteX10" fmla="*/ 219075 w 257175"/>
                <a:gd name="connsiteY10" fmla="*/ 0 h 295275"/>
                <a:gd name="connsiteX11" fmla="*/ 95250 w 257175"/>
                <a:gd name="connsiteY11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7175" h="295275">
                  <a:moveTo>
                    <a:pt x="0" y="161925"/>
                  </a:moveTo>
                  <a:lnTo>
                    <a:pt x="0" y="190500"/>
                  </a:lnTo>
                  <a:cubicBezTo>
                    <a:pt x="0" y="211550"/>
                    <a:pt x="17050" y="228600"/>
                    <a:pt x="38100" y="228600"/>
                  </a:cubicBezTo>
                  <a:lnTo>
                    <a:pt x="126683" y="228600"/>
                  </a:lnTo>
                  <a:lnTo>
                    <a:pt x="193167" y="297371"/>
                  </a:lnTo>
                  <a:cubicBezTo>
                    <a:pt x="199072" y="303562"/>
                    <a:pt x="209550" y="299275"/>
                    <a:pt x="209550" y="290798"/>
                  </a:cubicBezTo>
                  <a:lnTo>
                    <a:pt x="209550" y="228600"/>
                  </a:lnTo>
                  <a:lnTo>
                    <a:pt x="219075" y="228600"/>
                  </a:lnTo>
                  <a:cubicBezTo>
                    <a:pt x="240125" y="228600"/>
                    <a:pt x="257175" y="211550"/>
                    <a:pt x="257175" y="190500"/>
                  </a:cubicBezTo>
                  <a:lnTo>
                    <a:pt x="257175" y="38100"/>
                  </a:lnTo>
                  <a:cubicBezTo>
                    <a:pt x="257175" y="17050"/>
                    <a:pt x="240125" y="0"/>
                    <a:pt x="219075" y="0"/>
                  </a:cubicBezTo>
                  <a:lnTo>
                    <a:pt x="95250" y="0"/>
                  </a:lnTo>
                </a:path>
              </a:pathLst>
            </a:custGeom>
            <a:noFill/>
            <a:ln w="19050" cap="rnd">
              <a:solidFill>
                <a:srgbClr val="FEBB5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1" name="Forma Livre: Forma 290">
              <a:extLst>
                <a:ext uri="{FF2B5EF4-FFF2-40B4-BE49-F238E27FC236}">
                  <a16:creationId xmlns:a16="http://schemas.microsoft.com/office/drawing/2014/main" id="{AF5D7445-F780-F08A-163B-2E4D9F99C997}"/>
                </a:ext>
              </a:extLst>
            </p:cNvPr>
            <p:cNvSpPr/>
            <p:nvPr/>
          </p:nvSpPr>
          <p:spPr>
            <a:xfrm>
              <a:off x="2990215" y="2098992"/>
              <a:ext cx="66675" cy="133350"/>
            </a:xfrm>
            <a:custGeom>
              <a:avLst/>
              <a:gdLst>
                <a:gd name="connsiteX0" fmla="*/ 66675 w 66675"/>
                <a:gd name="connsiteY0" fmla="*/ 0 h 133350"/>
                <a:gd name="connsiteX1" fmla="*/ 38100 w 66675"/>
                <a:gd name="connsiteY1" fmla="*/ 0 h 133350"/>
                <a:gd name="connsiteX2" fmla="*/ 0 w 66675"/>
                <a:gd name="connsiteY2" fmla="*/ 38100 h 133350"/>
                <a:gd name="connsiteX3" fmla="*/ 0 w 66675"/>
                <a:gd name="connsiteY3" fmla="*/ 13335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5" h="133350">
                  <a:moveTo>
                    <a:pt x="66675" y="0"/>
                  </a:moveTo>
                  <a:lnTo>
                    <a:pt x="38100" y="0"/>
                  </a:lnTo>
                  <a:cubicBezTo>
                    <a:pt x="17050" y="0"/>
                    <a:pt x="0" y="17050"/>
                    <a:pt x="0" y="38100"/>
                  </a:cubicBezTo>
                  <a:lnTo>
                    <a:pt x="0" y="133350"/>
                  </a:lnTo>
                </a:path>
              </a:pathLst>
            </a:custGeom>
            <a:noFill/>
            <a:ln w="19050" cap="rnd">
              <a:solidFill>
                <a:srgbClr val="FEBB5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92" name="Retângulo 291">
            <a:extLst>
              <a:ext uri="{FF2B5EF4-FFF2-40B4-BE49-F238E27FC236}">
                <a16:creationId xmlns:a16="http://schemas.microsoft.com/office/drawing/2014/main" id="{9D02B220-09B4-8C1B-1AFF-A02076DAE06D}"/>
              </a:ext>
            </a:extLst>
          </p:cNvPr>
          <p:cNvSpPr/>
          <p:nvPr/>
        </p:nvSpPr>
        <p:spPr>
          <a:xfrm>
            <a:off x="10006753" y="4153774"/>
            <a:ext cx="190458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200" kern="0" dirty="0">
                <a:solidFill>
                  <a:srgbClr val="FE9600"/>
                </a:solidFill>
                <a:latin typeface="Itau Display Pro App" panose="020B0503020204020204" pitchFamily="34" charset="0"/>
              </a:rPr>
              <a:t>Pesquisa </a:t>
            </a:r>
            <a:r>
              <a:rPr lang="pt-BR" sz="1200" kern="0" dirty="0" err="1">
                <a:solidFill>
                  <a:srgbClr val="FE9600"/>
                </a:solidFill>
                <a:latin typeface="Itau Display Pro App" panose="020B0503020204020204" pitchFamily="34" charset="0"/>
              </a:rPr>
              <a:t>Quali</a:t>
            </a:r>
            <a:r>
              <a:rPr lang="pt-BR" sz="1200" kern="0" dirty="0">
                <a:solidFill>
                  <a:srgbClr val="FE9600"/>
                </a:solidFill>
                <a:latin typeface="Itau Display Pro App" panose="020B0503020204020204" pitchFamily="34" charset="0"/>
              </a:rPr>
              <a:t> </a:t>
            </a:r>
          </a:p>
          <a:p>
            <a:pPr algn="ctr"/>
            <a:r>
              <a:rPr lang="pt-BR" sz="1200" kern="0" dirty="0">
                <a:solidFill>
                  <a:srgbClr val="FE9600"/>
                </a:solidFill>
                <a:latin typeface="Itau Display Pro App" panose="020B0503020204020204" pitchFamily="34" charset="0"/>
              </a:rPr>
              <a:t>(UX)</a:t>
            </a:r>
          </a:p>
        </p:txBody>
      </p:sp>
      <p:sp>
        <p:nvSpPr>
          <p:cNvPr id="7" name="Forma Livre: Forma 6">
            <a:extLst>
              <a:ext uri="{FF2B5EF4-FFF2-40B4-BE49-F238E27FC236}">
                <a16:creationId xmlns:a16="http://schemas.microsoft.com/office/drawing/2014/main" id="{B9868539-F8DD-0F5A-D074-3B3444832A6E}"/>
              </a:ext>
            </a:extLst>
          </p:cNvPr>
          <p:cNvSpPr/>
          <p:nvPr/>
        </p:nvSpPr>
        <p:spPr>
          <a:xfrm flipH="1">
            <a:off x="8292546" y="488046"/>
            <a:ext cx="4675486" cy="1596053"/>
          </a:xfrm>
          <a:custGeom>
            <a:avLst/>
            <a:gdLst>
              <a:gd name="connsiteX0" fmla="*/ 0 w 1632413"/>
              <a:gd name="connsiteY0" fmla="*/ 513070 h 513070"/>
              <a:gd name="connsiteX1" fmla="*/ 1593992 w 1632413"/>
              <a:gd name="connsiteY1" fmla="*/ 513070 h 513070"/>
              <a:gd name="connsiteX2" fmla="*/ 1593992 w 1632413"/>
              <a:gd name="connsiteY2" fmla="*/ 330133 h 513070"/>
              <a:gd name="connsiteX3" fmla="*/ 1449034 w 1632413"/>
              <a:gd name="connsiteY3" fmla="*/ 305675 h 513070"/>
              <a:gd name="connsiteX4" fmla="*/ 1389927 w 1632413"/>
              <a:gd name="connsiteY4" fmla="*/ 268292 h 513070"/>
              <a:gd name="connsiteX5" fmla="*/ 1264555 w 1632413"/>
              <a:gd name="connsiteY5" fmla="*/ 129746 h 513070"/>
              <a:gd name="connsiteX6" fmla="*/ 1095835 w 1632413"/>
              <a:gd name="connsiteY6" fmla="*/ 201430 h 513070"/>
              <a:gd name="connsiteX7" fmla="*/ 1052487 w 1632413"/>
              <a:gd name="connsiteY7" fmla="*/ 197006 h 513070"/>
              <a:gd name="connsiteX8" fmla="*/ 626064 w 1632413"/>
              <a:gd name="connsiteY8" fmla="*/ 0 h 513070"/>
              <a:gd name="connsiteX9" fmla="*/ 314474 w 1632413"/>
              <a:gd name="connsiteY9" fmla="*/ 293297 h 513070"/>
              <a:gd name="connsiteX10" fmla="*/ 291954 w 1632413"/>
              <a:gd name="connsiteY10" fmla="*/ 320389 h 513070"/>
              <a:gd name="connsiteX11" fmla="*/ 70242 w 1632413"/>
              <a:gd name="connsiteY11" fmla="*/ 330182 h 513070"/>
              <a:gd name="connsiteX12" fmla="*/ 0 w 1632413"/>
              <a:gd name="connsiteY12" fmla="*/ 513070 h 513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632413" h="513070">
                <a:moveTo>
                  <a:pt x="0" y="513070"/>
                </a:moveTo>
                <a:lnTo>
                  <a:pt x="1593992" y="513070"/>
                </a:lnTo>
                <a:cubicBezTo>
                  <a:pt x="1593992" y="513070"/>
                  <a:pt x="1680440" y="403705"/>
                  <a:pt x="1593992" y="330133"/>
                </a:cubicBezTo>
                <a:cubicBezTo>
                  <a:pt x="1546269" y="289518"/>
                  <a:pt x="1489946" y="293744"/>
                  <a:pt x="1449034" y="305675"/>
                </a:cubicBezTo>
                <a:cubicBezTo>
                  <a:pt x="1422389" y="313430"/>
                  <a:pt x="1395793" y="295484"/>
                  <a:pt x="1389927" y="268292"/>
                </a:cubicBezTo>
                <a:cubicBezTo>
                  <a:pt x="1380233" y="223353"/>
                  <a:pt x="1350357" y="164495"/>
                  <a:pt x="1264555" y="129746"/>
                </a:cubicBezTo>
                <a:cubicBezTo>
                  <a:pt x="1180146" y="95545"/>
                  <a:pt x="1126756" y="147792"/>
                  <a:pt x="1095835" y="201430"/>
                </a:cubicBezTo>
                <a:cubicBezTo>
                  <a:pt x="1085644" y="219078"/>
                  <a:pt x="1058602" y="216443"/>
                  <a:pt x="1052487" y="197006"/>
                </a:cubicBezTo>
                <a:cubicBezTo>
                  <a:pt x="1025742" y="112298"/>
                  <a:pt x="932484" y="0"/>
                  <a:pt x="626064" y="0"/>
                </a:cubicBezTo>
                <a:cubicBezTo>
                  <a:pt x="236377" y="0"/>
                  <a:pt x="279676" y="207197"/>
                  <a:pt x="314474" y="293297"/>
                </a:cubicBezTo>
                <a:cubicBezTo>
                  <a:pt x="320538" y="308260"/>
                  <a:pt x="307713" y="323720"/>
                  <a:pt x="291954" y="320389"/>
                </a:cubicBezTo>
                <a:cubicBezTo>
                  <a:pt x="231853" y="307514"/>
                  <a:pt x="120252" y="290861"/>
                  <a:pt x="70242" y="330182"/>
                </a:cubicBezTo>
                <a:cubicBezTo>
                  <a:pt x="0" y="385312"/>
                  <a:pt x="0" y="513070"/>
                  <a:pt x="0" y="51307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496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rma Livre: Forma 7">
            <a:extLst>
              <a:ext uri="{FF2B5EF4-FFF2-40B4-BE49-F238E27FC236}">
                <a16:creationId xmlns:a16="http://schemas.microsoft.com/office/drawing/2014/main" id="{C8C7ECF2-FEF6-EFB7-C7DC-97087FCDEBD7}"/>
              </a:ext>
            </a:extLst>
          </p:cNvPr>
          <p:cNvSpPr/>
          <p:nvPr/>
        </p:nvSpPr>
        <p:spPr>
          <a:xfrm flipV="1">
            <a:off x="8321273" y="1955917"/>
            <a:ext cx="4675486" cy="914075"/>
          </a:xfrm>
          <a:custGeom>
            <a:avLst/>
            <a:gdLst>
              <a:gd name="connsiteX0" fmla="*/ 0 w 1632413"/>
              <a:gd name="connsiteY0" fmla="*/ 513070 h 513070"/>
              <a:gd name="connsiteX1" fmla="*/ 1593992 w 1632413"/>
              <a:gd name="connsiteY1" fmla="*/ 513070 h 513070"/>
              <a:gd name="connsiteX2" fmla="*/ 1593992 w 1632413"/>
              <a:gd name="connsiteY2" fmla="*/ 330133 h 513070"/>
              <a:gd name="connsiteX3" fmla="*/ 1449034 w 1632413"/>
              <a:gd name="connsiteY3" fmla="*/ 305675 h 513070"/>
              <a:gd name="connsiteX4" fmla="*/ 1389927 w 1632413"/>
              <a:gd name="connsiteY4" fmla="*/ 268292 h 513070"/>
              <a:gd name="connsiteX5" fmla="*/ 1264555 w 1632413"/>
              <a:gd name="connsiteY5" fmla="*/ 129746 h 513070"/>
              <a:gd name="connsiteX6" fmla="*/ 1095835 w 1632413"/>
              <a:gd name="connsiteY6" fmla="*/ 201430 h 513070"/>
              <a:gd name="connsiteX7" fmla="*/ 1052487 w 1632413"/>
              <a:gd name="connsiteY7" fmla="*/ 197006 h 513070"/>
              <a:gd name="connsiteX8" fmla="*/ 626064 w 1632413"/>
              <a:gd name="connsiteY8" fmla="*/ 0 h 513070"/>
              <a:gd name="connsiteX9" fmla="*/ 314474 w 1632413"/>
              <a:gd name="connsiteY9" fmla="*/ 293297 h 513070"/>
              <a:gd name="connsiteX10" fmla="*/ 291954 w 1632413"/>
              <a:gd name="connsiteY10" fmla="*/ 320389 h 513070"/>
              <a:gd name="connsiteX11" fmla="*/ 70242 w 1632413"/>
              <a:gd name="connsiteY11" fmla="*/ 330182 h 513070"/>
              <a:gd name="connsiteX12" fmla="*/ 0 w 1632413"/>
              <a:gd name="connsiteY12" fmla="*/ 513070 h 513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632413" h="513070">
                <a:moveTo>
                  <a:pt x="0" y="513070"/>
                </a:moveTo>
                <a:lnTo>
                  <a:pt x="1593992" y="513070"/>
                </a:lnTo>
                <a:cubicBezTo>
                  <a:pt x="1593992" y="513070"/>
                  <a:pt x="1680440" y="403705"/>
                  <a:pt x="1593992" y="330133"/>
                </a:cubicBezTo>
                <a:cubicBezTo>
                  <a:pt x="1546269" y="289518"/>
                  <a:pt x="1489946" y="293744"/>
                  <a:pt x="1449034" y="305675"/>
                </a:cubicBezTo>
                <a:cubicBezTo>
                  <a:pt x="1422389" y="313430"/>
                  <a:pt x="1395793" y="295484"/>
                  <a:pt x="1389927" y="268292"/>
                </a:cubicBezTo>
                <a:cubicBezTo>
                  <a:pt x="1380233" y="223353"/>
                  <a:pt x="1350357" y="164495"/>
                  <a:pt x="1264555" y="129746"/>
                </a:cubicBezTo>
                <a:cubicBezTo>
                  <a:pt x="1180146" y="95545"/>
                  <a:pt x="1126756" y="147792"/>
                  <a:pt x="1095835" y="201430"/>
                </a:cubicBezTo>
                <a:cubicBezTo>
                  <a:pt x="1085644" y="219078"/>
                  <a:pt x="1058602" y="216443"/>
                  <a:pt x="1052487" y="197006"/>
                </a:cubicBezTo>
                <a:cubicBezTo>
                  <a:pt x="1025742" y="112298"/>
                  <a:pt x="932484" y="0"/>
                  <a:pt x="626064" y="0"/>
                </a:cubicBezTo>
                <a:cubicBezTo>
                  <a:pt x="236377" y="0"/>
                  <a:pt x="279676" y="207197"/>
                  <a:pt x="314474" y="293297"/>
                </a:cubicBezTo>
                <a:cubicBezTo>
                  <a:pt x="320538" y="308260"/>
                  <a:pt x="307713" y="323720"/>
                  <a:pt x="291954" y="320389"/>
                </a:cubicBezTo>
                <a:cubicBezTo>
                  <a:pt x="231853" y="307514"/>
                  <a:pt x="120252" y="290861"/>
                  <a:pt x="70242" y="330182"/>
                </a:cubicBezTo>
                <a:cubicBezTo>
                  <a:pt x="0" y="385312"/>
                  <a:pt x="0" y="513070"/>
                  <a:pt x="0" y="51307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496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9" name="Elipse 308">
            <a:extLst>
              <a:ext uri="{FF2B5EF4-FFF2-40B4-BE49-F238E27FC236}">
                <a16:creationId xmlns:a16="http://schemas.microsoft.com/office/drawing/2014/main" id="{5B44DF52-58DA-992F-3AE0-A6546E688BC7}"/>
              </a:ext>
            </a:extLst>
          </p:cNvPr>
          <p:cNvSpPr/>
          <p:nvPr/>
        </p:nvSpPr>
        <p:spPr>
          <a:xfrm>
            <a:off x="10422015" y="842431"/>
            <a:ext cx="1440000" cy="1440000"/>
          </a:xfrm>
          <a:prstGeom prst="ellipse">
            <a:avLst/>
          </a:prstGeom>
          <a:solidFill>
            <a:schemeClr val="bg1"/>
          </a:solidFill>
          <a:ln w="3175">
            <a:solidFill>
              <a:srgbClr val="FEBB5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64" name="Agrupar 263">
            <a:extLst>
              <a:ext uri="{FF2B5EF4-FFF2-40B4-BE49-F238E27FC236}">
                <a16:creationId xmlns:a16="http://schemas.microsoft.com/office/drawing/2014/main" id="{994F81CF-EB82-69B9-CCA3-647049F88CFF}"/>
              </a:ext>
            </a:extLst>
          </p:cNvPr>
          <p:cNvGrpSpPr>
            <a:grpSpLocks noChangeAspect="1"/>
          </p:cNvGrpSpPr>
          <p:nvPr/>
        </p:nvGrpSpPr>
        <p:grpSpPr>
          <a:xfrm>
            <a:off x="10968301" y="1161176"/>
            <a:ext cx="360000" cy="359999"/>
            <a:chOff x="1334586" y="1229382"/>
            <a:chExt cx="419100" cy="419100"/>
          </a:xfrm>
        </p:grpSpPr>
        <p:sp>
          <p:nvSpPr>
            <p:cNvPr id="265" name="Forma Livre: Forma 264">
              <a:extLst>
                <a:ext uri="{FF2B5EF4-FFF2-40B4-BE49-F238E27FC236}">
                  <a16:creationId xmlns:a16="http://schemas.microsoft.com/office/drawing/2014/main" id="{829D8268-326F-04FD-F8DA-EC5B573A5FEB}"/>
                </a:ext>
              </a:extLst>
            </p:cNvPr>
            <p:cNvSpPr/>
            <p:nvPr/>
          </p:nvSpPr>
          <p:spPr>
            <a:xfrm>
              <a:off x="1334586" y="1305582"/>
              <a:ext cx="419100" cy="342900"/>
            </a:xfrm>
            <a:custGeom>
              <a:avLst/>
              <a:gdLst>
                <a:gd name="connsiteX0" fmla="*/ 118967 w 419100"/>
                <a:gd name="connsiteY0" fmla="*/ 190595 h 342900"/>
                <a:gd name="connsiteX1" fmla="*/ 0 w 419100"/>
                <a:gd name="connsiteY1" fmla="*/ 266986 h 342900"/>
                <a:gd name="connsiteX2" fmla="*/ 213931 w 419100"/>
                <a:gd name="connsiteY2" fmla="*/ 352425 h 342900"/>
                <a:gd name="connsiteX3" fmla="*/ 427863 w 419100"/>
                <a:gd name="connsiteY3" fmla="*/ 266986 h 342900"/>
                <a:gd name="connsiteX4" fmla="*/ 308896 w 419100"/>
                <a:gd name="connsiteY4" fmla="*/ 190595 h 342900"/>
                <a:gd name="connsiteX5" fmla="*/ 208598 w 419100"/>
                <a:gd name="connsiteY5" fmla="*/ 0 h 342900"/>
                <a:gd name="connsiteX6" fmla="*/ 208598 w 419100"/>
                <a:gd name="connsiteY6" fmla="*/ 0 h 342900"/>
                <a:gd name="connsiteX7" fmla="*/ 208788 w 419100"/>
                <a:gd name="connsiteY7" fmla="*/ 0 h 342900"/>
                <a:gd name="connsiteX8" fmla="*/ 256413 w 419100"/>
                <a:gd name="connsiteY8" fmla="*/ 47530 h 342900"/>
                <a:gd name="connsiteX9" fmla="*/ 208883 w 419100"/>
                <a:gd name="connsiteY9" fmla="*/ 95250 h 342900"/>
                <a:gd name="connsiteX10" fmla="*/ 208693 w 419100"/>
                <a:gd name="connsiteY10" fmla="*/ 95250 h 342900"/>
                <a:gd name="connsiteX11" fmla="*/ 208502 w 419100"/>
                <a:gd name="connsiteY11" fmla="*/ 95250 h 342900"/>
                <a:gd name="connsiteX12" fmla="*/ 160973 w 419100"/>
                <a:gd name="connsiteY12" fmla="*/ 47530 h 342900"/>
                <a:gd name="connsiteX13" fmla="*/ 208598 w 419100"/>
                <a:gd name="connsiteY13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19100" h="342900">
                  <a:moveTo>
                    <a:pt x="118967" y="190595"/>
                  </a:moveTo>
                  <a:cubicBezTo>
                    <a:pt x="48482" y="204692"/>
                    <a:pt x="0" y="233553"/>
                    <a:pt x="0" y="266986"/>
                  </a:cubicBezTo>
                  <a:cubicBezTo>
                    <a:pt x="0" y="314039"/>
                    <a:pt x="95726" y="352235"/>
                    <a:pt x="213931" y="352425"/>
                  </a:cubicBezTo>
                  <a:cubicBezTo>
                    <a:pt x="332137" y="352235"/>
                    <a:pt x="427863" y="314039"/>
                    <a:pt x="427863" y="266986"/>
                  </a:cubicBezTo>
                  <a:cubicBezTo>
                    <a:pt x="427863" y="233553"/>
                    <a:pt x="379381" y="204692"/>
                    <a:pt x="308896" y="190595"/>
                  </a:cubicBezTo>
                  <a:moveTo>
                    <a:pt x="208598" y="0"/>
                  </a:moveTo>
                  <a:cubicBezTo>
                    <a:pt x="208598" y="0"/>
                    <a:pt x="208598" y="0"/>
                    <a:pt x="208598" y="0"/>
                  </a:cubicBezTo>
                  <a:cubicBezTo>
                    <a:pt x="208693" y="0"/>
                    <a:pt x="208693" y="0"/>
                    <a:pt x="208788" y="0"/>
                  </a:cubicBezTo>
                  <a:cubicBezTo>
                    <a:pt x="235077" y="0"/>
                    <a:pt x="256413" y="21241"/>
                    <a:pt x="256413" y="47530"/>
                  </a:cubicBezTo>
                  <a:cubicBezTo>
                    <a:pt x="256413" y="73819"/>
                    <a:pt x="235172" y="95155"/>
                    <a:pt x="208883" y="95250"/>
                  </a:cubicBezTo>
                  <a:cubicBezTo>
                    <a:pt x="208788" y="95250"/>
                    <a:pt x="208788" y="95250"/>
                    <a:pt x="208693" y="95250"/>
                  </a:cubicBezTo>
                  <a:cubicBezTo>
                    <a:pt x="208598" y="95250"/>
                    <a:pt x="208598" y="95250"/>
                    <a:pt x="208502" y="95250"/>
                  </a:cubicBezTo>
                  <a:cubicBezTo>
                    <a:pt x="182213" y="95250"/>
                    <a:pt x="160973" y="73819"/>
                    <a:pt x="160973" y="47530"/>
                  </a:cubicBezTo>
                  <a:cubicBezTo>
                    <a:pt x="160973" y="21241"/>
                    <a:pt x="182309" y="0"/>
                    <a:pt x="208598" y="0"/>
                  </a:cubicBezTo>
                  <a:close/>
                </a:path>
              </a:pathLst>
            </a:custGeom>
            <a:noFill/>
            <a:ln w="19050" cap="rnd">
              <a:solidFill>
                <a:srgbClr val="FEBB5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6" name="Forma Livre: Forma 265">
              <a:extLst>
                <a:ext uri="{FF2B5EF4-FFF2-40B4-BE49-F238E27FC236}">
                  <a16:creationId xmlns:a16="http://schemas.microsoft.com/office/drawing/2014/main" id="{E6D4CC26-7B66-8D08-1F67-058B14099FCD}"/>
                </a:ext>
              </a:extLst>
            </p:cNvPr>
            <p:cNvSpPr/>
            <p:nvPr/>
          </p:nvSpPr>
          <p:spPr>
            <a:xfrm>
              <a:off x="1419548" y="1229382"/>
              <a:ext cx="247650" cy="342900"/>
            </a:xfrm>
            <a:custGeom>
              <a:avLst/>
              <a:gdLst>
                <a:gd name="connsiteX0" fmla="*/ 123826 w 247650"/>
                <a:gd name="connsiteY0" fmla="*/ 0 h 342900"/>
                <a:gd name="connsiteX1" fmla="*/ 247651 w 247650"/>
                <a:gd name="connsiteY1" fmla="*/ 123825 h 342900"/>
                <a:gd name="connsiteX2" fmla="*/ 226506 w 247650"/>
                <a:gd name="connsiteY2" fmla="*/ 200787 h 342900"/>
                <a:gd name="connsiteX3" fmla="*/ 123826 w 247650"/>
                <a:gd name="connsiteY3" fmla="*/ 352425 h 342900"/>
                <a:gd name="connsiteX4" fmla="*/ 21147 w 247650"/>
                <a:gd name="connsiteY4" fmla="*/ 200787 h 342900"/>
                <a:gd name="connsiteX5" fmla="*/ 1 w 247650"/>
                <a:gd name="connsiteY5" fmla="*/ 123825 h 342900"/>
                <a:gd name="connsiteX6" fmla="*/ 123826 w 247650"/>
                <a:gd name="connsiteY6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7650" h="342900">
                  <a:moveTo>
                    <a:pt x="123826" y="0"/>
                  </a:moveTo>
                  <a:cubicBezTo>
                    <a:pt x="192216" y="0"/>
                    <a:pt x="247651" y="55436"/>
                    <a:pt x="247651" y="123825"/>
                  </a:cubicBezTo>
                  <a:cubicBezTo>
                    <a:pt x="247651" y="153448"/>
                    <a:pt x="243270" y="173927"/>
                    <a:pt x="226506" y="200787"/>
                  </a:cubicBezTo>
                  <a:cubicBezTo>
                    <a:pt x="209742" y="227648"/>
                    <a:pt x="123826" y="352425"/>
                    <a:pt x="123826" y="352425"/>
                  </a:cubicBezTo>
                  <a:cubicBezTo>
                    <a:pt x="123826" y="352425"/>
                    <a:pt x="38006" y="227648"/>
                    <a:pt x="21147" y="200787"/>
                  </a:cubicBezTo>
                  <a:cubicBezTo>
                    <a:pt x="4383" y="173927"/>
                    <a:pt x="-94" y="153353"/>
                    <a:pt x="1" y="123825"/>
                  </a:cubicBezTo>
                  <a:cubicBezTo>
                    <a:pt x="1" y="55436"/>
                    <a:pt x="55437" y="0"/>
                    <a:pt x="123826" y="0"/>
                  </a:cubicBezTo>
                  <a:close/>
                </a:path>
              </a:pathLst>
            </a:custGeom>
            <a:noFill/>
            <a:ln w="19050" cap="rnd">
              <a:solidFill>
                <a:srgbClr val="FEBB5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67" name="Retângulo 266">
            <a:extLst>
              <a:ext uri="{FF2B5EF4-FFF2-40B4-BE49-F238E27FC236}">
                <a16:creationId xmlns:a16="http://schemas.microsoft.com/office/drawing/2014/main" id="{9C316DEE-5910-AA32-A25D-EC2F534E02CE}"/>
              </a:ext>
            </a:extLst>
          </p:cNvPr>
          <p:cNvSpPr/>
          <p:nvPr/>
        </p:nvSpPr>
        <p:spPr>
          <a:xfrm>
            <a:off x="10196010" y="1544752"/>
            <a:ext cx="190458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200" kern="0" dirty="0" err="1">
                <a:solidFill>
                  <a:srgbClr val="FE9600"/>
                </a:solidFill>
                <a:latin typeface="Itau Display Pro App" panose="020B0503020204020204" pitchFamily="34" charset="0"/>
              </a:rPr>
              <a:t>Ituber</a:t>
            </a:r>
            <a:r>
              <a:rPr lang="pt-BR" sz="1200" kern="0" dirty="0">
                <a:solidFill>
                  <a:srgbClr val="FE9600"/>
                </a:solidFill>
                <a:latin typeface="Itau Display Pro App" panose="020B0503020204020204" pitchFamily="34" charset="0"/>
              </a:rPr>
              <a:t> Visita</a:t>
            </a:r>
          </a:p>
        </p:txBody>
      </p:sp>
      <p:sp>
        <p:nvSpPr>
          <p:cNvPr id="310" name="Elipse 309">
            <a:extLst>
              <a:ext uri="{FF2B5EF4-FFF2-40B4-BE49-F238E27FC236}">
                <a16:creationId xmlns:a16="http://schemas.microsoft.com/office/drawing/2014/main" id="{D936716F-7851-AD26-43CB-BAD66E31851D}"/>
              </a:ext>
            </a:extLst>
          </p:cNvPr>
          <p:cNvSpPr/>
          <p:nvPr/>
        </p:nvSpPr>
        <p:spPr>
          <a:xfrm>
            <a:off x="8942955" y="1168947"/>
            <a:ext cx="1440000" cy="1440000"/>
          </a:xfrm>
          <a:prstGeom prst="ellipse">
            <a:avLst/>
          </a:prstGeom>
          <a:solidFill>
            <a:schemeClr val="bg1"/>
          </a:solidFill>
          <a:ln w="3175">
            <a:solidFill>
              <a:srgbClr val="FEBB5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58" name="Agrupar 257">
            <a:extLst>
              <a:ext uri="{FF2B5EF4-FFF2-40B4-BE49-F238E27FC236}">
                <a16:creationId xmlns:a16="http://schemas.microsoft.com/office/drawing/2014/main" id="{F3EE4FB5-F15E-8593-3D84-BB30F7C46829}"/>
              </a:ext>
            </a:extLst>
          </p:cNvPr>
          <p:cNvGrpSpPr>
            <a:grpSpLocks noChangeAspect="1"/>
          </p:cNvGrpSpPr>
          <p:nvPr/>
        </p:nvGrpSpPr>
        <p:grpSpPr>
          <a:xfrm>
            <a:off x="9469232" y="1552344"/>
            <a:ext cx="360000" cy="360000"/>
            <a:chOff x="2925300" y="2776843"/>
            <a:chExt cx="390525" cy="390525"/>
          </a:xfrm>
        </p:grpSpPr>
        <p:sp>
          <p:nvSpPr>
            <p:cNvPr id="259" name="Forma Livre: Forma 258">
              <a:extLst>
                <a:ext uri="{FF2B5EF4-FFF2-40B4-BE49-F238E27FC236}">
                  <a16:creationId xmlns:a16="http://schemas.microsoft.com/office/drawing/2014/main" id="{A07CC8B8-9226-7493-43A3-9350B05D9A88}"/>
                </a:ext>
              </a:extLst>
            </p:cNvPr>
            <p:cNvSpPr/>
            <p:nvPr/>
          </p:nvSpPr>
          <p:spPr>
            <a:xfrm>
              <a:off x="2925300" y="2776843"/>
              <a:ext cx="390525" cy="390525"/>
            </a:xfrm>
            <a:custGeom>
              <a:avLst/>
              <a:gdLst>
                <a:gd name="connsiteX0" fmla="*/ 122492 w 390525"/>
                <a:gd name="connsiteY0" fmla="*/ 268034 h 390525"/>
                <a:gd name="connsiteX1" fmla="*/ 352234 w 390525"/>
                <a:gd name="connsiteY1" fmla="*/ 390525 h 390525"/>
                <a:gd name="connsiteX2" fmla="*/ 390525 w 390525"/>
                <a:gd name="connsiteY2" fmla="*/ 306324 h 390525"/>
                <a:gd name="connsiteX3" fmla="*/ 298609 w 390525"/>
                <a:gd name="connsiteY3" fmla="*/ 245078 h 390525"/>
                <a:gd name="connsiteX4" fmla="*/ 260318 w 390525"/>
                <a:gd name="connsiteY4" fmla="*/ 283369 h 390525"/>
                <a:gd name="connsiteX5" fmla="*/ 168402 w 390525"/>
                <a:gd name="connsiteY5" fmla="*/ 222123 h 390525"/>
                <a:gd name="connsiteX6" fmla="*/ 107156 w 390525"/>
                <a:gd name="connsiteY6" fmla="*/ 130207 h 390525"/>
                <a:gd name="connsiteX7" fmla="*/ 145447 w 390525"/>
                <a:gd name="connsiteY7" fmla="*/ 91916 h 390525"/>
                <a:gd name="connsiteX8" fmla="*/ 84201 w 390525"/>
                <a:gd name="connsiteY8" fmla="*/ 0 h 390525"/>
                <a:gd name="connsiteX9" fmla="*/ 0 w 390525"/>
                <a:gd name="connsiteY9" fmla="*/ 38290 h 390525"/>
                <a:gd name="connsiteX10" fmla="*/ 122492 w 390525"/>
                <a:gd name="connsiteY10" fmla="*/ 268034 h 39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0525" h="390525">
                  <a:moveTo>
                    <a:pt x="122492" y="268034"/>
                  </a:moveTo>
                  <a:cubicBezTo>
                    <a:pt x="222028" y="367570"/>
                    <a:pt x="317182" y="388620"/>
                    <a:pt x="352234" y="390525"/>
                  </a:cubicBezTo>
                  <a:cubicBezTo>
                    <a:pt x="374713" y="357664"/>
                    <a:pt x="384143" y="330517"/>
                    <a:pt x="390525" y="306324"/>
                  </a:cubicBezTo>
                  <a:cubicBezTo>
                    <a:pt x="366236" y="282702"/>
                    <a:pt x="330994" y="258604"/>
                    <a:pt x="298609" y="245078"/>
                  </a:cubicBezTo>
                  <a:lnTo>
                    <a:pt x="260318" y="283369"/>
                  </a:lnTo>
                  <a:cubicBezTo>
                    <a:pt x="247269" y="279844"/>
                    <a:pt x="211360" y="264985"/>
                    <a:pt x="168402" y="222123"/>
                  </a:cubicBezTo>
                  <a:cubicBezTo>
                    <a:pt x="125444" y="179165"/>
                    <a:pt x="110680" y="143351"/>
                    <a:pt x="107156" y="130207"/>
                  </a:cubicBezTo>
                  <a:lnTo>
                    <a:pt x="145447" y="91916"/>
                  </a:lnTo>
                  <a:cubicBezTo>
                    <a:pt x="131921" y="59531"/>
                    <a:pt x="107823" y="24289"/>
                    <a:pt x="84201" y="0"/>
                  </a:cubicBezTo>
                  <a:cubicBezTo>
                    <a:pt x="59912" y="6382"/>
                    <a:pt x="32861" y="15907"/>
                    <a:pt x="0" y="38290"/>
                  </a:cubicBezTo>
                  <a:cubicBezTo>
                    <a:pt x="1905" y="73438"/>
                    <a:pt x="22955" y="168497"/>
                    <a:pt x="122492" y="268034"/>
                  </a:cubicBezTo>
                  <a:close/>
                </a:path>
              </a:pathLst>
            </a:custGeom>
            <a:noFill/>
            <a:ln w="19050" cap="rnd">
              <a:solidFill>
                <a:srgbClr val="FEBB5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0" name="Forma Livre: Forma 259">
              <a:extLst>
                <a:ext uri="{FF2B5EF4-FFF2-40B4-BE49-F238E27FC236}">
                  <a16:creationId xmlns:a16="http://schemas.microsoft.com/office/drawing/2014/main" id="{D13DAA5B-81BD-195D-1B88-263ED7A05964}"/>
                </a:ext>
              </a:extLst>
            </p:cNvPr>
            <p:cNvSpPr/>
            <p:nvPr/>
          </p:nvSpPr>
          <p:spPr>
            <a:xfrm>
              <a:off x="3138088" y="2907621"/>
              <a:ext cx="47625" cy="47625"/>
            </a:xfrm>
            <a:custGeom>
              <a:avLst/>
              <a:gdLst>
                <a:gd name="connsiteX0" fmla="*/ 0 w 47625"/>
                <a:gd name="connsiteY0" fmla="*/ 0 h 47625"/>
                <a:gd name="connsiteX1" fmla="*/ 47625 w 47625"/>
                <a:gd name="connsiteY1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5" h="47625">
                  <a:moveTo>
                    <a:pt x="0" y="0"/>
                  </a:moveTo>
                  <a:cubicBezTo>
                    <a:pt x="26289" y="0"/>
                    <a:pt x="47625" y="21336"/>
                    <a:pt x="47625" y="47625"/>
                  </a:cubicBezTo>
                </a:path>
              </a:pathLst>
            </a:custGeom>
            <a:noFill/>
            <a:ln w="19050" cap="rnd">
              <a:solidFill>
                <a:srgbClr val="FEBB5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1" name="Forma Livre: Forma 260">
              <a:extLst>
                <a:ext uri="{FF2B5EF4-FFF2-40B4-BE49-F238E27FC236}">
                  <a16:creationId xmlns:a16="http://schemas.microsoft.com/office/drawing/2014/main" id="{72F04242-F6CA-DA72-DE4E-DCA078B4E4BB}"/>
                </a:ext>
              </a:extLst>
            </p:cNvPr>
            <p:cNvSpPr/>
            <p:nvPr/>
          </p:nvSpPr>
          <p:spPr>
            <a:xfrm>
              <a:off x="3138088" y="2859996"/>
              <a:ext cx="95250" cy="95250"/>
            </a:xfrm>
            <a:custGeom>
              <a:avLst/>
              <a:gdLst>
                <a:gd name="connsiteX0" fmla="*/ 0 w 95250"/>
                <a:gd name="connsiteY0" fmla="*/ 0 h 95250"/>
                <a:gd name="connsiteX1" fmla="*/ 95250 w 95250"/>
                <a:gd name="connsiteY1" fmla="*/ 95250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0" h="95250">
                  <a:moveTo>
                    <a:pt x="0" y="0"/>
                  </a:moveTo>
                  <a:cubicBezTo>
                    <a:pt x="52578" y="0"/>
                    <a:pt x="95250" y="42672"/>
                    <a:pt x="95250" y="95250"/>
                  </a:cubicBezTo>
                </a:path>
              </a:pathLst>
            </a:custGeom>
            <a:noFill/>
            <a:ln w="19050" cap="rnd">
              <a:solidFill>
                <a:srgbClr val="FEBB5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2" name="Forma Livre: Forma 261">
              <a:extLst>
                <a:ext uri="{FF2B5EF4-FFF2-40B4-BE49-F238E27FC236}">
                  <a16:creationId xmlns:a16="http://schemas.microsoft.com/office/drawing/2014/main" id="{1DFA4699-524C-AAD1-17FF-B3F11AEB6C41}"/>
                </a:ext>
              </a:extLst>
            </p:cNvPr>
            <p:cNvSpPr/>
            <p:nvPr/>
          </p:nvSpPr>
          <p:spPr>
            <a:xfrm>
              <a:off x="3138088" y="2812371"/>
              <a:ext cx="142875" cy="142875"/>
            </a:xfrm>
            <a:custGeom>
              <a:avLst/>
              <a:gdLst>
                <a:gd name="connsiteX0" fmla="*/ 0 w 142875"/>
                <a:gd name="connsiteY0" fmla="*/ 0 h 142875"/>
                <a:gd name="connsiteX1" fmla="*/ 142875 w 142875"/>
                <a:gd name="connsiteY1" fmla="*/ 142875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2875" h="142875">
                  <a:moveTo>
                    <a:pt x="0" y="0"/>
                  </a:moveTo>
                  <a:cubicBezTo>
                    <a:pt x="78867" y="0"/>
                    <a:pt x="142875" y="64008"/>
                    <a:pt x="142875" y="142875"/>
                  </a:cubicBezTo>
                </a:path>
              </a:pathLst>
            </a:custGeom>
            <a:noFill/>
            <a:ln w="19050" cap="rnd">
              <a:solidFill>
                <a:srgbClr val="FEBB5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63" name="Retângulo 262">
            <a:extLst>
              <a:ext uri="{FF2B5EF4-FFF2-40B4-BE49-F238E27FC236}">
                <a16:creationId xmlns:a16="http://schemas.microsoft.com/office/drawing/2014/main" id="{61E01406-BB9D-948E-1D82-CAB423EFB6D4}"/>
              </a:ext>
            </a:extLst>
          </p:cNvPr>
          <p:cNvSpPr/>
          <p:nvPr/>
        </p:nvSpPr>
        <p:spPr>
          <a:xfrm>
            <a:off x="8696941" y="1982266"/>
            <a:ext cx="190458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200" kern="0" dirty="0" err="1">
                <a:solidFill>
                  <a:srgbClr val="FE9600"/>
                </a:solidFill>
                <a:latin typeface="Itau Display Pro App" panose="020B0503020204020204" pitchFamily="34" charset="0"/>
              </a:rPr>
              <a:t>Ituber</a:t>
            </a:r>
            <a:r>
              <a:rPr lang="pt-BR" sz="1200" kern="0" dirty="0">
                <a:solidFill>
                  <a:srgbClr val="FE9600"/>
                </a:solidFill>
                <a:latin typeface="Itau Display Pro App" panose="020B0503020204020204" pitchFamily="34" charset="0"/>
              </a:rPr>
              <a:t> Escuta</a:t>
            </a:r>
          </a:p>
        </p:txBody>
      </p:sp>
      <p:grpSp>
        <p:nvGrpSpPr>
          <p:cNvPr id="5" name="Agrupar 4">
            <a:extLst>
              <a:ext uri="{FF2B5EF4-FFF2-40B4-BE49-F238E27FC236}">
                <a16:creationId xmlns:a16="http://schemas.microsoft.com/office/drawing/2014/main" id="{1CAB0A17-EA7A-0D1B-48FF-C3FB33A9E1B8}"/>
              </a:ext>
            </a:extLst>
          </p:cNvPr>
          <p:cNvGrpSpPr/>
          <p:nvPr/>
        </p:nvGrpSpPr>
        <p:grpSpPr>
          <a:xfrm>
            <a:off x="3199174" y="686464"/>
            <a:ext cx="4704213" cy="2381946"/>
            <a:chOff x="3213538" y="153295"/>
            <a:chExt cx="4704213" cy="2381946"/>
          </a:xfrm>
          <a:solidFill>
            <a:schemeClr val="bg1">
              <a:lumMod val="95000"/>
            </a:schemeClr>
          </a:solidFill>
        </p:grpSpPr>
        <p:sp>
          <p:nvSpPr>
            <p:cNvPr id="3" name="Forma Livre: Forma 2">
              <a:extLst>
                <a:ext uri="{FF2B5EF4-FFF2-40B4-BE49-F238E27FC236}">
                  <a16:creationId xmlns:a16="http://schemas.microsoft.com/office/drawing/2014/main" id="{4FDC6FEF-4E07-E665-D6D4-8088BC932A80}"/>
                </a:ext>
              </a:extLst>
            </p:cNvPr>
            <p:cNvSpPr/>
            <p:nvPr/>
          </p:nvSpPr>
          <p:spPr>
            <a:xfrm>
              <a:off x="3242265" y="153295"/>
              <a:ext cx="4675486" cy="1596053"/>
            </a:xfrm>
            <a:custGeom>
              <a:avLst/>
              <a:gdLst>
                <a:gd name="connsiteX0" fmla="*/ 0 w 1632413"/>
                <a:gd name="connsiteY0" fmla="*/ 513070 h 513070"/>
                <a:gd name="connsiteX1" fmla="*/ 1593992 w 1632413"/>
                <a:gd name="connsiteY1" fmla="*/ 513070 h 513070"/>
                <a:gd name="connsiteX2" fmla="*/ 1593992 w 1632413"/>
                <a:gd name="connsiteY2" fmla="*/ 330133 h 513070"/>
                <a:gd name="connsiteX3" fmla="*/ 1449034 w 1632413"/>
                <a:gd name="connsiteY3" fmla="*/ 305675 h 513070"/>
                <a:gd name="connsiteX4" fmla="*/ 1389927 w 1632413"/>
                <a:gd name="connsiteY4" fmla="*/ 268292 h 513070"/>
                <a:gd name="connsiteX5" fmla="*/ 1264555 w 1632413"/>
                <a:gd name="connsiteY5" fmla="*/ 129746 h 513070"/>
                <a:gd name="connsiteX6" fmla="*/ 1095835 w 1632413"/>
                <a:gd name="connsiteY6" fmla="*/ 201430 h 513070"/>
                <a:gd name="connsiteX7" fmla="*/ 1052487 w 1632413"/>
                <a:gd name="connsiteY7" fmla="*/ 197006 h 513070"/>
                <a:gd name="connsiteX8" fmla="*/ 626064 w 1632413"/>
                <a:gd name="connsiteY8" fmla="*/ 0 h 513070"/>
                <a:gd name="connsiteX9" fmla="*/ 314474 w 1632413"/>
                <a:gd name="connsiteY9" fmla="*/ 293297 h 513070"/>
                <a:gd name="connsiteX10" fmla="*/ 291954 w 1632413"/>
                <a:gd name="connsiteY10" fmla="*/ 320389 h 513070"/>
                <a:gd name="connsiteX11" fmla="*/ 70242 w 1632413"/>
                <a:gd name="connsiteY11" fmla="*/ 330182 h 513070"/>
                <a:gd name="connsiteX12" fmla="*/ 0 w 1632413"/>
                <a:gd name="connsiteY12" fmla="*/ 513070 h 513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32413" h="513070">
                  <a:moveTo>
                    <a:pt x="0" y="513070"/>
                  </a:moveTo>
                  <a:lnTo>
                    <a:pt x="1593992" y="513070"/>
                  </a:lnTo>
                  <a:cubicBezTo>
                    <a:pt x="1593992" y="513070"/>
                    <a:pt x="1680440" y="403705"/>
                    <a:pt x="1593992" y="330133"/>
                  </a:cubicBezTo>
                  <a:cubicBezTo>
                    <a:pt x="1546269" y="289518"/>
                    <a:pt x="1489946" y="293744"/>
                    <a:pt x="1449034" y="305675"/>
                  </a:cubicBezTo>
                  <a:cubicBezTo>
                    <a:pt x="1422389" y="313430"/>
                    <a:pt x="1395793" y="295484"/>
                    <a:pt x="1389927" y="268292"/>
                  </a:cubicBezTo>
                  <a:cubicBezTo>
                    <a:pt x="1380233" y="223353"/>
                    <a:pt x="1350357" y="164495"/>
                    <a:pt x="1264555" y="129746"/>
                  </a:cubicBezTo>
                  <a:cubicBezTo>
                    <a:pt x="1180146" y="95545"/>
                    <a:pt x="1126756" y="147792"/>
                    <a:pt x="1095835" y="201430"/>
                  </a:cubicBezTo>
                  <a:cubicBezTo>
                    <a:pt x="1085644" y="219078"/>
                    <a:pt x="1058602" y="216443"/>
                    <a:pt x="1052487" y="197006"/>
                  </a:cubicBezTo>
                  <a:cubicBezTo>
                    <a:pt x="1025742" y="112298"/>
                    <a:pt x="932484" y="0"/>
                    <a:pt x="626064" y="0"/>
                  </a:cubicBezTo>
                  <a:cubicBezTo>
                    <a:pt x="236377" y="0"/>
                    <a:pt x="279676" y="207197"/>
                    <a:pt x="314474" y="293297"/>
                  </a:cubicBezTo>
                  <a:cubicBezTo>
                    <a:pt x="320538" y="308260"/>
                    <a:pt x="307713" y="323720"/>
                    <a:pt x="291954" y="320389"/>
                  </a:cubicBezTo>
                  <a:cubicBezTo>
                    <a:pt x="231853" y="307514"/>
                    <a:pt x="120252" y="290861"/>
                    <a:pt x="70242" y="330182"/>
                  </a:cubicBezTo>
                  <a:cubicBezTo>
                    <a:pt x="0" y="385312"/>
                    <a:pt x="0" y="513070"/>
                    <a:pt x="0" y="513070"/>
                  </a:cubicBezTo>
                  <a:close/>
                </a:path>
              </a:pathLst>
            </a:custGeom>
            <a:grpFill/>
            <a:ln w="49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" name="Forma Livre: Forma 3">
              <a:extLst>
                <a:ext uri="{FF2B5EF4-FFF2-40B4-BE49-F238E27FC236}">
                  <a16:creationId xmlns:a16="http://schemas.microsoft.com/office/drawing/2014/main" id="{1E8E02FB-0F5B-3FBF-DDF8-7A54FD6038C5}"/>
                </a:ext>
              </a:extLst>
            </p:cNvPr>
            <p:cNvSpPr/>
            <p:nvPr/>
          </p:nvSpPr>
          <p:spPr>
            <a:xfrm flipH="1" flipV="1">
              <a:off x="3213538" y="1621166"/>
              <a:ext cx="4675486" cy="914075"/>
            </a:xfrm>
            <a:custGeom>
              <a:avLst/>
              <a:gdLst>
                <a:gd name="connsiteX0" fmla="*/ 0 w 1632413"/>
                <a:gd name="connsiteY0" fmla="*/ 513070 h 513070"/>
                <a:gd name="connsiteX1" fmla="*/ 1593992 w 1632413"/>
                <a:gd name="connsiteY1" fmla="*/ 513070 h 513070"/>
                <a:gd name="connsiteX2" fmla="*/ 1593992 w 1632413"/>
                <a:gd name="connsiteY2" fmla="*/ 330133 h 513070"/>
                <a:gd name="connsiteX3" fmla="*/ 1449034 w 1632413"/>
                <a:gd name="connsiteY3" fmla="*/ 305675 h 513070"/>
                <a:gd name="connsiteX4" fmla="*/ 1389927 w 1632413"/>
                <a:gd name="connsiteY4" fmla="*/ 268292 h 513070"/>
                <a:gd name="connsiteX5" fmla="*/ 1264555 w 1632413"/>
                <a:gd name="connsiteY5" fmla="*/ 129746 h 513070"/>
                <a:gd name="connsiteX6" fmla="*/ 1095835 w 1632413"/>
                <a:gd name="connsiteY6" fmla="*/ 201430 h 513070"/>
                <a:gd name="connsiteX7" fmla="*/ 1052487 w 1632413"/>
                <a:gd name="connsiteY7" fmla="*/ 197006 h 513070"/>
                <a:gd name="connsiteX8" fmla="*/ 626064 w 1632413"/>
                <a:gd name="connsiteY8" fmla="*/ 0 h 513070"/>
                <a:gd name="connsiteX9" fmla="*/ 314474 w 1632413"/>
                <a:gd name="connsiteY9" fmla="*/ 293297 h 513070"/>
                <a:gd name="connsiteX10" fmla="*/ 291954 w 1632413"/>
                <a:gd name="connsiteY10" fmla="*/ 320389 h 513070"/>
                <a:gd name="connsiteX11" fmla="*/ 70242 w 1632413"/>
                <a:gd name="connsiteY11" fmla="*/ 330182 h 513070"/>
                <a:gd name="connsiteX12" fmla="*/ 0 w 1632413"/>
                <a:gd name="connsiteY12" fmla="*/ 513070 h 513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32413" h="513070">
                  <a:moveTo>
                    <a:pt x="0" y="513070"/>
                  </a:moveTo>
                  <a:lnTo>
                    <a:pt x="1593992" y="513070"/>
                  </a:lnTo>
                  <a:cubicBezTo>
                    <a:pt x="1593992" y="513070"/>
                    <a:pt x="1680440" y="403705"/>
                    <a:pt x="1593992" y="330133"/>
                  </a:cubicBezTo>
                  <a:cubicBezTo>
                    <a:pt x="1546269" y="289518"/>
                    <a:pt x="1489946" y="293744"/>
                    <a:pt x="1449034" y="305675"/>
                  </a:cubicBezTo>
                  <a:cubicBezTo>
                    <a:pt x="1422389" y="313430"/>
                    <a:pt x="1395793" y="295484"/>
                    <a:pt x="1389927" y="268292"/>
                  </a:cubicBezTo>
                  <a:cubicBezTo>
                    <a:pt x="1380233" y="223353"/>
                    <a:pt x="1350357" y="164495"/>
                    <a:pt x="1264555" y="129746"/>
                  </a:cubicBezTo>
                  <a:cubicBezTo>
                    <a:pt x="1180146" y="95545"/>
                    <a:pt x="1126756" y="147792"/>
                    <a:pt x="1095835" y="201430"/>
                  </a:cubicBezTo>
                  <a:cubicBezTo>
                    <a:pt x="1085644" y="219078"/>
                    <a:pt x="1058602" y="216443"/>
                    <a:pt x="1052487" y="197006"/>
                  </a:cubicBezTo>
                  <a:cubicBezTo>
                    <a:pt x="1025742" y="112298"/>
                    <a:pt x="932484" y="0"/>
                    <a:pt x="626064" y="0"/>
                  </a:cubicBezTo>
                  <a:cubicBezTo>
                    <a:pt x="236377" y="0"/>
                    <a:pt x="279676" y="207197"/>
                    <a:pt x="314474" y="293297"/>
                  </a:cubicBezTo>
                  <a:cubicBezTo>
                    <a:pt x="320538" y="308260"/>
                    <a:pt x="307713" y="323720"/>
                    <a:pt x="291954" y="320389"/>
                  </a:cubicBezTo>
                  <a:cubicBezTo>
                    <a:pt x="231853" y="307514"/>
                    <a:pt x="120252" y="290861"/>
                    <a:pt x="70242" y="330182"/>
                  </a:cubicBezTo>
                  <a:cubicBezTo>
                    <a:pt x="0" y="385312"/>
                    <a:pt x="0" y="513070"/>
                    <a:pt x="0" y="513070"/>
                  </a:cubicBezTo>
                  <a:close/>
                </a:path>
              </a:pathLst>
            </a:custGeom>
            <a:grpFill/>
            <a:ln w="49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98" name="Agrupar 297">
            <a:extLst>
              <a:ext uri="{FF2B5EF4-FFF2-40B4-BE49-F238E27FC236}">
                <a16:creationId xmlns:a16="http://schemas.microsoft.com/office/drawing/2014/main" id="{68D7EDA2-3E17-BD89-FB0B-CBE80668321D}"/>
              </a:ext>
            </a:extLst>
          </p:cNvPr>
          <p:cNvGrpSpPr/>
          <p:nvPr/>
        </p:nvGrpSpPr>
        <p:grpSpPr>
          <a:xfrm>
            <a:off x="3412060" y="1600180"/>
            <a:ext cx="1904582" cy="1440000"/>
            <a:chOff x="2864577" y="1021125"/>
            <a:chExt cx="1904582" cy="1440000"/>
          </a:xfrm>
        </p:grpSpPr>
        <p:sp>
          <p:nvSpPr>
            <p:cNvPr id="297" name="Elipse 296">
              <a:extLst>
                <a:ext uri="{FF2B5EF4-FFF2-40B4-BE49-F238E27FC236}">
                  <a16:creationId xmlns:a16="http://schemas.microsoft.com/office/drawing/2014/main" id="{B1D38628-5D08-68F7-82DB-50084D8BF215}"/>
                </a:ext>
              </a:extLst>
            </p:cNvPr>
            <p:cNvSpPr/>
            <p:nvPr/>
          </p:nvSpPr>
          <p:spPr>
            <a:xfrm>
              <a:off x="3078213" y="1021125"/>
              <a:ext cx="1440000" cy="1440000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rgbClr val="FE96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219" name="Agrupar 218">
              <a:extLst>
                <a:ext uri="{FF2B5EF4-FFF2-40B4-BE49-F238E27FC236}">
                  <a16:creationId xmlns:a16="http://schemas.microsoft.com/office/drawing/2014/main" id="{486D9220-34FD-BC06-2E71-9BAB9202663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641449" y="1244637"/>
              <a:ext cx="380887" cy="360000"/>
              <a:chOff x="1379011" y="2783796"/>
              <a:chExt cx="425577" cy="402241"/>
            </a:xfrm>
          </p:grpSpPr>
          <p:sp>
            <p:nvSpPr>
              <p:cNvPr id="220" name="Forma Livre: Forma 219">
                <a:extLst>
                  <a:ext uri="{FF2B5EF4-FFF2-40B4-BE49-F238E27FC236}">
                    <a16:creationId xmlns:a16="http://schemas.microsoft.com/office/drawing/2014/main" id="{70D80410-EBF9-B850-19D1-6E8D45DE265F}"/>
                  </a:ext>
                </a:extLst>
              </p:cNvPr>
              <p:cNvSpPr/>
              <p:nvPr/>
            </p:nvSpPr>
            <p:spPr>
              <a:xfrm>
                <a:off x="1379011" y="2900287"/>
                <a:ext cx="285750" cy="285750"/>
              </a:xfrm>
              <a:custGeom>
                <a:avLst/>
                <a:gdLst>
                  <a:gd name="connsiteX0" fmla="*/ 90392 w 285750"/>
                  <a:gd name="connsiteY0" fmla="*/ 197834 h 285750"/>
                  <a:gd name="connsiteX1" fmla="*/ 260033 w 285750"/>
                  <a:gd name="connsiteY1" fmla="*/ 288322 h 285750"/>
                  <a:gd name="connsiteX2" fmla="*/ 288322 w 285750"/>
                  <a:gd name="connsiteY2" fmla="*/ 226124 h 285750"/>
                  <a:gd name="connsiteX3" fmla="*/ 220504 w 285750"/>
                  <a:gd name="connsiteY3" fmla="*/ 180880 h 285750"/>
                  <a:gd name="connsiteX4" fmla="*/ 192215 w 285750"/>
                  <a:gd name="connsiteY4" fmla="*/ 209169 h 285750"/>
                  <a:gd name="connsiteX5" fmla="*/ 124397 w 285750"/>
                  <a:gd name="connsiteY5" fmla="*/ 163925 h 285750"/>
                  <a:gd name="connsiteX6" fmla="*/ 79153 w 285750"/>
                  <a:gd name="connsiteY6" fmla="*/ 96107 h 285750"/>
                  <a:gd name="connsiteX7" fmla="*/ 107442 w 285750"/>
                  <a:gd name="connsiteY7" fmla="*/ 67818 h 285750"/>
                  <a:gd name="connsiteX8" fmla="*/ 62198 w 285750"/>
                  <a:gd name="connsiteY8" fmla="*/ 0 h 285750"/>
                  <a:gd name="connsiteX9" fmla="*/ 0 w 285750"/>
                  <a:gd name="connsiteY9" fmla="*/ 28289 h 285750"/>
                  <a:gd name="connsiteX10" fmla="*/ 90392 w 285750"/>
                  <a:gd name="connsiteY10" fmla="*/ 197834 h 285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85750" h="285750">
                    <a:moveTo>
                      <a:pt x="90392" y="197834"/>
                    </a:moveTo>
                    <a:cubicBezTo>
                      <a:pt x="163925" y="271367"/>
                      <a:pt x="234125" y="286893"/>
                      <a:pt x="260033" y="288322"/>
                    </a:cubicBezTo>
                    <a:cubicBezTo>
                      <a:pt x="276606" y="264033"/>
                      <a:pt x="283559" y="244031"/>
                      <a:pt x="288322" y="226124"/>
                    </a:cubicBezTo>
                    <a:cubicBezTo>
                      <a:pt x="270415" y="208693"/>
                      <a:pt x="244316" y="190881"/>
                      <a:pt x="220504" y="180880"/>
                    </a:cubicBezTo>
                    <a:lnTo>
                      <a:pt x="192215" y="209169"/>
                    </a:lnTo>
                    <a:cubicBezTo>
                      <a:pt x="182594" y="206597"/>
                      <a:pt x="156020" y="195644"/>
                      <a:pt x="124397" y="163925"/>
                    </a:cubicBezTo>
                    <a:cubicBezTo>
                      <a:pt x="92678" y="132207"/>
                      <a:pt x="81725" y="105728"/>
                      <a:pt x="79153" y="96107"/>
                    </a:cubicBezTo>
                    <a:lnTo>
                      <a:pt x="107442" y="67818"/>
                    </a:lnTo>
                    <a:cubicBezTo>
                      <a:pt x="97441" y="43910"/>
                      <a:pt x="79629" y="17907"/>
                      <a:pt x="62198" y="0"/>
                    </a:cubicBezTo>
                    <a:cubicBezTo>
                      <a:pt x="44291" y="4667"/>
                      <a:pt x="24289" y="11716"/>
                      <a:pt x="0" y="28289"/>
                    </a:cubicBezTo>
                    <a:cubicBezTo>
                      <a:pt x="1333" y="54102"/>
                      <a:pt x="16859" y="124301"/>
                      <a:pt x="90392" y="197834"/>
                    </a:cubicBezTo>
                    <a:close/>
                  </a:path>
                </a:pathLst>
              </a:custGeom>
              <a:noFill/>
              <a:ln w="19050" cap="rnd">
                <a:solidFill>
                  <a:srgbClr val="FE96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1" name="Forma Livre: Forma 220">
                <a:extLst>
                  <a:ext uri="{FF2B5EF4-FFF2-40B4-BE49-F238E27FC236}">
                    <a16:creationId xmlns:a16="http://schemas.microsoft.com/office/drawing/2014/main" id="{253DF1BC-38E3-FDE2-2E62-92F7CA47CB12}"/>
                  </a:ext>
                </a:extLst>
              </p:cNvPr>
              <p:cNvSpPr/>
              <p:nvPr/>
            </p:nvSpPr>
            <p:spPr>
              <a:xfrm>
                <a:off x="1537888" y="2783796"/>
                <a:ext cx="266700" cy="247650"/>
              </a:xfrm>
              <a:custGeom>
                <a:avLst/>
                <a:gdLst>
                  <a:gd name="connsiteX0" fmla="*/ 133350 w 266700"/>
                  <a:gd name="connsiteY0" fmla="*/ 0 h 247650"/>
                  <a:gd name="connsiteX1" fmla="*/ 0 w 266700"/>
                  <a:gd name="connsiteY1" fmla="*/ 109538 h 247650"/>
                  <a:gd name="connsiteX2" fmla="*/ 36386 w 266700"/>
                  <a:gd name="connsiteY2" fmla="*/ 184595 h 247650"/>
                  <a:gd name="connsiteX3" fmla="*/ 24384 w 266700"/>
                  <a:gd name="connsiteY3" fmla="*/ 243840 h 247650"/>
                  <a:gd name="connsiteX4" fmla="*/ 35433 w 266700"/>
                  <a:gd name="connsiteY4" fmla="*/ 254032 h 247650"/>
                  <a:gd name="connsiteX5" fmla="*/ 91440 w 266700"/>
                  <a:gd name="connsiteY5" fmla="*/ 213550 h 247650"/>
                  <a:gd name="connsiteX6" fmla="*/ 133350 w 266700"/>
                  <a:gd name="connsiteY6" fmla="*/ 219170 h 247650"/>
                  <a:gd name="connsiteX7" fmla="*/ 266700 w 266700"/>
                  <a:gd name="connsiteY7" fmla="*/ 109633 h 247650"/>
                  <a:gd name="connsiteX8" fmla="*/ 133350 w 266700"/>
                  <a:gd name="connsiteY8" fmla="*/ 0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66700" h="247650">
                    <a:moveTo>
                      <a:pt x="133350" y="0"/>
                    </a:moveTo>
                    <a:cubicBezTo>
                      <a:pt x="59722" y="0"/>
                      <a:pt x="0" y="49054"/>
                      <a:pt x="0" y="109538"/>
                    </a:cubicBezTo>
                    <a:cubicBezTo>
                      <a:pt x="0" y="138589"/>
                      <a:pt x="13907" y="164973"/>
                      <a:pt x="36386" y="184595"/>
                    </a:cubicBezTo>
                    <a:cubicBezTo>
                      <a:pt x="34290" y="203740"/>
                      <a:pt x="30385" y="224123"/>
                      <a:pt x="24384" y="243840"/>
                    </a:cubicBezTo>
                    <a:cubicBezTo>
                      <a:pt x="21812" y="252222"/>
                      <a:pt x="28289" y="258128"/>
                      <a:pt x="35433" y="254032"/>
                    </a:cubicBezTo>
                    <a:cubicBezTo>
                      <a:pt x="58293" y="240983"/>
                      <a:pt x="76676" y="227076"/>
                      <a:pt x="91440" y="213550"/>
                    </a:cubicBezTo>
                    <a:cubicBezTo>
                      <a:pt x="104585" y="217170"/>
                      <a:pt x="118682" y="219170"/>
                      <a:pt x="133350" y="219170"/>
                    </a:cubicBezTo>
                    <a:cubicBezTo>
                      <a:pt x="206978" y="219170"/>
                      <a:pt x="266700" y="170117"/>
                      <a:pt x="266700" y="109633"/>
                    </a:cubicBezTo>
                    <a:cubicBezTo>
                      <a:pt x="266700" y="49149"/>
                      <a:pt x="206978" y="0"/>
                      <a:pt x="133350" y="0"/>
                    </a:cubicBezTo>
                    <a:close/>
                  </a:path>
                </a:pathLst>
              </a:custGeom>
              <a:noFill/>
              <a:ln w="19050" cap="rnd">
                <a:solidFill>
                  <a:srgbClr val="FFFF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2" name="Forma Livre: Forma 221">
                <a:extLst>
                  <a:ext uri="{FF2B5EF4-FFF2-40B4-BE49-F238E27FC236}">
                    <a16:creationId xmlns:a16="http://schemas.microsoft.com/office/drawing/2014/main" id="{9F1984EC-26DE-BA99-E3E1-5D22AFD5433F}"/>
                  </a:ext>
                </a:extLst>
              </p:cNvPr>
              <p:cNvSpPr/>
              <p:nvPr/>
            </p:nvSpPr>
            <p:spPr>
              <a:xfrm>
                <a:off x="1642663" y="2869521"/>
                <a:ext cx="57150" cy="66675"/>
              </a:xfrm>
              <a:custGeom>
                <a:avLst/>
                <a:gdLst>
                  <a:gd name="connsiteX0" fmla="*/ 57150 w 57150"/>
                  <a:gd name="connsiteY0" fmla="*/ 66675 h 66675"/>
                  <a:gd name="connsiteX1" fmla="*/ 28575 w 57150"/>
                  <a:gd name="connsiteY1" fmla="*/ 66675 h 66675"/>
                  <a:gd name="connsiteX2" fmla="*/ 28575 w 57150"/>
                  <a:gd name="connsiteY2" fmla="*/ 0 h 66675"/>
                  <a:gd name="connsiteX3" fmla="*/ 0 w 57150"/>
                  <a:gd name="connsiteY3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150" h="66675">
                    <a:moveTo>
                      <a:pt x="57150" y="66675"/>
                    </a:moveTo>
                    <a:lnTo>
                      <a:pt x="28575" y="66675"/>
                    </a:lnTo>
                    <a:lnTo>
                      <a:pt x="28575" y="0"/>
                    </a:lnTo>
                    <a:lnTo>
                      <a:pt x="0" y="0"/>
                    </a:lnTo>
                  </a:path>
                </a:pathLst>
              </a:custGeom>
              <a:noFill/>
              <a:ln w="19050" cap="rnd">
                <a:solidFill>
                  <a:srgbClr val="FE96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3" name="Forma Livre: Forma 222">
                <a:extLst>
                  <a:ext uri="{FF2B5EF4-FFF2-40B4-BE49-F238E27FC236}">
                    <a16:creationId xmlns:a16="http://schemas.microsoft.com/office/drawing/2014/main" id="{A88C2551-782E-36AB-8707-34512041D4F4}"/>
                  </a:ext>
                </a:extLst>
              </p:cNvPr>
              <p:cNvSpPr/>
              <p:nvPr/>
            </p:nvSpPr>
            <p:spPr>
              <a:xfrm>
                <a:off x="1642663" y="2936196"/>
                <a:ext cx="28575" cy="9525"/>
              </a:xfrm>
              <a:custGeom>
                <a:avLst/>
                <a:gdLst>
                  <a:gd name="connsiteX0" fmla="*/ 0 w 28575"/>
                  <a:gd name="connsiteY0" fmla="*/ 0 h 0"/>
                  <a:gd name="connsiteX1" fmla="*/ 28575 w 2857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575">
                    <a:moveTo>
                      <a:pt x="0" y="0"/>
                    </a:moveTo>
                    <a:lnTo>
                      <a:pt x="28575" y="0"/>
                    </a:lnTo>
                  </a:path>
                </a:pathLst>
              </a:custGeom>
              <a:ln w="19050" cap="rnd">
                <a:solidFill>
                  <a:srgbClr val="FE96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4" name="Forma Livre: Forma 223">
                <a:extLst>
                  <a:ext uri="{FF2B5EF4-FFF2-40B4-BE49-F238E27FC236}">
                    <a16:creationId xmlns:a16="http://schemas.microsoft.com/office/drawing/2014/main" id="{63B6FED8-C0CB-0270-1214-58C3BD374DB6}"/>
                  </a:ext>
                </a:extLst>
              </p:cNvPr>
              <p:cNvSpPr/>
              <p:nvPr/>
            </p:nvSpPr>
            <p:spPr>
              <a:xfrm>
                <a:off x="1671238" y="2831421"/>
                <a:ext cx="9525" cy="19050"/>
              </a:xfrm>
              <a:custGeom>
                <a:avLst/>
                <a:gdLst>
                  <a:gd name="connsiteX0" fmla="*/ 0 w 0"/>
                  <a:gd name="connsiteY0" fmla="*/ 19050 h 19050"/>
                  <a:gd name="connsiteX1" fmla="*/ 0 w 0"/>
                  <a:gd name="connsiteY1" fmla="*/ 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19050">
                    <a:moveTo>
                      <a:pt x="0" y="19050"/>
                    </a:moveTo>
                    <a:lnTo>
                      <a:pt x="0" y="0"/>
                    </a:lnTo>
                  </a:path>
                </a:pathLst>
              </a:custGeom>
              <a:ln w="19050" cap="rnd">
                <a:solidFill>
                  <a:srgbClr val="FE96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25" name="Retângulo 224">
              <a:extLst>
                <a:ext uri="{FF2B5EF4-FFF2-40B4-BE49-F238E27FC236}">
                  <a16:creationId xmlns:a16="http://schemas.microsoft.com/office/drawing/2014/main" id="{E331A78A-EFBF-F770-23D0-B293F540979A}"/>
                </a:ext>
              </a:extLst>
            </p:cNvPr>
            <p:cNvSpPr/>
            <p:nvPr/>
          </p:nvSpPr>
          <p:spPr>
            <a:xfrm>
              <a:off x="2864577" y="1651524"/>
              <a:ext cx="1904582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E9600"/>
                  </a:solidFill>
                  <a:effectLst/>
                  <a:uLnTx/>
                  <a:uFillTx/>
                  <a:latin typeface="Itau Display Pro App" panose="020B0503020204020204" pitchFamily="34" charset="0"/>
                  <a:ea typeface="+mn-ea"/>
                  <a:cs typeface="Itau Display Pro App" panose="020B0503020204020204" pitchFamily="34" charset="0"/>
                </a:rPr>
                <a:t>Speech </a:t>
              </a:r>
              <a:r>
                <a:rPr kumimoji="0" lang="pt-BR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E9600"/>
                  </a:solidFill>
                  <a:effectLst/>
                  <a:uLnTx/>
                  <a:uFillTx/>
                  <a:latin typeface="Itau Display Pro App" panose="020B0503020204020204" pitchFamily="34" charset="0"/>
                  <a:ea typeface="+mn-ea"/>
                  <a:cs typeface="Itau Display Pro App" panose="020B0503020204020204" pitchFamily="34" charset="0"/>
                </a:rPr>
                <a:t>Analytics</a:t>
              </a:r>
              <a:endParaRPr kumimoji="0" lang="pt-BR" sz="1200" b="0" i="0" u="none" strike="noStrike" kern="0" cap="none" spc="0" normalizeH="0" baseline="0" noProof="0" dirty="0">
                <a:ln>
                  <a:noFill/>
                </a:ln>
                <a:solidFill>
                  <a:srgbClr val="FE9600"/>
                </a:solidFill>
                <a:effectLst/>
                <a:uLnTx/>
                <a:uFillTx/>
                <a:latin typeface="Itau Display Pro App" panose="020B0503020204020204" pitchFamily="34" charset="0"/>
                <a:ea typeface="+mn-ea"/>
                <a:cs typeface="Itau Display Pro App" panose="020B0503020204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E9600"/>
                  </a:solidFill>
                  <a:effectLst/>
                  <a:uLnTx/>
                  <a:uFillTx/>
                  <a:latin typeface="Itau Display Pro App" panose="020B0503020204020204" pitchFamily="34" charset="0"/>
                  <a:ea typeface="+mn-ea"/>
                  <a:cs typeface="Itau Display Pro App" panose="020B0503020204020204" pitchFamily="34" charset="0"/>
                </a:rPr>
                <a:t>(Monitoria 2.0)</a:t>
              </a:r>
            </a:p>
          </p:txBody>
        </p:sp>
      </p:grpSp>
      <p:sp>
        <p:nvSpPr>
          <p:cNvPr id="311" name="Elipse 310">
            <a:extLst>
              <a:ext uri="{FF2B5EF4-FFF2-40B4-BE49-F238E27FC236}">
                <a16:creationId xmlns:a16="http://schemas.microsoft.com/office/drawing/2014/main" id="{324F4AC7-9509-CDE6-8E39-96AF932AAB80}"/>
              </a:ext>
            </a:extLst>
          </p:cNvPr>
          <p:cNvSpPr/>
          <p:nvPr/>
        </p:nvSpPr>
        <p:spPr>
          <a:xfrm>
            <a:off x="6159691" y="1354877"/>
            <a:ext cx="1440000" cy="1440000"/>
          </a:xfrm>
          <a:prstGeom prst="ellipse">
            <a:avLst/>
          </a:prstGeom>
          <a:solidFill>
            <a:schemeClr val="bg1"/>
          </a:solidFill>
          <a:ln w="3175">
            <a:solidFill>
              <a:srgbClr val="FEBB5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41" name="Agrupar 240">
            <a:extLst>
              <a:ext uri="{FF2B5EF4-FFF2-40B4-BE49-F238E27FC236}">
                <a16:creationId xmlns:a16="http://schemas.microsoft.com/office/drawing/2014/main" id="{90B3080D-522D-4A8A-831F-DF49A0CFF5C0}"/>
              </a:ext>
            </a:extLst>
          </p:cNvPr>
          <p:cNvGrpSpPr>
            <a:grpSpLocks noChangeAspect="1"/>
          </p:cNvGrpSpPr>
          <p:nvPr/>
        </p:nvGrpSpPr>
        <p:grpSpPr>
          <a:xfrm>
            <a:off x="6701084" y="1528262"/>
            <a:ext cx="385267" cy="360000"/>
            <a:chOff x="8538755" y="5963643"/>
            <a:chExt cx="417933" cy="390525"/>
          </a:xfrm>
        </p:grpSpPr>
        <p:sp>
          <p:nvSpPr>
            <p:cNvPr id="242" name="Forma Livre: Forma 241">
              <a:extLst>
                <a:ext uri="{FF2B5EF4-FFF2-40B4-BE49-F238E27FC236}">
                  <a16:creationId xmlns:a16="http://schemas.microsoft.com/office/drawing/2014/main" id="{89840D79-39EC-7E3B-AE59-88EA02A2FB42}"/>
                </a:ext>
              </a:extLst>
            </p:cNvPr>
            <p:cNvSpPr/>
            <p:nvPr/>
          </p:nvSpPr>
          <p:spPr>
            <a:xfrm>
              <a:off x="8643530" y="6049368"/>
              <a:ext cx="209550" cy="209550"/>
            </a:xfrm>
            <a:custGeom>
              <a:avLst/>
              <a:gdLst>
                <a:gd name="connsiteX0" fmla="*/ 209550 w 209550"/>
                <a:gd name="connsiteY0" fmla="*/ 104775 h 209550"/>
                <a:gd name="connsiteX1" fmla="*/ 104775 w 209550"/>
                <a:gd name="connsiteY1" fmla="*/ 209550 h 209550"/>
                <a:gd name="connsiteX2" fmla="*/ 0 w 209550"/>
                <a:gd name="connsiteY2" fmla="*/ 104775 h 209550"/>
                <a:gd name="connsiteX3" fmla="*/ 104775 w 209550"/>
                <a:gd name="connsiteY3" fmla="*/ 0 h 209550"/>
                <a:gd name="connsiteX4" fmla="*/ 209550 w 209550"/>
                <a:gd name="connsiteY4" fmla="*/ 104775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9550" h="209550">
                  <a:moveTo>
                    <a:pt x="209550" y="104775"/>
                  </a:moveTo>
                  <a:cubicBezTo>
                    <a:pt x="209550" y="162641"/>
                    <a:pt x="162641" y="209550"/>
                    <a:pt x="104775" y="209550"/>
                  </a:cubicBezTo>
                  <a:cubicBezTo>
                    <a:pt x="46909" y="209550"/>
                    <a:pt x="0" y="162641"/>
                    <a:pt x="0" y="104775"/>
                  </a:cubicBezTo>
                  <a:cubicBezTo>
                    <a:pt x="0" y="46909"/>
                    <a:pt x="46909" y="0"/>
                    <a:pt x="104775" y="0"/>
                  </a:cubicBezTo>
                  <a:cubicBezTo>
                    <a:pt x="162641" y="0"/>
                    <a:pt x="209550" y="46909"/>
                    <a:pt x="209550" y="104775"/>
                  </a:cubicBezTo>
                  <a:close/>
                </a:path>
              </a:pathLst>
            </a:custGeom>
            <a:noFill/>
            <a:ln w="19050" cap="rnd">
              <a:solidFill>
                <a:srgbClr val="FEBB5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3" name="Forma Livre: Forma 242">
              <a:extLst>
                <a:ext uri="{FF2B5EF4-FFF2-40B4-BE49-F238E27FC236}">
                  <a16:creationId xmlns:a16="http://schemas.microsoft.com/office/drawing/2014/main" id="{99FD3ADA-0CFD-91FA-CA21-642260A4929D}"/>
                </a:ext>
              </a:extLst>
            </p:cNvPr>
            <p:cNvSpPr/>
            <p:nvPr/>
          </p:nvSpPr>
          <p:spPr>
            <a:xfrm>
              <a:off x="8842388" y="6238701"/>
              <a:ext cx="114300" cy="114300"/>
            </a:xfrm>
            <a:custGeom>
              <a:avLst/>
              <a:gdLst>
                <a:gd name="connsiteX0" fmla="*/ 34504 w 114300"/>
                <a:gd name="connsiteY0" fmla="*/ 5929 h 114300"/>
                <a:gd name="connsiteX1" fmla="*/ 110704 w 114300"/>
                <a:gd name="connsiteY1" fmla="*/ 82129 h 114300"/>
                <a:gd name="connsiteX2" fmla="*/ 110704 w 114300"/>
                <a:gd name="connsiteY2" fmla="*/ 110704 h 114300"/>
                <a:gd name="connsiteX3" fmla="*/ 110704 w 114300"/>
                <a:gd name="connsiteY3" fmla="*/ 110704 h 114300"/>
                <a:gd name="connsiteX4" fmla="*/ 82129 w 114300"/>
                <a:gd name="connsiteY4" fmla="*/ 110704 h 114300"/>
                <a:gd name="connsiteX5" fmla="*/ 5929 w 114300"/>
                <a:gd name="connsiteY5" fmla="*/ 34504 h 114300"/>
                <a:gd name="connsiteX6" fmla="*/ 5929 w 114300"/>
                <a:gd name="connsiteY6" fmla="*/ 5929 h 114300"/>
                <a:gd name="connsiteX7" fmla="*/ 5929 w 114300"/>
                <a:gd name="connsiteY7" fmla="*/ 5929 h 114300"/>
                <a:gd name="connsiteX8" fmla="*/ 34504 w 114300"/>
                <a:gd name="connsiteY8" fmla="*/ 5929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34504" y="5929"/>
                  </a:moveTo>
                  <a:lnTo>
                    <a:pt x="110704" y="82129"/>
                  </a:lnTo>
                  <a:cubicBezTo>
                    <a:pt x="118610" y="90035"/>
                    <a:pt x="118610" y="102799"/>
                    <a:pt x="110704" y="110704"/>
                  </a:cubicBezTo>
                  <a:lnTo>
                    <a:pt x="110704" y="110704"/>
                  </a:lnTo>
                  <a:cubicBezTo>
                    <a:pt x="102799" y="118610"/>
                    <a:pt x="90035" y="118610"/>
                    <a:pt x="82129" y="110704"/>
                  </a:cubicBezTo>
                  <a:lnTo>
                    <a:pt x="5929" y="34504"/>
                  </a:lnTo>
                  <a:cubicBezTo>
                    <a:pt x="-1976" y="26599"/>
                    <a:pt x="-1976" y="13835"/>
                    <a:pt x="5929" y="5929"/>
                  </a:cubicBezTo>
                  <a:lnTo>
                    <a:pt x="5929" y="5929"/>
                  </a:lnTo>
                  <a:cubicBezTo>
                    <a:pt x="13835" y="-1976"/>
                    <a:pt x="26599" y="-1976"/>
                    <a:pt x="34504" y="5929"/>
                  </a:cubicBezTo>
                  <a:close/>
                </a:path>
              </a:pathLst>
            </a:custGeom>
            <a:noFill/>
            <a:ln w="19050" cap="rnd">
              <a:solidFill>
                <a:srgbClr val="FEBB5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4" name="Forma Livre: Forma 243">
              <a:extLst>
                <a:ext uri="{FF2B5EF4-FFF2-40B4-BE49-F238E27FC236}">
                  <a16:creationId xmlns:a16="http://schemas.microsoft.com/office/drawing/2014/main" id="{D0D69C94-BF9E-B52F-8E0F-AF0604F9660D}"/>
                </a:ext>
              </a:extLst>
            </p:cNvPr>
            <p:cNvSpPr/>
            <p:nvPr/>
          </p:nvSpPr>
          <p:spPr>
            <a:xfrm>
              <a:off x="8825458" y="6221675"/>
              <a:ext cx="19050" cy="19050"/>
            </a:xfrm>
            <a:custGeom>
              <a:avLst/>
              <a:gdLst>
                <a:gd name="connsiteX0" fmla="*/ 0 w 19050"/>
                <a:gd name="connsiteY0" fmla="*/ 0 h 19050"/>
                <a:gd name="connsiteX1" fmla="*/ 22860 w 19050"/>
                <a:gd name="connsiteY1" fmla="*/ 22955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050" h="19050">
                  <a:moveTo>
                    <a:pt x="0" y="0"/>
                  </a:moveTo>
                  <a:lnTo>
                    <a:pt x="22860" y="22955"/>
                  </a:lnTo>
                </a:path>
              </a:pathLst>
            </a:custGeom>
            <a:ln w="19050" cap="rnd">
              <a:solidFill>
                <a:srgbClr val="FEBB5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5" name="Forma Livre: Forma 244">
              <a:extLst>
                <a:ext uri="{FF2B5EF4-FFF2-40B4-BE49-F238E27FC236}">
                  <a16:creationId xmlns:a16="http://schemas.microsoft.com/office/drawing/2014/main" id="{8AD6AB54-242C-4E1C-410B-43329CC6A1F4}"/>
                </a:ext>
              </a:extLst>
            </p:cNvPr>
            <p:cNvSpPr/>
            <p:nvPr/>
          </p:nvSpPr>
          <p:spPr>
            <a:xfrm>
              <a:off x="8748305" y="6106518"/>
              <a:ext cx="9525" cy="95250"/>
            </a:xfrm>
            <a:custGeom>
              <a:avLst/>
              <a:gdLst>
                <a:gd name="connsiteX0" fmla="*/ 0 w 0"/>
                <a:gd name="connsiteY0" fmla="*/ 0 h 95250"/>
                <a:gd name="connsiteX1" fmla="*/ 0 w 0"/>
                <a:gd name="connsiteY1" fmla="*/ 95250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95250">
                  <a:moveTo>
                    <a:pt x="0" y="0"/>
                  </a:moveTo>
                  <a:lnTo>
                    <a:pt x="0" y="95250"/>
                  </a:lnTo>
                </a:path>
              </a:pathLst>
            </a:custGeom>
            <a:ln w="19050" cap="rnd">
              <a:solidFill>
                <a:srgbClr val="FEBB5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6" name="Forma Livre: Forma 245">
              <a:extLst>
                <a:ext uri="{FF2B5EF4-FFF2-40B4-BE49-F238E27FC236}">
                  <a16:creationId xmlns:a16="http://schemas.microsoft.com/office/drawing/2014/main" id="{341048DE-E90C-9C71-9678-2B4FD25D3231}"/>
                </a:ext>
              </a:extLst>
            </p:cNvPr>
            <p:cNvSpPr/>
            <p:nvPr/>
          </p:nvSpPr>
          <p:spPr>
            <a:xfrm>
              <a:off x="8719730" y="6106518"/>
              <a:ext cx="57150" cy="9525"/>
            </a:xfrm>
            <a:custGeom>
              <a:avLst/>
              <a:gdLst>
                <a:gd name="connsiteX0" fmla="*/ 0 w 57150"/>
                <a:gd name="connsiteY0" fmla="*/ 0 h 0"/>
                <a:gd name="connsiteX1" fmla="*/ 57150 w 5715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150">
                  <a:moveTo>
                    <a:pt x="0" y="0"/>
                  </a:moveTo>
                  <a:lnTo>
                    <a:pt x="57150" y="0"/>
                  </a:lnTo>
                </a:path>
              </a:pathLst>
            </a:custGeom>
            <a:ln w="19050" cap="rnd">
              <a:solidFill>
                <a:srgbClr val="FEBB5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7" name="Forma Livre: Forma 246">
              <a:extLst>
                <a:ext uri="{FF2B5EF4-FFF2-40B4-BE49-F238E27FC236}">
                  <a16:creationId xmlns:a16="http://schemas.microsoft.com/office/drawing/2014/main" id="{EB20479D-1D07-794A-B578-056E5CCD1E4C}"/>
                </a:ext>
              </a:extLst>
            </p:cNvPr>
            <p:cNvSpPr/>
            <p:nvPr/>
          </p:nvSpPr>
          <p:spPr>
            <a:xfrm>
              <a:off x="8719730" y="6201768"/>
              <a:ext cx="57150" cy="9525"/>
            </a:xfrm>
            <a:custGeom>
              <a:avLst/>
              <a:gdLst>
                <a:gd name="connsiteX0" fmla="*/ 0 w 57150"/>
                <a:gd name="connsiteY0" fmla="*/ 0 h 0"/>
                <a:gd name="connsiteX1" fmla="*/ 57150 w 5715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150">
                  <a:moveTo>
                    <a:pt x="0" y="0"/>
                  </a:moveTo>
                  <a:lnTo>
                    <a:pt x="57150" y="0"/>
                  </a:lnTo>
                </a:path>
              </a:pathLst>
            </a:custGeom>
            <a:ln w="19050" cap="rnd">
              <a:solidFill>
                <a:srgbClr val="FEBB5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8" name="Forma Livre: Forma 247">
              <a:extLst>
                <a:ext uri="{FF2B5EF4-FFF2-40B4-BE49-F238E27FC236}">
                  <a16:creationId xmlns:a16="http://schemas.microsoft.com/office/drawing/2014/main" id="{7D55B2CF-0D05-FA94-D197-1328C8FC3E26}"/>
                </a:ext>
              </a:extLst>
            </p:cNvPr>
            <p:cNvSpPr/>
            <p:nvPr/>
          </p:nvSpPr>
          <p:spPr>
            <a:xfrm>
              <a:off x="8538755" y="5963643"/>
              <a:ext cx="257175" cy="9525"/>
            </a:xfrm>
            <a:custGeom>
              <a:avLst/>
              <a:gdLst>
                <a:gd name="connsiteX0" fmla="*/ 0 w 257175"/>
                <a:gd name="connsiteY0" fmla="*/ 0 h 0"/>
                <a:gd name="connsiteX1" fmla="*/ 257175 w 25717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7175">
                  <a:moveTo>
                    <a:pt x="0" y="0"/>
                  </a:moveTo>
                  <a:lnTo>
                    <a:pt x="257175" y="0"/>
                  </a:lnTo>
                </a:path>
              </a:pathLst>
            </a:custGeom>
            <a:ln w="19050" cap="rnd">
              <a:solidFill>
                <a:srgbClr val="FEBB5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9" name="Forma Livre: Forma 248">
              <a:extLst>
                <a:ext uri="{FF2B5EF4-FFF2-40B4-BE49-F238E27FC236}">
                  <a16:creationId xmlns:a16="http://schemas.microsoft.com/office/drawing/2014/main" id="{DCC1D5DF-1E9B-C58C-F992-579C7E5A1D93}"/>
                </a:ext>
              </a:extLst>
            </p:cNvPr>
            <p:cNvSpPr/>
            <p:nvPr/>
          </p:nvSpPr>
          <p:spPr>
            <a:xfrm>
              <a:off x="8538755" y="6011268"/>
              <a:ext cx="257175" cy="9525"/>
            </a:xfrm>
            <a:custGeom>
              <a:avLst/>
              <a:gdLst>
                <a:gd name="connsiteX0" fmla="*/ 0 w 257175"/>
                <a:gd name="connsiteY0" fmla="*/ 0 h 0"/>
                <a:gd name="connsiteX1" fmla="*/ 257175 w 25717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7175">
                  <a:moveTo>
                    <a:pt x="0" y="0"/>
                  </a:moveTo>
                  <a:lnTo>
                    <a:pt x="257175" y="0"/>
                  </a:lnTo>
                </a:path>
              </a:pathLst>
            </a:custGeom>
            <a:ln w="19050" cap="rnd">
              <a:solidFill>
                <a:srgbClr val="FEBB5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0" name="Forma Livre: Forma 249">
              <a:extLst>
                <a:ext uri="{FF2B5EF4-FFF2-40B4-BE49-F238E27FC236}">
                  <a16:creationId xmlns:a16="http://schemas.microsoft.com/office/drawing/2014/main" id="{303DD716-DE9C-CBD8-2F96-23F1E8903BD8}"/>
                </a:ext>
              </a:extLst>
            </p:cNvPr>
            <p:cNvSpPr/>
            <p:nvPr/>
          </p:nvSpPr>
          <p:spPr>
            <a:xfrm>
              <a:off x="8538755" y="6058893"/>
              <a:ext cx="104775" cy="9525"/>
            </a:xfrm>
            <a:custGeom>
              <a:avLst/>
              <a:gdLst>
                <a:gd name="connsiteX0" fmla="*/ 0 w 104775"/>
                <a:gd name="connsiteY0" fmla="*/ 0 h 0"/>
                <a:gd name="connsiteX1" fmla="*/ 104775 w 10477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775">
                  <a:moveTo>
                    <a:pt x="0" y="0"/>
                  </a:moveTo>
                  <a:lnTo>
                    <a:pt x="104775" y="0"/>
                  </a:lnTo>
                </a:path>
              </a:pathLst>
            </a:custGeom>
            <a:ln w="19050" cap="rnd">
              <a:solidFill>
                <a:srgbClr val="FEBB5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1" name="Forma Livre: Forma 250">
              <a:extLst>
                <a:ext uri="{FF2B5EF4-FFF2-40B4-BE49-F238E27FC236}">
                  <a16:creationId xmlns:a16="http://schemas.microsoft.com/office/drawing/2014/main" id="{A87329E1-01C5-D270-B044-7335A4C665A8}"/>
                </a:ext>
              </a:extLst>
            </p:cNvPr>
            <p:cNvSpPr/>
            <p:nvPr/>
          </p:nvSpPr>
          <p:spPr>
            <a:xfrm>
              <a:off x="8538755" y="6106518"/>
              <a:ext cx="76200" cy="9525"/>
            </a:xfrm>
            <a:custGeom>
              <a:avLst/>
              <a:gdLst>
                <a:gd name="connsiteX0" fmla="*/ 0 w 76200"/>
                <a:gd name="connsiteY0" fmla="*/ 0 h 0"/>
                <a:gd name="connsiteX1" fmla="*/ 76200 w 762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200">
                  <a:moveTo>
                    <a:pt x="0" y="0"/>
                  </a:moveTo>
                  <a:lnTo>
                    <a:pt x="76200" y="0"/>
                  </a:lnTo>
                </a:path>
              </a:pathLst>
            </a:custGeom>
            <a:ln w="19050" cap="rnd">
              <a:solidFill>
                <a:srgbClr val="FEBB5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2" name="Forma Livre: Forma 251">
              <a:extLst>
                <a:ext uri="{FF2B5EF4-FFF2-40B4-BE49-F238E27FC236}">
                  <a16:creationId xmlns:a16="http://schemas.microsoft.com/office/drawing/2014/main" id="{7AEB57B0-085C-D239-AA53-9CEF6838E8CA}"/>
                </a:ext>
              </a:extLst>
            </p:cNvPr>
            <p:cNvSpPr/>
            <p:nvPr/>
          </p:nvSpPr>
          <p:spPr>
            <a:xfrm>
              <a:off x="8538755" y="6154143"/>
              <a:ext cx="66675" cy="9525"/>
            </a:xfrm>
            <a:custGeom>
              <a:avLst/>
              <a:gdLst>
                <a:gd name="connsiteX0" fmla="*/ 0 w 66675"/>
                <a:gd name="connsiteY0" fmla="*/ 0 h 0"/>
                <a:gd name="connsiteX1" fmla="*/ 66675 w 6667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675">
                  <a:moveTo>
                    <a:pt x="0" y="0"/>
                  </a:moveTo>
                  <a:lnTo>
                    <a:pt x="66675" y="0"/>
                  </a:lnTo>
                </a:path>
              </a:pathLst>
            </a:custGeom>
            <a:ln w="19050" cap="rnd">
              <a:solidFill>
                <a:srgbClr val="FEBB5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3" name="Forma Livre: Forma 252">
              <a:extLst>
                <a:ext uri="{FF2B5EF4-FFF2-40B4-BE49-F238E27FC236}">
                  <a16:creationId xmlns:a16="http://schemas.microsoft.com/office/drawing/2014/main" id="{217D4387-A9EA-E635-99F6-877D70D93D14}"/>
                </a:ext>
              </a:extLst>
            </p:cNvPr>
            <p:cNvSpPr/>
            <p:nvPr/>
          </p:nvSpPr>
          <p:spPr>
            <a:xfrm>
              <a:off x="8538755" y="6201768"/>
              <a:ext cx="76200" cy="9525"/>
            </a:xfrm>
            <a:custGeom>
              <a:avLst/>
              <a:gdLst>
                <a:gd name="connsiteX0" fmla="*/ 0 w 76200"/>
                <a:gd name="connsiteY0" fmla="*/ 0 h 0"/>
                <a:gd name="connsiteX1" fmla="*/ 76200 w 762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200">
                  <a:moveTo>
                    <a:pt x="0" y="0"/>
                  </a:moveTo>
                  <a:lnTo>
                    <a:pt x="76200" y="0"/>
                  </a:lnTo>
                </a:path>
              </a:pathLst>
            </a:custGeom>
            <a:ln w="19050" cap="rnd">
              <a:solidFill>
                <a:srgbClr val="FEBB5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4" name="Forma Livre: Forma 253">
              <a:extLst>
                <a:ext uri="{FF2B5EF4-FFF2-40B4-BE49-F238E27FC236}">
                  <a16:creationId xmlns:a16="http://schemas.microsoft.com/office/drawing/2014/main" id="{FD5D59B8-38CA-B2EE-FDDD-5A37B96CCBD0}"/>
                </a:ext>
              </a:extLst>
            </p:cNvPr>
            <p:cNvSpPr/>
            <p:nvPr/>
          </p:nvSpPr>
          <p:spPr>
            <a:xfrm>
              <a:off x="8538755" y="6249393"/>
              <a:ext cx="104775" cy="9525"/>
            </a:xfrm>
            <a:custGeom>
              <a:avLst/>
              <a:gdLst>
                <a:gd name="connsiteX0" fmla="*/ 0 w 104775"/>
                <a:gd name="connsiteY0" fmla="*/ 0 h 0"/>
                <a:gd name="connsiteX1" fmla="*/ 104775 w 10477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775">
                  <a:moveTo>
                    <a:pt x="0" y="0"/>
                  </a:moveTo>
                  <a:lnTo>
                    <a:pt x="104775" y="0"/>
                  </a:lnTo>
                </a:path>
              </a:pathLst>
            </a:custGeom>
            <a:ln w="19050" cap="rnd">
              <a:solidFill>
                <a:srgbClr val="FEBB5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5" name="Forma Livre: Forma 254">
              <a:extLst>
                <a:ext uri="{FF2B5EF4-FFF2-40B4-BE49-F238E27FC236}">
                  <a16:creationId xmlns:a16="http://schemas.microsoft.com/office/drawing/2014/main" id="{E3C87482-1124-B7D4-016C-D63A7A56069A}"/>
                </a:ext>
              </a:extLst>
            </p:cNvPr>
            <p:cNvSpPr/>
            <p:nvPr/>
          </p:nvSpPr>
          <p:spPr>
            <a:xfrm>
              <a:off x="8538755" y="6297018"/>
              <a:ext cx="257175" cy="9525"/>
            </a:xfrm>
            <a:custGeom>
              <a:avLst/>
              <a:gdLst>
                <a:gd name="connsiteX0" fmla="*/ 0 w 257175"/>
                <a:gd name="connsiteY0" fmla="*/ 0 h 0"/>
                <a:gd name="connsiteX1" fmla="*/ 257175 w 25717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7175">
                  <a:moveTo>
                    <a:pt x="0" y="0"/>
                  </a:moveTo>
                  <a:lnTo>
                    <a:pt x="257175" y="0"/>
                  </a:lnTo>
                </a:path>
              </a:pathLst>
            </a:custGeom>
            <a:ln w="19050" cap="rnd">
              <a:solidFill>
                <a:srgbClr val="FEBB5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6" name="Forma Livre: Forma 255">
              <a:extLst>
                <a:ext uri="{FF2B5EF4-FFF2-40B4-BE49-F238E27FC236}">
                  <a16:creationId xmlns:a16="http://schemas.microsoft.com/office/drawing/2014/main" id="{3179C858-0EBB-8490-FE3C-F540DAC8AEFB}"/>
                </a:ext>
              </a:extLst>
            </p:cNvPr>
            <p:cNvSpPr/>
            <p:nvPr/>
          </p:nvSpPr>
          <p:spPr>
            <a:xfrm>
              <a:off x="8538755" y="6344643"/>
              <a:ext cx="257175" cy="9525"/>
            </a:xfrm>
            <a:custGeom>
              <a:avLst/>
              <a:gdLst>
                <a:gd name="connsiteX0" fmla="*/ 0 w 257175"/>
                <a:gd name="connsiteY0" fmla="*/ 0 h 0"/>
                <a:gd name="connsiteX1" fmla="*/ 257175 w 25717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7175">
                  <a:moveTo>
                    <a:pt x="0" y="0"/>
                  </a:moveTo>
                  <a:lnTo>
                    <a:pt x="257175" y="0"/>
                  </a:lnTo>
                </a:path>
              </a:pathLst>
            </a:custGeom>
            <a:ln w="19050" cap="rnd">
              <a:solidFill>
                <a:srgbClr val="FEBB5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57" name="Retângulo 256">
            <a:extLst>
              <a:ext uri="{FF2B5EF4-FFF2-40B4-BE49-F238E27FC236}">
                <a16:creationId xmlns:a16="http://schemas.microsoft.com/office/drawing/2014/main" id="{EC7193B5-5B94-E696-CDB7-04274E2CAE72}"/>
              </a:ext>
            </a:extLst>
          </p:cNvPr>
          <p:cNvSpPr/>
          <p:nvPr/>
        </p:nvSpPr>
        <p:spPr>
          <a:xfrm>
            <a:off x="5927533" y="1921143"/>
            <a:ext cx="190458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200" kern="0" dirty="0">
                <a:solidFill>
                  <a:srgbClr val="FE9600"/>
                </a:solidFill>
                <a:latin typeface="Itau Display Pro App" panose="020B0503020204020204" pitchFamily="34" charset="0"/>
              </a:rPr>
              <a:t>Sentinela</a:t>
            </a:r>
          </a:p>
          <a:p>
            <a:pPr algn="ctr"/>
            <a:r>
              <a:rPr lang="pt-BR" sz="1200" kern="0" dirty="0">
                <a:solidFill>
                  <a:srgbClr val="FE9600"/>
                </a:solidFill>
                <a:latin typeface="Itau Display Pro App" panose="020B0503020204020204" pitchFamily="34" charset="0"/>
              </a:rPr>
              <a:t>(NPS +</a:t>
            </a:r>
            <a:r>
              <a:rPr lang="pt-BR" sz="1200" kern="0" dirty="0" err="1">
                <a:solidFill>
                  <a:srgbClr val="FE9600"/>
                </a:solidFill>
                <a:latin typeface="Itau Display Pro App" panose="020B0503020204020204" pitchFamily="34" charset="0"/>
              </a:rPr>
              <a:t>Text</a:t>
            </a:r>
            <a:r>
              <a:rPr lang="pt-BR" sz="1200" kern="0" dirty="0">
                <a:solidFill>
                  <a:srgbClr val="FE9600"/>
                </a:solidFill>
                <a:latin typeface="Itau Display Pro App" panose="020B0503020204020204" pitchFamily="34" charset="0"/>
              </a:rPr>
              <a:t> </a:t>
            </a:r>
            <a:r>
              <a:rPr lang="pt-BR" sz="1200" kern="0" dirty="0" err="1">
                <a:solidFill>
                  <a:srgbClr val="FE9600"/>
                </a:solidFill>
                <a:latin typeface="Itau Display Pro App" panose="020B0503020204020204" pitchFamily="34" charset="0"/>
              </a:rPr>
              <a:t>minning</a:t>
            </a:r>
            <a:r>
              <a:rPr lang="pt-BR" sz="1200" kern="0" dirty="0">
                <a:solidFill>
                  <a:srgbClr val="FE9600"/>
                </a:solidFill>
                <a:latin typeface="Itau Display Pro App" panose="020B0503020204020204" pitchFamily="34" charset="0"/>
              </a:rPr>
              <a:t>)</a:t>
            </a:r>
          </a:p>
        </p:txBody>
      </p:sp>
      <p:sp>
        <p:nvSpPr>
          <p:cNvPr id="312" name="Elipse 311">
            <a:extLst>
              <a:ext uri="{FF2B5EF4-FFF2-40B4-BE49-F238E27FC236}">
                <a16:creationId xmlns:a16="http://schemas.microsoft.com/office/drawing/2014/main" id="{D79D49A1-8107-93EA-EC38-61EDEF2D05E2}"/>
              </a:ext>
            </a:extLst>
          </p:cNvPr>
          <p:cNvSpPr/>
          <p:nvPr/>
        </p:nvSpPr>
        <p:spPr>
          <a:xfrm>
            <a:off x="4833834" y="637682"/>
            <a:ext cx="1440000" cy="1440000"/>
          </a:xfrm>
          <a:prstGeom prst="ellipse">
            <a:avLst/>
          </a:prstGeom>
          <a:solidFill>
            <a:schemeClr val="bg1"/>
          </a:solidFill>
          <a:ln w="3175">
            <a:solidFill>
              <a:srgbClr val="FE96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231" name="Agrupar 230">
            <a:extLst>
              <a:ext uri="{FF2B5EF4-FFF2-40B4-BE49-F238E27FC236}">
                <a16:creationId xmlns:a16="http://schemas.microsoft.com/office/drawing/2014/main" id="{71848A2F-FF4E-2BC3-C341-9B9567B6F5A4}"/>
              </a:ext>
            </a:extLst>
          </p:cNvPr>
          <p:cNvGrpSpPr>
            <a:grpSpLocks noChangeAspect="1"/>
          </p:cNvGrpSpPr>
          <p:nvPr/>
        </p:nvGrpSpPr>
        <p:grpSpPr>
          <a:xfrm>
            <a:off x="5389674" y="813605"/>
            <a:ext cx="341918" cy="360002"/>
            <a:chOff x="12737059" y="8221068"/>
            <a:chExt cx="416147" cy="438150"/>
          </a:xfrm>
        </p:grpSpPr>
        <p:sp>
          <p:nvSpPr>
            <p:cNvPr id="232" name="Forma Livre: Forma 231">
              <a:extLst>
                <a:ext uri="{FF2B5EF4-FFF2-40B4-BE49-F238E27FC236}">
                  <a16:creationId xmlns:a16="http://schemas.microsoft.com/office/drawing/2014/main" id="{D67CEFB0-25F3-27D9-0E53-EC3BDF3DFAC1}"/>
                </a:ext>
              </a:extLst>
            </p:cNvPr>
            <p:cNvSpPr/>
            <p:nvPr/>
          </p:nvSpPr>
          <p:spPr>
            <a:xfrm>
              <a:off x="12933750" y="8583018"/>
              <a:ext cx="38100" cy="76200"/>
            </a:xfrm>
            <a:custGeom>
              <a:avLst/>
              <a:gdLst>
                <a:gd name="connsiteX0" fmla="*/ 38100 w 38100"/>
                <a:gd name="connsiteY0" fmla="*/ 0 h 76200"/>
                <a:gd name="connsiteX1" fmla="*/ 0 w 38100"/>
                <a:gd name="connsiteY1" fmla="*/ 38100 h 76200"/>
                <a:gd name="connsiteX2" fmla="*/ 38100 w 38100"/>
                <a:gd name="connsiteY2" fmla="*/ 7620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100" h="76200">
                  <a:moveTo>
                    <a:pt x="38100" y="0"/>
                  </a:moveTo>
                  <a:lnTo>
                    <a:pt x="0" y="38100"/>
                  </a:lnTo>
                  <a:lnTo>
                    <a:pt x="38100" y="76200"/>
                  </a:lnTo>
                </a:path>
              </a:pathLst>
            </a:custGeom>
            <a:noFill/>
            <a:ln w="19050" cap="rnd">
              <a:solidFill>
                <a:srgbClr val="FEBB5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3" name="Forma Livre: Forma 232">
              <a:extLst>
                <a:ext uri="{FF2B5EF4-FFF2-40B4-BE49-F238E27FC236}">
                  <a16:creationId xmlns:a16="http://schemas.microsoft.com/office/drawing/2014/main" id="{913E963D-A951-664B-D3F8-5D548615E4AA}"/>
                </a:ext>
              </a:extLst>
            </p:cNvPr>
            <p:cNvSpPr/>
            <p:nvPr/>
          </p:nvSpPr>
          <p:spPr>
            <a:xfrm>
              <a:off x="12934131" y="8365181"/>
              <a:ext cx="219075" cy="247650"/>
            </a:xfrm>
            <a:custGeom>
              <a:avLst/>
              <a:gdLst>
                <a:gd name="connsiteX0" fmla="*/ 211360 w 219075"/>
                <a:gd name="connsiteY0" fmla="*/ 0 h 247650"/>
                <a:gd name="connsiteX1" fmla="*/ 176022 w 219075"/>
                <a:gd name="connsiteY1" fmla="*/ 179832 h 247650"/>
                <a:gd name="connsiteX2" fmla="*/ 18669 w 219075"/>
                <a:gd name="connsiteY2" fmla="*/ 255937 h 247650"/>
                <a:gd name="connsiteX3" fmla="*/ 0 w 219075"/>
                <a:gd name="connsiteY3" fmla="*/ 255937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075" h="247650">
                  <a:moveTo>
                    <a:pt x="211360" y="0"/>
                  </a:moveTo>
                  <a:cubicBezTo>
                    <a:pt x="228314" y="57721"/>
                    <a:pt x="218313" y="126302"/>
                    <a:pt x="176022" y="179832"/>
                  </a:cubicBezTo>
                  <a:cubicBezTo>
                    <a:pt x="139351" y="226219"/>
                    <a:pt x="82391" y="255937"/>
                    <a:pt x="18669" y="255937"/>
                  </a:cubicBezTo>
                  <a:lnTo>
                    <a:pt x="0" y="255937"/>
                  </a:lnTo>
                </a:path>
              </a:pathLst>
            </a:custGeom>
            <a:noFill/>
            <a:ln w="19050" cap="rnd">
              <a:solidFill>
                <a:srgbClr val="FEBB5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4" name="Forma Livre: Forma 233">
              <a:extLst>
                <a:ext uri="{FF2B5EF4-FFF2-40B4-BE49-F238E27FC236}">
                  <a16:creationId xmlns:a16="http://schemas.microsoft.com/office/drawing/2014/main" id="{904DB132-4438-BED7-16DB-ACDB632A015D}"/>
                </a:ext>
              </a:extLst>
            </p:cNvPr>
            <p:cNvSpPr/>
            <p:nvPr/>
          </p:nvSpPr>
          <p:spPr>
            <a:xfrm>
              <a:off x="13083483" y="8287743"/>
              <a:ext cx="57150" cy="47625"/>
            </a:xfrm>
            <a:custGeom>
              <a:avLst/>
              <a:gdLst>
                <a:gd name="connsiteX0" fmla="*/ 0 w 57150"/>
                <a:gd name="connsiteY0" fmla="*/ 38100 h 47625"/>
                <a:gd name="connsiteX1" fmla="*/ 52102 w 57150"/>
                <a:gd name="connsiteY1" fmla="*/ 52007 h 47625"/>
                <a:gd name="connsiteX2" fmla="*/ 66008 w 57150"/>
                <a:gd name="connsiteY2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150" h="47625">
                  <a:moveTo>
                    <a:pt x="0" y="38100"/>
                  </a:moveTo>
                  <a:lnTo>
                    <a:pt x="52102" y="52007"/>
                  </a:lnTo>
                  <a:lnTo>
                    <a:pt x="66008" y="0"/>
                  </a:lnTo>
                </a:path>
              </a:pathLst>
            </a:custGeom>
            <a:noFill/>
            <a:ln w="19050" cap="rnd">
              <a:solidFill>
                <a:srgbClr val="FEBB5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5" name="Forma Livre: Forma 234">
              <a:extLst>
                <a:ext uri="{FF2B5EF4-FFF2-40B4-BE49-F238E27FC236}">
                  <a16:creationId xmlns:a16="http://schemas.microsoft.com/office/drawing/2014/main" id="{158B9496-378D-3A82-1D94-F2BE87747E16}"/>
                </a:ext>
              </a:extLst>
            </p:cNvPr>
            <p:cNvSpPr/>
            <p:nvPr/>
          </p:nvSpPr>
          <p:spPr>
            <a:xfrm>
              <a:off x="12752775" y="8304888"/>
              <a:ext cx="142875" cy="304800"/>
            </a:xfrm>
            <a:custGeom>
              <a:avLst/>
              <a:gdLst>
                <a:gd name="connsiteX0" fmla="*/ 152400 w 142875"/>
                <a:gd name="connsiteY0" fmla="*/ 310991 h 304800"/>
                <a:gd name="connsiteX1" fmla="*/ 0 w 142875"/>
                <a:gd name="connsiteY1" fmla="*/ 116205 h 304800"/>
                <a:gd name="connsiteX2" fmla="*/ 26861 w 142875"/>
                <a:gd name="connsiteY2" fmla="*/ 16478 h 304800"/>
                <a:gd name="connsiteX3" fmla="*/ 36386 w 142875"/>
                <a:gd name="connsiteY3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875" h="304800">
                  <a:moveTo>
                    <a:pt x="152400" y="310991"/>
                  </a:moveTo>
                  <a:cubicBezTo>
                    <a:pt x="64675" y="289750"/>
                    <a:pt x="0" y="210502"/>
                    <a:pt x="0" y="116205"/>
                  </a:cubicBezTo>
                  <a:cubicBezTo>
                    <a:pt x="0" y="82296"/>
                    <a:pt x="8668" y="47911"/>
                    <a:pt x="26861" y="16478"/>
                  </a:cubicBezTo>
                  <a:lnTo>
                    <a:pt x="36386" y="0"/>
                  </a:lnTo>
                </a:path>
              </a:pathLst>
            </a:custGeom>
            <a:noFill/>
            <a:ln w="19050" cap="rnd">
              <a:solidFill>
                <a:srgbClr val="FEBB5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6" name="Forma Livre: Forma 235">
              <a:extLst>
                <a:ext uri="{FF2B5EF4-FFF2-40B4-BE49-F238E27FC236}">
                  <a16:creationId xmlns:a16="http://schemas.microsoft.com/office/drawing/2014/main" id="{59352D95-F0C5-8E0E-6D22-0E7BE6BC1C88}"/>
                </a:ext>
              </a:extLst>
            </p:cNvPr>
            <p:cNvSpPr/>
            <p:nvPr/>
          </p:nvSpPr>
          <p:spPr>
            <a:xfrm>
              <a:off x="12807925" y="8221068"/>
              <a:ext cx="323850" cy="114300"/>
            </a:xfrm>
            <a:custGeom>
              <a:avLst/>
              <a:gdLst>
                <a:gd name="connsiteX0" fmla="*/ 0 w 323850"/>
                <a:gd name="connsiteY0" fmla="*/ 61627 h 114300"/>
                <a:gd name="connsiteX1" fmla="*/ 144875 w 323850"/>
                <a:gd name="connsiteY1" fmla="*/ 0 h 114300"/>
                <a:gd name="connsiteX2" fmla="*/ 318135 w 323850"/>
                <a:gd name="connsiteY2" fmla="*/ 100203 h 114300"/>
                <a:gd name="connsiteX3" fmla="*/ 327660 w 323850"/>
                <a:gd name="connsiteY3" fmla="*/ 116682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3850" h="114300">
                  <a:moveTo>
                    <a:pt x="0" y="61627"/>
                  </a:moveTo>
                  <a:cubicBezTo>
                    <a:pt x="34862" y="25051"/>
                    <a:pt x="87440" y="-95"/>
                    <a:pt x="144875" y="0"/>
                  </a:cubicBezTo>
                  <a:cubicBezTo>
                    <a:pt x="213931" y="191"/>
                    <a:pt x="281083" y="36100"/>
                    <a:pt x="318135" y="100203"/>
                  </a:cubicBezTo>
                  <a:lnTo>
                    <a:pt x="327660" y="116682"/>
                  </a:lnTo>
                </a:path>
              </a:pathLst>
            </a:custGeom>
            <a:noFill/>
            <a:ln w="19050" cap="rnd">
              <a:solidFill>
                <a:srgbClr val="FEBB5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7" name="Forma Livre: Forma 236">
              <a:extLst>
                <a:ext uri="{FF2B5EF4-FFF2-40B4-BE49-F238E27FC236}">
                  <a16:creationId xmlns:a16="http://schemas.microsoft.com/office/drawing/2014/main" id="{CD448819-CD9B-5396-83C8-F085B6669C99}"/>
                </a:ext>
              </a:extLst>
            </p:cNvPr>
            <p:cNvSpPr/>
            <p:nvPr/>
          </p:nvSpPr>
          <p:spPr>
            <a:xfrm>
              <a:off x="12737059" y="8306793"/>
              <a:ext cx="57150" cy="47625"/>
            </a:xfrm>
            <a:custGeom>
              <a:avLst/>
              <a:gdLst>
                <a:gd name="connsiteX0" fmla="*/ 66008 w 57150"/>
                <a:gd name="connsiteY0" fmla="*/ 52007 h 47625"/>
                <a:gd name="connsiteX1" fmla="*/ 52007 w 57150"/>
                <a:gd name="connsiteY1" fmla="*/ 0 h 47625"/>
                <a:gd name="connsiteX2" fmla="*/ 0 w 57150"/>
                <a:gd name="connsiteY2" fmla="*/ 13907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150" h="47625">
                  <a:moveTo>
                    <a:pt x="66008" y="52007"/>
                  </a:moveTo>
                  <a:lnTo>
                    <a:pt x="52007" y="0"/>
                  </a:lnTo>
                  <a:lnTo>
                    <a:pt x="0" y="13907"/>
                  </a:lnTo>
                </a:path>
              </a:pathLst>
            </a:custGeom>
            <a:noFill/>
            <a:ln w="19050" cap="rnd">
              <a:solidFill>
                <a:srgbClr val="FEBB5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8" name="Forma Livre: Forma 237">
              <a:extLst>
                <a:ext uri="{FF2B5EF4-FFF2-40B4-BE49-F238E27FC236}">
                  <a16:creationId xmlns:a16="http://schemas.microsoft.com/office/drawing/2014/main" id="{C5D59A3A-BF3E-6D49-AD14-E701345B3DC3}"/>
                </a:ext>
              </a:extLst>
            </p:cNvPr>
            <p:cNvSpPr/>
            <p:nvPr/>
          </p:nvSpPr>
          <p:spPr>
            <a:xfrm>
              <a:off x="12800781" y="8344893"/>
              <a:ext cx="304800" cy="152400"/>
            </a:xfrm>
            <a:custGeom>
              <a:avLst/>
              <a:gdLst>
                <a:gd name="connsiteX0" fmla="*/ 304800 w 304800"/>
                <a:gd name="connsiteY0" fmla="*/ 76200 h 152400"/>
                <a:gd name="connsiteX1" fmla="*/ 152400 w 304800"/>
                <a:gd name="connsiteY1" fmla="*/ 152400 h 152400"/>
                <a:gd name="connsiteX2" fmla="*/ 0 w 304800"/>
                <a:gd name="connsiteY2" fmla="*/ 76200 h 152400"/>
                <a:gd name="connsiteX3" fmla="*/ 152400 w 304800"/>
                <a:gd name="connsiteY3" fmla="*/ 0 h 152400"/>
                <a:gd name="connsiteX4" fmla="*/ 304800 w 3048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800" h="152400">
                  <a:moveTo>
                    <a:pt x="304800" y="76200"/>
                  </a:moveTo>
                  <a:cubicBezTo>
                    <a:pt x="304800" y="76200"/>
                    <a:pt x="236601" y="152400"/>
                    <a:pt x="152400" y="152400"/>
                  </a:cubicBezTo>
                  <a:cubicBezTo>
                    <a:pt x="68199" y="152400"/>
                    <a:pt x="0" y="76200"/>
                    <a:pt x="0" y="76200"/>
                  </a:cubicBezTo>
                  <a:cubicBezTo>
                    <a:pt x="0" y="76200"/>
                    <a:pt x="68199" y="0"/>
                    <a:pt x="152400" y="0"/>
                  </a:cubicBezTo>
                  <a:cubicBezTo>
                    <a:pt x="236601" y="0"/>
                    <a:pt x="304800" y="76200"/>
                    <a:pt x="304800" y="76200"/>
                  </a:cubicBezTo>
                  <a:close/>
                </a:path>
              </a:pathLst>
            </a:custGeom>
            <a:noFill/>
            <a:ln w="19050" cap="rnd">
              <a:solidFill>
                <a:srgbClr val="FEBB5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9" name="Forma Livre: Forma 238">
              <a:extLst>
                <a:ext uri="{FF2B5EF4-FFF2-40B4-BE49-F238E27FC236}">
                  <a16:creationId xmlns:a16="http://schemas.microsoft.com/office/drawing/2014/main" id="{A0FAB5F9-3A9E-2A91-4636-B23C092ADDD5}"/>
                </a:ext>
              </a:extLst>
            </p:cNvPr>
            <p:cNvSpPr/>
            <p:nvPr/>
          </p:nvSpPr>
          <p:spPr>
            <a:xfrm>
              <a:off x="12905556" y="8373468"/>
              <a:ext cx="95250" cy="95250"/>
            </a:xfrm>
            <a:custGeom>
              <a:avLst/>
              <a:gdLst>
                <a:gd name="connsiteX0" fmla="*/ 95250 w 95250"/>
                <a:gd name="connsiteY0" fmla="*/ 47625 h 95250"/>
                <a:gd name="connsiteX1" fmla="*/ 47625 w 95250"/>
                <a:gd name="connsiteY1" fmla="*/ 95250 h 95250"/>
                <a:gd name="connsiteX2" fmla="*/ 0 w 95250"/>
                <a:gd name="connsiteY2" fmla="*/ 47625 h 95250"/>
                <a:gd name="connsiteX3" fmla="*/ 47625 w 95250"/>
                <a:gd name="connsiteY3" fmla="*/ 0 h 95250"/>
                <a:gd name="connsiteX4" fmla="*/ 95250 w 95250"/>
                <a:gd name="connsiteY4" fmla="*/ 47625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95250" y="47625"/>
                  </a:moveTo>
                  <a:cubicBezTo>
                    <a:pt x="95250" y="73927"/>
                    <a:pt x="73928" y="95250"/>
                    <a:pt x="47625" y="95250"/>
                  </a:cubicBezTo>
                  <a:cubicBezTo>
                    <a:pt x="21322" y="95250"/>
                    <a:pt x="0" y="73927"/>
                    <a:pt x="0" y="47625"/>
                  </a:cubicBezTo>
                  <a:cubicBezTo>
                    <a:pt x="0" y="21323"/>
                    <a:pt x="21322" y="0"/>
                    <a:pt x="47625" y="0"/>
                  </a:cubicBezTo>
                  <a:cubicBezTo>
                    <a:pt x="73928" y="0"/>
                    <a:pt x="95250" y="21323"/>
                    <a:pt x="95250" y="47625"/>
                  </a:cubicBezTo>
                  <a:close/>
                </a:path>
              </a:pathLst>
            </a:custGeom>
            <a:noFill/>
            <a:ln w="19050" cap="rnd">
              <a:solidFill>
                <a:srgbClr val="FEBB5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40" name="Retângulo 239">
            <a:extLst>
              <a:ext uri="{FF2B5EF4-FFF2-40B4-BE49-F238E27FC236}">
                <a16:creationId xmlns:a16="http://schemas.microsoft.com/office/drawing/2014/main" id="{97867F5D-B771-DEBC-11B6-8D891B70D57B}"/>
              </a:ext>
            </a:extLst>
          </p:cNvPr>
          <p:cNvSpPr/>
          <p:nvPr/>
        </p:nvSpPr>
        <p:spPr>
          <a:xfrm>
            <a:off x="4631803" y="1165588"/>
            <a:ext cx="190458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200" kern="0" dirty="0">
                <a:solidFill>
                  <a:srgbClr val="FE9600"/>
                </a:solidFill>
                <a:latin typeface="Itau Display Pro App" panose="020B0503020204020204" pitchFamily="34" charset="0"/>
              </a:rPr>
              <a:t>Hórus</a:t>
            </a:r>
          </a:p>
          <a:p>
            <a:pPr algn="ctr"/>
            <a:r>
              <a:rPr lang="pt-BR" sz="1200" kern="0" dirty="0">
                <a:solidFill>
                  <a:srgbClr val="FE9600"/>
                </a:solidFill>
                <a:latin typeface="Itau Display Pro App" panose="020B0503020204020204" pitchFamily="34" charset="0"/>
              </a:rPr>
              <a:t>(Esforço do cliente)</a:t>
            </a:r>
          </a:p>
        </p:txBody>
      </p:sp>
      <p:grpSp>
        <p:nvGrpSpPr>
          <p:cNvPr id="15" name="Agrupar 14">
            <a:extLst>
              <a:ext uri="{FF2B5EF4-FFF2-40B4-BE49-F238E27FC236}">
                <a16:creationId xmlns:a16="http://schemas.microsoft.com/office/drawing/2014/main" id="{0A4FBFB7-6ACF-0BB9-156A-BFB833D93D95}"/>
              </a:ext>
            </a:extLst>
          </p:cNvPr>
          <p:cNvGrpSpPr/>
          <p:nvPr/>
        </p:nvGrpSpPr>
        <p:grpSpPr>
          <a:xfrm>
            <a:off x="1431763" y="2777296"/>
            <a:ext cx="9328474" cy="5962854"/>
            <a:chOff x="1431763" y="2224846"/>
            <a:chExt cx="9328474" cy="5962854"/>
          </a:xfrm>
        </p:grpSpPr>
        <p:sp>
          <p:nvSpPr>
            <p:cNvPr id="2" name="Elipse 1">
              <a:extLst>
                <a:ext uri="{FF2B5EF4-FFF2-40B4-BE49-F238E27FC236}">
                  <a16:creationId xmlns:a16="http://schemas.microsoft.com/office/drawing/2014/main" id="{3611C760-B1E6-7C10-7F5A-250E01172A8A}"/>
                </a:ext>
              </a:extLst>
            </p:cNvPr>
            <p:cNvSpPr/>
            <p:nvPr/>
          </p:nvSpPr>
          <p:spPr>
            <a:xfrm>
              <a:off x="1431763" y="5854889"/>
              <a:ext cx="9328474" cy="2332811"/>
            </a:xfrm>
            <a:prstGeom prst="ellipse">
              <a:avLst/>
            </a:prstGeom>
            <a:gradFill flip="none" rotWithShape="1">
              <a:gsLst>
                <a:gs pos="0">
                  <a:srgbClr val="FF7500"/>
                </a:gs>
                <a:gs pos="100000">
                  <a:srgbClr val="FD9D00"/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74" name="Agrupar 73">
              <a:extLst>
                <a:ext uri="{FF2B5EF4-FFF2-40B4-BE49-F238E27FC236}">
                  <a16:creationId xmlns:a16="http://schemas.microsoft.com/office/drawing/2014/main" id="{CF98398C-8768-AC08-9368-F8389B9ED29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878884" y="2224846"/>
              <a:ext cx="4434232" cy="4062974"/>
              <a:chOff x="580073" y="1316736"/>
              <a:chExt cx="2951700" cy="2704568"/>
            </a:xfrm>
          </p:grpSpPr>
          <p:sp>
            <p:nvSpPr>
              <p:cNvPr id="75" name="Forma Livre: Forma 74">
                <a:extLst>
                  <a:ext uri="{FF2B5EF4-FFF2-40B4-BE49-F238E27FC236}">
                    <a16:creationId xmlns:a16="http://schemas.microsoft.com/office/drawing/2014/main" id="{E6BF439D-0E6D-A522-5EBA-FB1DED8C06D9}"/>
                  </a:ext>
                </a:extLst>
              </p:cNvPr>
              <p:cNvSpPr/>
              <p:nvPr/>
            </p:nvSpPr>
            <p:spPr>
              <a:xfrm>
                <a:off x="819006" y="1749993"/>
                <a:ext cx="2409697" cy="970892"/>
              </a:xfrm>
              <a:custGeom>
                <a:avLst/>
                <a:gdLst>
                  <a:gd name="connsiteX0" fmla="*/ 6002 w 2409697"/>
                  <a:gd name="connsiteY0" fmla="*/ 535630 h 970892"/>
                  <a:gd name="connsiteX1" fmla="*/ 1189939 w 2409697"/>
                  <a:gd name="connsiteY1" fmla="*/ 970804 h 970892"/>
                  <a:gd name="connsiteX2" fmla="*/ 1496055 w 2409697"/>
                  <a:gd name="connsiteY2" fmla="*/ 941764 h 970892"/>
                  <a:gd name="connsiteX3" fmla="*/ 2400519 w 2409697"/>
                  <a:gd name="connsiteY3" fmla="*/ 483682 h 970892"/>
                  <a:gd name="connsiteX4" fmla="*/ 1902754 w 2409697"/>
                  <a:gd name="connsiteY4" fmla="*/ 394942 h 970892"/>
                  <a:gd name="connsiteX5" fmla="*/ 1314204 w 2409697"/>
                  <a:gd name="connsiteY5" fmla="*/ 27362 h 970892"/>
                  <a:gd name="connsiteX6" fmla="*/ 681319 w 2409697"/>
                  <a:gd name="connsiteY6" fmla="*/ 368369 h 970892"/>
                  <a:gd name="connsiteX7" fmla="*/ 6002 w 2409697"/>
                  <a:gd name="connsiteY7" fmla="*/ 535630 h 970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09697" h="970892">
                    <a:moveTo>
                      <a:pt x="6002" y="535630"/>
                    </a:moveTo>
                    <a:cubicBezTo>
                      <a:pt x="-81893" y="917518"/>
                      <a:pt x="818765" y="966646"/>
                      <a:pt x="1189939" y="970804"/>
                    </a:cubicBezTo>
                    <a:cubicBezTo>
                      <a:pt x="1292847" y="971932"/>
                      <a:pt x="1395191" y="962205"/>
                      <a:pt x="1496055" y="941764"/>
                    </a:cubicBezTo>
                    <a:cubicBezTo>
                      <a:pt x="1809925" y="878116"/>
                      <a:pt x="2496872" y="710926"/>
                      <a:pt x="2400519" y="483682"/>
                    </a:cubicBezTo>
                    <a:cubicBezTo>
                      <a:pt x="2276183" y="190465"/>
                      <a:pt x="1902754" y="394942"/>
                      <a:pt x="1902754" y="394942"/>
                    </a:cubicBezTo>
                    <a:cubicBezTo>
                      <a:pt x="1902754" y="394942"/>
                      <a:pt x="1949626" y="173548"/>
                      <a:pt x="1314204" y="27362"/>
                    </a:cubicBezTo>
                    <a:cubicBezTo>
                      <a:pt x="678781" y="-118823"/>
                      <a:pt x="681319" y="368369"/>
                      <a:pt x="681319" y="368369"/>
                    </a:cubicBezTo>
                    <a:cubicBezTo>
                      <a:pt x="681319" y="368369"/>
                      <a:pt x="116452" y="55838"/>
                      <a:pt x="6002" y="53563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70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1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76" name="Gráfico 4">
                <a:extLst>
                  <a:ext uri="{FF2B5EF4-FFF2-40B4-BE49-F238E27FC236}">
                    <a16:creationId xmlns:a16="http://schemas.microsoft.com/office/drawing/2014/main" id="{91E7E74F-8232-CB06-7122-CFBAEDBD08A5}"/>
                  </a:ext>
                </a:extLst>
              </p:cNvPr>
              <p:cNvGrpSpPr/>
              <p:nvPr/>
            </p:nvGrpSpPr>
            <p:grpSpPr>
              <a:xfrm>
                <a:off x="957449" y="2278997"/>
                <a:ext cx="1056288" cy="1542144"/>
                <a:chOff x="957449" y="2278997"/>
                <a:chExt cx="1056288" cy="1542144"/>
              </a:xfrm>
            </p:grpSpPr>
            <p:grpSp>
              <p:nvGrpSpPr>
                <p:cNvPr id="141" name="Gráfico 4">
                  <a:extLst>
                    <a:ext uri="{FF2B5EF4-FFF2-40B4-BE49-F238E27FC236}">
                      <a16:creationId xmlns:a16="http://schemas.microsoft.com/office/drawing/2014/main" id="{594D2715-6021-AFFF-14D0-C8AB6B473E15}"/>
                    </a:ext>
                  </a:extLst>
                </p:cNvPr>
                <p:cNvGrpSpPr/>
                <p:nvPr/>
              </p:nvGrpSpPr>
              <p:grpSpPr>
                <a:xfrm>
                  <a:off x="1025667" y="2278997"/>
                  <a:ext cx="826166" cy="1066367"/>
                  <a:chOff x="1025667" y="2278997"/>
                  <a:chExt cx="826166" cy="1066367"/>
                </a:xfrm>
              </p:grpSpPr>
              <p:sp>
                <p:nvSpPr>
                  <p:cNvPr id="145" name="Forma Livre: Forma 144">
                    <a:extLst>
                      <a:ext uri="{FF2B5EF4-FFF2-40B4-BE49-F238E27FC236}">
                        <a16:creationId xmlns:a16="http://schemas.microsoft.com/office/drawing/2014/main" id="{D0D50FF3-C842-6A23-0C4D-1B0075323417}"/>
                      </a:ext>
                    </a:extLst>
                  </p:cNvPr>
                  <p:cNvSpPr/>
                  <p:nvPr/>
                </p:nvSpPr>
                <p:spPr>
                  <a:xfrm>
                    <a:off x="1025667" y="2278997"/>
                    <a:ext cx="826166" cy="1066367"/>
                  </a:xfrm>
                  <a:custGeom>
                    <a:avLst/>
                    <a:gdLst>
                      <a:gd name="connsiteX0" fmla="*/ 826166 w 826166"/>
                      <a:gd name="connsiteY0" fmla="*/ 628021 h 1066367"/>
                      <a:gd name="connsiteX1" fmla="*/ 103765 w 826166"/>
                      <a:gd name="connsiteY1" fmla="*/ 0 h 1066367"/>
                      <a:gd name="connsiteX2" fmla="*/ 260313 w 826166"/>
                      <a:gd name="connsiteY2" fmla="*/ 875847 h 1066367"/>
                      <a:gd name="connsiteX3" fmla="*/ 796422 w 826166"/>
                      <a:gd name="connsiteY3" fmla="*/ 1066368 h 1066367"/>
                      <a:gd name="connsiteX4" fmla="*/ 826166 w 826166"/>
                      <a:gd name="connsiteY4" fmla="*/ 628021 h 10663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26166" h="1066367">
                        <a:moveTo>
                          <a:pt x="826166" y="628021"/>
                        </a:moveTo>
                        <a:cubicBezTo>
                          <a:pt x="826166" y="628021"/>
                          <a:pt x="560297" y="34185"/>
                          <a:pt x="103765" y="0"/>
                        </a:cubicBezTo>
                        <a:cubicBezTo>
                          <a:pt x="-200166" y="459069"/>
                          <a:pt x="260313" y="875847"/>
                          <a:pt x="260313" y="875847"/>
                        </a:cubicBezTo>
                        <a:lnTo>
                          <a:pt x="796422" y="1066368"/>
                        </a:lnTo>
                        <a:lnTo>
                          <a:pt x="826166" y="628021"/>
                        </a:lnTo>
                        <a:close/>
                      </a:path>
                    </a:pathLst>
                  </a:custGeom>
                  <a:solidFill>
                    <a:srgbClr val="114585"/>
                  </a:solidFill>
                  <a:ln w="70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1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6" name="Forma Livre: Forma 145">
                    <a:extLst>
                      <a:ext uri="{FF2B5EF4-FFF2-40B4-BE49-F238E27FC236}">
                        <a16:creationId xmlns:a16="http://schemas.microsoft.com/office/drawing/2014/main" id="{071A842C-555F-84C1-8341-3E822C7D5644}"/>
                      </a:ext>
                    </a:extLst>
                  </p:cNvPr>
                  <p:cNvSpPr/>
                  <p:nvPr/>
                </p:nvSpPr>
                <p:spPr>
                  <a:xfrm>
                    <a:off x="1031740" y="2278997"/>
                    <a:ext cx="791335" cy="1066367"/>
                  </a:xfrm>
                  <a:custGeom>
                    <a:avLst/>
                    <a:gdLst>
                      <a:gd name="connsiteX0" fmla="*/ 548021 w 791335"/>
                      <a:gd name="connsiteY0" fmla="*/ 234645 h 1066367"/>
                      <a:gd name="connsiteX1" fmla="*/ 431721 w 791335"/>
                      <a:gd name="connsiteY1" fmla="*/ 498681 h 1066367"/>
                      <a:gd name="connsiteX2" fmla="*/ 108476 w 791335"/>
                      <a:gd name="connsiteY2" fmla="*/ 987 h 1066367"/>
                      <a:gd name="connsiteX3" fmla="*/ 97692 w 791335"/>
                      <a:gd name="connsiteY3" fmla="*/ 0 h 1066367"/>
                      <a:gd name="connsiteX4" fmla="*/ 94238 w 791335"/>
                      <a:gd name="connsiteY4" fmla="*/ 5427 h 1066367"/>
                      <a:gd name="connsiteX5" fmla="*/ 267350 w 791335"/>
                      <a:gd name="connsiteY5" fmla="*/ 272002 h 1066367"/>
                      <a:gd name="connsiteX6" fmla="*/ 2185 w 791335"/>
                      <a:gd name="connsiteY6" fmla="*/ 233023 h 1066367"/>
                      <a:gd name="connsiteX7" fmla="*/ 987 w 791335"/>
                      <a:gd name="connsiteY7" fmla="*/ 240495 h 1066367"/>
                      <a:gd name="connsiteX8" fmla="*/ 0 w 791335"/>
                      <a:gd name="connsiteY8" fmla="*/ 247120 h 1066367"/>
                      <a:gd name="connsiteX9" fmla="*/ 277781 w 791335"/>
                      <a:gd name="connsiteY9" fmla="*/ 287931 h 1066367"/>
                      <a:gd name="connsiteX10" fmla="*/ 566277 w 791335"/>
                      <a:gd name="connsiteY10" fmla="*/ 732128 h 1066367"/>
                      <a:gd name="connsiteX11" fmla="*/ 98679 w 791335"/>
                      <a:gd name="connsiteY11" fmla="*/ 678559 h 1066367"/>
                      <a:gd name="connsiteX12" fmla="*/ 108054 w 791335"/>
                      <a:gd name="connsiteY12" fmla="*/ 694066 h 1066367"/>
                      <a:gd name="connsiteX13" fmla="*/ 576356 w 791335"/>
                      <a:gd name="connsiteY13" fmla="*/ 747705 h 1066367"/>
                      <a:gd name="connsiteX14" fmla="*/ 781256 w 791335"/>
                      <a:gd name="connsiteY14" fmla="*/ 1063125 h 1066367"/>
                      <a:gd name="connsiteX15" fmla="*/ 790349 w 791335"/>
                      <a:gd name="connsiteY15" fmla="*/ 1066368 h 1066367"/>
                      <a:gd name="connsiteX16" fmla="*/ 791335 w 791335"/>
                      <a:gd name="connsiteY16" fmla="*/ 1052271 h 1066367"/>
                      <a:gd name="connsiteX17" fmla="*/ 441095 w 791335"/>
                      <a:gd name="connsiteY17" fmla="*/ 513060 h 1066367"/>
                      <a:gd name="connsiteX18" fmla="*/ 558876 w 791335"/>
                      <a:gd name="connsiteY18" fmla="*/ 245711 h 1066367"/>
                      <a:gd name="connsiteX19" fmla="*/ 548021 w 791335"/>
                      <a:gd name="connsiteY19" fmla="*/ 234645 h 10663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791335" h="1066367">
                        <a:moveTo>
                          <a:pt x="548021" y="234645"/>
                        </a:moveTo>
                        <a:lnTo>
                          <a:pt x="431721" y="498681"/>
                        </a:lnTo>
                        <a:lnTo>
                          <a:pt x="108476" y="987"/>
                        </a:lnTo>
                        <a:cubicBezTo>
                          <a:pt x="104882" y="634"/>
                          <a:pt x="101287" y="211"/>
                          <a:pt x="97692" y="0"/>
                        </a:cubicBezTo>
                        <a:cubicBezTo>
                          <a:pt x="96494" y="1833"/>
                          <a:pt x="95437" y="3595"/>
                          <a:pt x="94238" y="5427"/>
                        </a:cubicBezTo>
                        <a:lnTo>
                          <a:pt x="267350" y="272002"/>
                        </a:lnTo>
                        <a:lnTo>
                          <a:pt x="2185" y="233023"/>
                        </a:lnTo>
                        <a:cubicBezTo>
                          <a:pt x="1762" y="235561"/>
                          <a:pt x="1410" y="238028"/>
                          <a:pt x="987" y="240495"/>
                        </a:cubicBezTo>
                        <a:lnTo>
                          <a:pt x="0" y="247120"/>
                        </a:lnTo>
                        <a:lnTo>
                          <a:pt x="277781" y="287931"/>
                        </a:lnTo>
                        <a:lnTo>
                          <a:pt x="566277" y="732128"/>
                        </a:lnTo>
                        <a:lnTo>
                          <a:pt x="98679" y="678559"/>
                        </a:lnTo>
                        <a:cubicBezTo>
                          <a:pt x="101780" y="683775"/>
                          <a:pt x="104882" y="688991"/>
                          <a:pt x="108054" y="694066"/>
                        </a:cubicBezTo>
                        <a:lnTo>
                          <a:pt x="576356" y="747705"/>
                        </a:lnTo>
                        <a:lnTo>
                          <a:pt x="781256" y="1063125"/>
                        </a:lnTo>
                        <a:lnTo>
                          <a:pt x="790349" y="1066368"/>
                        </a:lnTo>
                        <a:lnTo>
                          <a:pt x="791335" y="1052271"/>
                        </a:lnTo>
                        <a:lnTo>
                          <a:pt x="441095" y="513060"/>
                        </a:lnTo>
                        <a:lnTo>
                          <a:pt x="558876" y="245711"/>
                        </a:lnTo>
                        <a:cubicBezTo>
                          <a:pt x="555211" y="242045"/>
                          <a:pt x="551616" y="238310"/>
                          <a:pt x="548021" y="234645"/>
                        </a:cubicBezTo>
                        <a:close/>
                      </a:path>
                    </a:pathLst>
                  </a:custGeom>
                  <a:solidFill>
                    <a:srgbClr val="0070C0"/>
                  </a:solidFill>
                  <a:ln w="70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1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42" name="Gráfico 4">
                  <a:extLst>
                    <a:ext uri="{FF2B5EF4-FFF2-40B4-BE49-F238E27FC236}">
                      <a16:creationId xmlns:a16="http://schemas.microsoft.com/office/drawing/2014/main" id="{ED890AC5-25A0-43F5-D74C-7164C8235CC5}"/>
                    </a:ext>
                  </a:extLst>
                </p:cNvPr>
                <p:cNvGrpSpPr/>
                <p:nvPr/>
              </p:nvGrpSpPr>
              <p:grpSpPr>
                <a:xfrm>
                  <a:off x="957449" y="3046287"/>
                  <a:ext cx="1056288" cy="774854"/>
                  <a:chOff x="957449" y="3046287"/>
                  <a:chExt cx="1056288" cy="774854"/>
                </a:xfrm>
              </p:grpSpPr>
              <p:sp>
                <p:nvSpPr>
                  <p:cNvPr id="143" name="Forma Livre: Forma 142">
                    <a:extLst>
                      <a:ext uri="{FF2B5EF4-FFF2-40B4-BE49-F238E27FC236}">
                        <a16:creationId xmlns:a16="http://schemas.microsoft.com/office/drawing/2014/main" id="{444B7D1D-D77E-38BD-F47E-BAA774619699}"/>
                      </a:ext>
                    </a:extLst>
                  </p:cNvPr>
                  <p:cNvSpPr/>
                  <p:nvPr/>
                </p:nvSpPr>
                <p:spPr>
                  <a:xfrm>
                    <a:off x="957449" y="3046287"/>
                    <a:ext cx="1056288" cy="774854"/>
                  </a:xfrm>
                  <a:custGeom>
                    <a:avLst/>
                    <a:gdLst>
                      <a:gd name="connsiteX0" fmla="*/ 754190 w 1056288"/>
                      <a:gd name="connsiteY0" fmla="*/ 138653 h 774854"/>
                      <a:gd name="connsiteX1" fmla="*/ 0 w 1056288"/>
                      <a:gd name="connsiteY1" fmla="*/ 88961 h 774854"/>
                      <a:gd name="connsiteX2" fmla="*/ 1031548 w 1056288"/>
                      <a:gd name="connsiteY2" fmla="*/ 773934 h 774854"/>
                      <a:gd name="connsiteX3" fmla="*/ 1056288 w 1056288"/>
                      <a:gd name="connsiteY3" fmla="*/ 339042 h 774854"/>
                      <a:gd name="connsiteX4" fmla="*/ 754190 w 1056288"/>
                      <a:gd name="connsiteY4" fmla="*/ 138653 h 7748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056288" h="774854">
                        <a:moveTo>
                          <a:pt x="754190" y="138653"/>
                        </a:moveTo>
                        <a:cubicBezTo>
                          <a:pt x="754190" y="138653"/>
                          <a:pt x="286310" y="-136943"/>
                          <a:pt x="0" y="88961"/>
                        </a:cubicBezTo>
                        <a:cubicBezTo>
                          <a:pt x="84300" y="828913"/>
                          <a:pt x="1031548" y="773934"/>
                          <a:pt x="1031548" y="773934"/>
                        </a:cubicBezTo>
                        <a:lnTo>
                          <a:pt x="1056288" y="339042"/>
                        </a:lnTo>
                        <a:lnTo>
                          <a:pt x="754190" y="138653"/>
                        </a:lnTo>
                        <a:close/>
                      </a:path>
                    </a:pathLst>
                  </a:custGeom>
                  <a:solidFill>
                    <a:srgbClr val="EEA004"/>
                  </a:solidFill>
                  <a:ln w="70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1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4" name="Forma Livre: Forma 143">
                    <a:extLst>
                      <a:ext uri="{FF2B5EF4-FFF2-40B4-BE49-F238E27FC236}">
                        <a16:creationId xmlns:a16="http://schemas.microsoft.com/office/drawing/2014/main" id="{C4CDE693-FB6E-CE9A-64C0-7E20D976A0F2}"/>
                      </a:ext>
                    </a:extLst>
                  </p:cNvPr>
                  <p:cNvSpPr/>
                  <p:nvPr/>
                </p:nvSpPr>
                <p:spPr>
                  <a:xfrm>
                    <a:off x="957449" y="3046931"/>
                    <a:ext cx="936040" cy="600461"/>
                  </a:xfrm>
                  <a:custGeom>
                    <a:avLst/>
                    <a:gdLst>
                      <a:gd name="connsiteX0" fmla="*/ 0 w 936040"/>
                      <a:gd name="connsiteY0" fmla="*/ 88388 h 600461"/>
                      <a:gd name="connsiteX1" fmla="*/ 1057 w 936040"/>
                      <a:gd name="connsiteY1" fmla="*/ 96846 h 600461"/>
                      <a:gd name="connsiteX2" fmla="*/ 661572 w 936040"/>
                      <a:gd name="connsiteY2" fmla="*/ 420232 h 600461"/>
                      <a:gd name="connsiteX3" fmla="*/ 299632 w 936040"/>
                      <a:gd name="connsiteY3" fmla="*/ 591228 h 600461"/>
                      <a:gd name="connsiteX4" fmla="*/ 313658 w 936040"/>
                      <a:gd name="connsiteY4" fmla="*/ 600462 h 600461"/>
                      <a:gd name="connsiteX5" fmla="*/ 678066 w 936040"/>
                      <a:gd name="connsiteY5" fmla="*/ 428267 h 600461"/>
                      <a:gd name="connsiteX6" fmla="*/ 936041 w 936040"/>
                      <a:gd name="connsiteY6" fmla="*/ 554576 h 600461"/>
                      <a:gd name="connsiteX7" fmla="*/ 927160 w 936040"/>
                      <a:gd name="connsiteY7" fmla="*/ 534276 h 600461"/>
                      <a:gd name="connsiteX8" fmla="*/ 424884 w 936040"/>
                      <a:gd name="connsiteY8" fmla="*/ 288354 h 600461"/>
                      <a:gd name="connsiteX9" fmla="*/ 324724 w 936040"/>
                      <a:gd name="connsiteY9" fmla="*/ 916 h 600461"/>
                      <a:gd name="connsiteX10" fmla="*/ 309218 w 936040"/>
                      <a:gd name="connsiteY10" fmla="*/ 0 h 600461"/>
                      <a:gd name="connsiteX11" fmla="*/ 406558 w 936040"/>
                      <a:gd name="connsiteY11" fmla="*/ 279332 h 600461"/>
                      <a:gd name="connsiteX12" fmla="*/ 6344 w 936040"/>
                      <a:gd name="connsiteY12" fmla="*/ 83384 h 600461"/>
                      <a:gd name="connsiteX13" fmla="*/ 0 w 936040"/>
                      <a:gd name="connsiteY13" fmla="*/ 88388 h 600461"/>
                      <a:gd name="connsiteX14" fmla="*/ 0 w 936040"/>
                      <a:gd name="connsiteY14" fmla="*/ 88388 h 6004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936040" h="600461">
                        <a:moveTo>
                          <a:pt x="0" y="88388"/>
                        </a:moveTo>
                        <a:cubicBezTo>
                          <a:pt x="352" y="91208"/>
                          <a:pt x="705" y="94027"/>
                          <a:pt x="1057" y="96846"/>
                        </a:cubicBezTo>
                        <a:lnTo>
                          <a:pt x="661572" y="420232"/>
                        </a:lnTo>
                        <a:lnTo>
                          <a:pt x="299632" y="591228"/>
                        </a:lnTo>
                        <a:cubicBezTo>
                          <a:pt x="304284" y="594330"/>
                          <a:pt x="308936" y="597431"/>
                          <a:pt x="313658" y="600462"/>
                        </a:cubicBezTo>
                        <a:lnTo>
                          <a:pt x="678066" y="428267"/>
                        </a:lnTo>
                        <a:lnTo>
                          <a:pt x="936041" y="554576"/>
                        </a:lnTo>
                        <a:lnTo>
                          <a:pt x="927160" y="534276"/>
                        </a:lnTo>
                        <a:lnTo>
                          <a:pt x="424884" y="288354"/>
                        </a:lnTo>
                        <a:lnTo>
                          <a:pt x="324724" y="916"/>
                        </a:lnTo>
                        <a:cubicBezTo>
                          <a:pt x="319579" y="564"/>
                          <a:pt x="314434" y="282"/>
                          <a:pt x="309218" y="0"/>
                        </a:cubicBezTo>
                        <a:lnTo>
                          <a:pt x="406558" y="279332"/>
                        </a:lnTo>
                        <a:lnTo>
                          <a:pt x="6344" y="83384"/>
                        </a:lnTo>
                        <a:cubicBezTo>
                          <a:pt x="4300" y="85146"/>
                          <a:pt x="2115" y="86696"/>
                          <a:pt x="0" y="88388"/>
                        </a:cubicBezTo>
                        <a:lnTo>
                          <a:pt x="0" y="8838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70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1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77" name="Gráfico 4">
                <a:extLst>
                  <a:ext uri="{FF2B5EF4-FFF2-40B4-BE49-F238E27FC236}">
                    <a16:creationId xmlns:a16="http://schemas.microsoft.com/office/drawing/2014/main" id="{D6CDB3F9-EDA7-BD1B-6D3A-5741A135DBAC}"/>
                  </a:ext>
                </a:extLst>
              </p:cNvPr>
              <p:cNvGrpSpPr/>
              <p:nvPr/>
            </p:nvGrpSpPr>
            <p:grpSpPr>
              <a:xfrm>
                <a:off x="1927182" y="2179472"/>
                <a:ext cx="1179960" cy="1599401"/>
                <a:chOff x="1927182" y="2179472"/>
                <a:chExt cx="1179960" cy="1599401"/>
              </a:xfrm>
            </p:grpSpPr>
            <p:grpSp>
              <p:nvGrpSpPr>
                <p:cNvPr id="132" name="Gráfico 4">
                  <a:extLst>
                    <a:ext uri="{FF2B5EF4-FFF2-40B4-BE49-F238E27FC236}">
                      <a16:creationId xmlns:a16="http://schemas.microsoft.com/office/drawing/2014/main" id="{BB33633D-EC96-3A23-A236-3891FD0A3903}"/>
                    </a:ext>
                  </a:extLst>
                </p:cNvPr>
                <p:cNvGrpSpPr/>
                <p:nvPr/>
              </p:nvGrpSpPr>
              <p:grpSpPr>
                <a:xfrm>
                  <a:off x="2030094" y="2179472"/>
                  <a:ext cx="667449" cy="1150949"/>
                  <a:chOff x="2030094" y="2179472"/>
                  <a:chExt cx="667449" cy="1150949"/>
                </a:xfrm>
              </p:grpSpPr>
              <p:sp>
                <p:nvSpPr>
                  <p:cNvPr id="139" name="Forma Livre: Forma 138">
                    <a:extLst>
                      <a:ext uri="{FF2B5EF4-FFF2-40B4-BE49-F238E27FC236}">
                        <a16:creationId xmlns:a16="http://schemas.microsoft.com/office/drawing/2014/main" id="{8673EE63-81CE-0B51-546B-5D91BB7801D5}"/>
                      </a:ext>
                    </a:extLst>
                  </p:cNvPr>
                  <p:cNvSpPr/>
                  <p:nvPr/>
                </p:nvSpPr>
                <p:spPr>
                  <a:xfrm>
                    <a:off x="2030094" y="2179472"/>
                    <a:ext cx="667449" cy="1150949"/>
                  </a:xfrm>
                  <a:custGeom>
                    <a:avLst/>
                    <a:gdLst>
                      <a:gd name="connsiteX0" fmla="*/ 1336 w 667449"/>
                      <a:gd name="connsiteY0" fmla="*/ 860199 h 1150949"/>
                      <a:gd name="connsiteX1" fmla="*/ 386254 w 667449"/>
                      <a:gd name="connsiteY1" fmla="*/ 0 h 1150949"/>
                      <a:gd name="connsiteX2" fmla="*/ 436017 w 667449"/>
                      <a:gd name="connsiteY2" fmla="*/ 1150950 h 1150949"/>
                      <a:gd name="connsiteX3" fmla="*/ 1336 w 667449"/>
                      <a:gd name="connsiteY3" fmla="*/ 860199 h 11509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667449" h="1150949">
                        <a:moveTo>
                          <a:pt x="1336" y="860199"/>
                        </a:moveTo>
                        <a:cubicBezTo>
                          <a:pt x="1336" y="860199"/>
                          <a:pt x="-43493" y="209270"/>
                          <a:pt x="386254" y="0"/>
                        </a:cubicBezTo>
                        <a:cubicBezTo>
                          <a:pt x="988478" y="560144"/>
                          <a:pt x="436017" y="1150950"/>
                          <a:pt x="436017" y="1150950"/>
                        </a:cubicBezTo>
                        <a:lnTo>
                          <a:pt x="1336" y="860199"/>
                        </a:lnTo>
                        <a:close/>
                      </a:path>
                    </a:pathLst>
                  </a:custGeom>
                  <a:solidFill>
                    <a:srgbClr val="EEA004"/>
                  </a:solidFill>
                  <a:ln w="70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1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0" name="Forma Livre: Forma 139">
                    <a:extLst>
                      <a:ext uri="{FF2B5EF4-FFF2-40B4-BE49-F238E27FC236}">
                        <a16:creationId xmlns:a16="http://schemas.microsoft.com/office/drawing/2014/main" id="{E38279F3-9CC6-37C1-9C96-800403699072}"/>
                      </a:ext>
                    </a:extLst>
                  </p:cNvPr>
                  <p:cNvSpPr/>
                  <p:nvPr/>
                </p:nvSpPr>
                <p:spPr>
                  <a:xfrm>
                    <a:off x="2106919" y="2179472"/>
                    <a:ext cx="589254" cy="998419"/>
                  </a:xfrm>
                  <a:custGeom>
                    <a:avLst/>
                    <a:gdLst>
                      <a:gd name="connsiteX0" fmla="*/ 309429 w 589254"/>
                      <a:gd name="connsiteY0" fmla="*/ 0 h 998419"/>
                      <a:gd name="connsiteX1" fmla="*/ 315632 w 589254"/>
                      <a:gd name="connsiteY1" fmla="*/ 5850 h 998419"/>
                      <a:gd name="connsiteX2" fmla="*/ 175155 w 589254"/>
                      <a:gd name="connsiteY2" fmla="*/ 761661 h 998419"/>
                      <a:gd name="connsiteX3" fmla="*/ 588056 w 589254"/>
                      <a:gd name="connsiteY3" fmla="*/ 517994 h 998419"/>
                      <a:gd name="connsiteX4" fmla="*/ 589255 w 589254"/>
                      <a:gd name="connsiteY4" fmla="*/ 533924 h 998419"/>
                      <a:gd name="connsiteX5" fmla="*/ 171702 w 589254"/>
                      <a:gd name="connsiteY5" fmla="*/ 780339 h 998419"/>
                      <a:gd name="connsiteX6" fmla="*/ 131173 w 589254"/>
                      <a:gd name="connsiteY6" fmla="*/ 998420 h 998419"/>
                      <a:gd name="connsiteX7" fmla="*/ 118203 w 589254"/>
                      <a:gd name="connsiteY7" fmla="*/ 989750 h 998419"/>
                      <a:gd name="connsiteX8" fmla="*/ 198979 w 589254"/>
                      <a:gd name="connsiteY8" fmla="*/ 554999 h 998419"/>
                      <a:gd name="connsiteX9" fmla="*/ 198979 w 589254"/>
                      <a:gd name="connsiteY9" fmla="*/ 554999 h 998419"/>
                      <a:gd name="connsiteX10" fmla="*/ 0 w 589254"/>
                      <a:gd name="connsiteY10" fmla="*/ 361024 h 998419"/>
                      <a:gd name="connsiteX11" fmla="*/ 5639 w 589254"/>
                      <a:gd name="connsiteY11" fmla="*/ 346575 h 998419"/>
                      <a:gd name="connsiteX12" fmla="*/ 202151 w 589254"/>
                      <a:gd name="connsiteY12" fmla="*/ 538083 h 998419"/>
                      <a:gd name="connsiteX13" fmla="*/ 301394 w 589254"/>
                      <a:gd name="connsiteY13" fmla="*/ 4159 h 998419"/>
                      <a:gd name="connsiteX14" fmla="*/ 309429 w 589254"/>
                      <a:gd name="connsiteY14" fmla="*/ 0 h 998419"/>
                      <a:gd name="connsiteX15" fmla="*/ 309429 w 589254"/>
                      <a:gd name="connsiteY15" fmla="*/ 0 h 9984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589254" h="998419">
                        <a:moveTo>
                          <a:pt x="309429" y="0"/>
                        </a:moveTo>
                        <a:cubicBezTo>
                          <a:pt x="311544" y="1974"/>
                          <a:pt x="313588" y="3877"/>
                          <a:pt x="315632" y="5850"/>
                        </a:cubicBezTo>
                        <a:lnTo>
                          <a:pt x="175155" y="761661"/>
                        </a:lnTo>
                        <a:lnTo>
                          <a:pt x="588056" y="517994"/>
                        </a:lnTo>
                        <a:cubicBezTo>
                          <a:pt x="588550" y="523351"/>
                          <a:pt x="588902" y="528637"/>
                          <a:pt x="589255" y="533924"/>
                        </a:cubicBezTo>
                        <a:lnTo>
                          <a:pt x="171702" y="780339"/>
                        </a:lnTo>
                        <a:lnTo>
                          <a:pt x="131173" y="998420"/>
                        </a:lnTo>
                        <a:lnTo>
                          <a:pt x="118203" y="989750"/>
                        </a:lnTo>
                        <a:lnTo>
                          <a:pt x="198979" y="554999"/>
                        </a:lnTo>
                        <a:lnTo>
                          <a:pt x="198979" y="554999"/>
                        </a:lnTo>
                        <a:lnTo>
                          <a:pt x="0" y="361024"/>
                        </a:lnTo>
                        <a:cubicBezTo>
                          <a:pt x="1833" y="356161"/>
                          <a:pt x="3736" y="351368"/>
                          <a:pt x="5639" y="346575"/>
                        </a:cubicBezTo>
                        <a:lnTo>
                          <a:pt x="202151" y="538083"/>
                        </a:lnTo>
                        <a:lnTo>
                          <a:pt x="301394" y="4159"/>
                        </a:lnTo>
                        <a:cubicBezTo>
                          <a:pt x="304072" y="2749"/>
                          <a:pt x="306680" y="1339"/>
                          <a:pt x="309429" y="0"/>
                        </a:cubicBezTo>
                        <a:lnTo>
                          <a:pt x="309429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70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1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33" name="Gráfico 4">
                  <a:extLst>
                    <a:ext uri="{FF2B5EF4-FFF2-40B4-BE49-F238E27FC236}">
                      <a16:creationId xmlns:a16="http://schemas.microsoft.com/office/drawing/2014/main" id="{54014E5B-DDE3-FE66-77BE-0A5A9CDE29FB}"/>
                    </a:ext>
                  </a:extLst>
                </p:cNvPr>
                <p:cNvGrpSpPr/>
                <p:nvPr/>
              </p:nvGrpSpPr>
              <p:grpSpPr>
                <a:xfrm>
                  <a:off x="2178673" y="2384033"/>
                  <a:ext cx="928469" cy="923833"/>
                  <a:chOff x="2178673" y="2384033"/>
                  <a:chExt cx="928469" cy="923833"/>
                </a:xfrm>
              </p:grpSpPr>
              <p:sp>
                <p:nvSpPr>
                  <p:cNvPr id="137" name="Forma Livre: Forma 136">
                    <a:extLst>
                      <a:ext uri="{FF2B5EF4-FFF2-40B4-BE49-F238E27FC236}">
                        <a16:creationId xmlns:a16="http://schemas.microsoft.com/office/drawing/2014/main" id="{24176956-0446-0015-7221-EA5C2437B993}"/>
                      </a:ext>
                    </a:extLst>
                  </p:cNvPr>
                  <p:cNvSpPr/>
                  <p:nvPr/>
                </p:nvSpPr>
                <p:spPr>
                  <a:xfrm>
                    <a:off x="2178814" y="2384033"/>
                    <a:ext cx="928328" cy="923833"/>
                  </a:xfrm>
                  <a:custGeom>
                    <a:avLst/>
                    <a:gdLst>
                      <a:gd name="connsiteX0" fmla="*/ 51525 w 928328"/>
                      <a:gd name="connsiteY0" fmla="*/ 487461 h 923833"/>
                      <a:gd name="connsiteX1" fmla="*/ 877327 w 928328"/>
                      <a:gd name="connsiteY1" fmla="*/ 3370 h 923833"/>
                      <a:gd name="connsiteX2" fmla="*/ 562047 w 928328"/>
                      <a:gd name="connsiteY2" fmla="*/ 835375 h 923833"/>
                      <a:gd name="connsiteX3" fmla="*/ 0 w 928328"/>
                      <a:gd name="connsiteY3" fmla="*/ 923833 h 923833"/>
                      <a:gd name="connsiteX4" fmla="*/ 51525 w 928328"/>
                      <a:gd name="connsiteY4" fmla="*/ 487461 h 9238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928328" h="923833">
                        <a:moveTo>
                          <a:pt x="51525" y="487461"/>
                        </a:moveTo>
                        <a:cubicBezTo>
                          <a:pt x="51525" y="487461"/>
                          <a:pt x="422276" y="-47168"/>
                          <a:pt x="877327" y="3370"/>
                        </a:cubicBezTo>
                        <a:cubicBezTo>
                          <a:pt x="1091461" y="510580"/>
                          <a:pt x="562047" y="835375"/>
                          <a:pt x="562047" y="835375"/>
                        </a:cubicBezTo>
                        <a:lnTo>
                          <a:pt x="0" y="923833"/>
                        </a:lnTo>
                        <a:lnTo>
                          <a:pt x="51525" y="487461"/>
                        </a:lnTo>
                        <a:close/>
                      </a:path>
                    </a:pathLst>
                  </a:custGeom>
                  <a:solidFill>
                    <a:srgbClr val="0070C0"/>
                  </a:solidFill>
                  <a:ln w="70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1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8" name="Forma Livre: Forma 137">
                    <a:extLst>
                      <a:ext uri="{FF2B5EF4-FFF2-40B4-BE49-F238E27FC236}">
                        <a16:creationId xmlns:a16="http://schemas.microsoft.com/office/drawing/2014/main" id="{9DC241E3-95B2-9CD6-1EF5-4E600776AA27}"/>
                      </a:ext>
                    </a:extLst>
                  </p:cNvPr>
                  <p:cNvSpPr/>
                  <p:nvPr/>
                </p:nvSpPr>
                <p:spPr>
                  <a:xfrm>
                    <a:off x="2178673" y="2386416"/>
                    <a:ext cx="928358" cy="921380"/>
                  </a:xfrm>
                  <a:custGeom>
                    <a:avLst/>
                    <a:gdLst>
                      <a:gd name="connsiteX0" fmla="*/ 391544 w 928358"/>
                      <a:gd name="connsiteY0" fmla="*/ 148653 h 921380"/>
                      <a:gd name="connsiteX1" fmla="*/ 457166 w 928358"/>
                      <a:gd name="connsiteY1" fmla="*/ 429606 h 921380"/>
                      <a:gd name="connsiteX2" fmla="*/ 866613 w 928358"/>
                      <a:gd name="connsiteY2" fmla="*/ 0 h 921380"/>
                      <a:gd name="connsiteX3" fmla="*/ 877397 w 928358"/>
                      <a:gd name="connsiteY3" fmla="*/ 987 h 921380"/>
                      <a:gd name="connsiteX4" fmla="*/ 879794 w 928358"/>
                      <a:gd name="connsiteY4" fmla="*/ 6908 h 921380"/>
                      <a:gd name="connsiteX5" fmla="*/ 660515 w 928358"/>
                      <a:gd name="connsiteY5" fmla="*/ 236971 h 921380"/>
                      <a:gd name="connsiteX6" fmla="*/ 928358 w 928358"/>
                      <a:gd name="connsiteY6" fmla="*/ 247543 h 921380"/>
                      <a:gd name="connsiteX7" fmla="*/ 928147 w 928358"/>
                      <a:gd name="connsiteY7" fmla="*/ 255156 h 921380"/>
                      <a:gd name="connsiteX8" fmla="*/ 927865 w 928358"/>
                      <a:gd name="connsiteY8" fmla="*/ 261852 h 921380"/>
                      <a:gd name="connsiteX9" fmla="*/ 647334 w 928358"/>
                      <a:gd name="connsiteY9" fmla="*/ 250786 h 921380"/>
                      <a:gd name="connsiteX10" fmla="*/ 281870 w 928358"/>
                      <a:gd name="connsiteY10" fmla="*/ 634224 h 921380"/>
                      <a:gd name="connsiteX11" fmla="*/ 751300 w 928358"/>
                      <a:gd name="connsiteY11" fmla="*/ 667775 h 921380"/>
                      <a:gd name="connsiteX12" fmla="*/ 739247 w 928358"/>
                      <a:gd name="connsiteY12" fmla="*/ 681238 h 921380"/>
                      <a:gd name="connsiteX13" fmla="*/ 269041 w 928358"/>
                      <a:gd name="connsiteY13" fmla="*/ 647616 h 921380"/>
                      <a:gd name="connsiteX14" fmla="*/ 9515 w 928358"/>
                      <a:gd name="connsiteY14" fmla="*/ 919900 h 921380"/>
                      <a:gd name="connsiteX15" fmla="*/ 0 w 928358"/>
                      <a:gd name="connsiteY15" fmla="*/ 921380 h 921380"/>
                      <a:gd name="connsiteX16" fmla="*/ 1692 w 928358"/>
                      <a:gd name="connsiteY16" fmla="*/ 907353 h 921380"/>
                      <a:gd name="connsiteX17" fmla="*/ 445324 w 928358"/>
                      <a:gd name="connsiteY17" fmla="*/ 441941 h 921380"/>
                      <a:gd name="connsiteX18" fmla="*/ 378857 w 928358"/>
                      <a:gd name="connsiteY18" fmla="*/ 157534 h 921380"/>
                      <a:gd name="connsiteX19" fmla="*/ 391544 w 928358"/>
                      <a:gd name="connsiteY19" fmla="*/ 148653 h 9213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928358" h="921380">
                        <a:moveTo>
                          <a:pt x="391544" y="148653"/>
                        </a:moveTo>
                        <a:lnTo>
                          <a:pt x="457166" y="429606"/>
                        </a:lnTo>
                        <a:lnTo>
                          <a:pt x="866613" y="0"/>
                        </a:lnTo>
                        <a:cubicBezTo>
                          <a:pt x="870208" y="352"/>
                          <a:pt x="873803" y="564"/>
                          <a:pt x="877397" y="987"/>
                        </a:cubicBezTo>
                        <a:cubicBezTo>
                          <a:pt x="878243" y="2960"/>
                          <a:pt x="878948" y="4934"/>
                          <a:pt x="879794" y="6908"/>
                        </a:cubicBezTo>
                        <a:lnTo>
                          <a:pt x="660515" y="236971"/>
                        </a:lnTo>
                        <a:lnTo>
                          <a:pt x="928358" y="247543"/>
                        </a:lnTo>
                        <a:cubicBezTo>
                          <a:pt x="928358" y="250081"/>
                          <a:pt x="928217" y="252618"/>
                          <a:pt x="928147" y="255156"/>
                        </a:cubicBezTo>
                        <a:lnTo>
                          <a:pt x="927865" y="261852"/>
                        </a:lnTo>
                        <a:lnTo>
                          <a:pt x="647334" y="250786"/>
                        </a:lnTo>
                        <a:lnTo>
                          <a:pt x="281870" y="634224"/>
                        </a:lnTo>
                        <a:lnTo>
                          <a:pt x="751300" y="667775"/>
                        </a:lnTo>
                        <a:cubicBezTo>
                          <a:pt x="747282" y="672356"/>
                          <a:pt x="743264" y="676867"/>
                          <a:pt x="739247" y="681238"/>
                        </a:cubicBezTo>
                        <a:lnTo>
                          <a:pt x="269041" y="647616"/>
                        </a:lnTo>
                        <a:lnTo>
                          <a:pt x="9515" y="919900"/>
                        </a:lnTo>
                        <a:lnTo>
                          <a:pt x="0" y="921380"/>
                        </a:lnTo>
                        <a:lnTo>
                          <a:pt x="1692" y="907353"/>
                        </a:lnTo>
                        <a:lnTo>
                          <a:pt x="445324" y="441941"/>
                        </a:lnTo>
                        <a:lnTo>
                          <a:pt x="378857" y="157534"/>
                        </a:lnTo>
                        <a:cubicBezTo>
                          <a:pt x="383086" y="154574"/>
                          <a:pt x="387315" y="151613"/>
                          <a:pt x="391544" y="148653"/>
                        </a:cubicBezTo>
                        <a:close/>
                      </a:path>
                    </a:pathLst>
                  </a:custGeom>
                  <a:solidFill>
                    <a:srgbClr val="114585"/>
                  </a:solidFill>
                  <a:ln w="70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1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34" name="Gráfico 4">
                  <a:extLst>
                    <a:ext uri="{FF2B5EF4-FFF2-40B4-BE49-F238E27FC236}">
                      <a16:creationId xmlns:a16="http://schemas.microsoft.com/office/drawing/2014/main" id="{7129E99C-7450-BCC6-C37C-F9C4388D2B06}"/>
                    </a:ext>
                  </a:extLst>
                </p:cNvPr>
                <p:cNvGrpSpPr/>
                <p:nvPr/>
              </p:nvGrpSpPr>
              <p:grpSpPr>
                <a:xfrm>
                  <a:off x="1927182" y="3109864"/>
                  <a:ext cx="1140095" cy="669009"/>
                  <a:chOff x="1927182" y="3109864"/>
                  <a:chExt cx="1140095" cy="669009"/>
                </a:xfrm>
              </p:grpSpPr>
              <p:sp>
                <p:nvSpPr>
                  <p:cNvPr id="135" name="Forma Livre: Forma 134">
                    <a:extLst>
                      <a:ext uri="{FF2B5EF4-FFF2-40B4-BE49-F238E27FC236}">
                        <a16:creationId xmlns:a16="http://schemas.microsoft.com/office/drawing/2014/main" id="{260EAD1D-5724-CB6B-E761-3B0B2ADE62F1}"/>
                      </a:ext>
                    </a:extLst>
                  </p:cNvPr>
                  <p:cNvSpPr/>
                  <p:nvPr/>
                </p:nvSpPr>
                <p:spPr>
                  <a:xfrm>
                    <a:off x="1927182" y="3109864"/>
                    <a:ext cx="1140095" cy="669009"/>
                  </a:xfrm>
                  <a:custGeom>
                    <a:avLst/>
                    <a:gdLst>
                      <a:gd name="connsiteX0" fmla="*/ 389641 w 1140095"/>
                      <a:gd name="connsiteY0" fmla="*/ 60697 h 669009"/>
                      <a:gd name="connsiteX1" fmla="*/ 1140095 w 1140095"/>
                      <a:gd name="connsiteY1" fmla="*/ 150918 h 669009"/>
                      <a:gd name="connsiteX2" fmla="*/ 0 w 1140095"/>
                      <a:gd name="connsiteY2" fmla="*/ 634022 h 669009"/>
                      <a:gd name="connsiteX3" fmla="*/ 389641 w 1140095"/>
                      <a:gd name="connsiteY3" fmla="*/ 60697 h 6690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140095" h="669009">
                        <a:moveTo>
                          <a:pt x="389641" y="60697"/>
                        </a:moveTo>
                        <a:cubicBezTo>
                          <a:pt x="389641" y="60697"/>
                          <a:pt x="900305" y="-123974"/>
                          <a:pt x="1140095" y="150918"/>
                        </a:cubicBezTo>
                        <a:cubicBezTo>
                          <a:pt x="920816" y="862676"/>
                          <a:pt x="0" y="634022"/>
                          <a:pt x="0" y="634022"/>
                        </a:cubicBezTo>
                        <a:lnTo>
                          <a:pt x="389641" y="60697"/>
                        </a:lnTo>
                        <a:close/>
                      </a:path>
                    </a:pathLst>
                  </a:custGeom>
                  <a:solidFill>
                    <a:srgbClr val="114585"/>
                  </a:solidFill>
                  <a:ln w="70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1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6" name="Forma Livre: Forma 135">
                    <a:extLst>
                      <a:ext uri="{FF2B5EF4-FFF2-40B4-BE49-F238E27FC236}">
                        <a16:creationId xmlns:a16="http://schemas.microsoft.com/office/drawing/2014/main" id="{91BE1517-96E1-12FB-6D0B-02B6A9BB99D3}"/>
                      </a:ext>
                    </a:extLst>
                  </p:cNvPr>
                  <p:cNvSpPr/>
                  <p:nvPr/>
                </p:nvSpPr>
                <p:spPr>
                  <a:xfrm>
                    <a:off x="2061245" y="3115019"/>
                    <a:ext cx="1006032" cy="591298"/>
                  </a:xfrm>
                  <a:custGeom>
                    <a:avLst/>
                    <a:gdLst>
                      <a:gd name="connsiteX0" fmla="*/ 1006033 w 1006032"/>
                      <a:gd name="connsiteY0" fmla="*/ 145763 h 591298"/>
                      <a:gd name="connsiteX1" fmla="*/ 1003425 w 1006032"/>
                      <a:gd name="connsiteY1" fmla="*/ 153939 h 591298"/>
                      <a:gd name="connsiteX2" fmla="*/ 294557 w 1006032"/>
                      <a:gd name="connsiteY2" fmla="*/ 350029 h 591298"/>
                      <a:gd name="connsiteX3" fmla="*/ 618788 w 1006032"/>
                      <a:gd name="connsiteY3" fmla="*/ 584814 h 591298"/>
                      <a:gd name="connsiteX4" fmla="*/ 603352 w 1006032"/>
                      <a:gd name="connsiteY4" fmla="*/ 591299 h 591298"/>
                      <a:gd name="connsiteX5" fmla="*/ 276865 w 1006032"/>
                      <a:gd name="connsiteY5" fmla="*/ 354892 h 591298"/>
                      <a:gd name="connsiteX6" fmla="*/ 0 w 1006032"/>
                      <a:gd name="connsiteY6" fmla="*/ 431509 h 591298"/>
                      <a:gd name="connsiteX7" fmla="*/ 12476 w 1006032"/>
                      <a:gd name="connsiteY7" fmla="*/ 413183 h 591298"/>
                      <a:gd name="connsiteX8" fmla="*/ 551475 w 1006032"/>
                      <a:gd name="connsiteY8" fmla="*/ 264037 h 591298"/>
                      <a:gd name="connsiteX9" fmla="*/ 702876 w 1006032"/>
                      <a:gd name="connsiteY9" fmla="*/ 0 h 591298"/>
                      <a:gd name="connsiteX10" fmla="*/ 718242 w 1006032"/>
                      <a:gd name="connsiteY10" fmla="*/ 1974 h 591298"/>
                      <a:gd name="connsiteX11" fmla="*/ 571070 w 1006032"/>
                      <a:gd name="connsiteY11" fmla="*/ 258609 h 591298"/>
                      <a:gd name="connsiteX12" fmla="*/ 1000535 w 1006032"/>
                      <a:gd name="connsiteY12" fmla="*/ 139772 h 591298"/>
                      <a:gd name="connsiteX13" fmla="*/ 1006033 w 1006032"/>
                      <a:gd name="connsiteY13" fmla="*/ 145763 h 591298"/>
                      <a:gd name="connsiteX14" fmla="*/ 1006033 w 1006032"/>
                      <a:gd name="connsiteY14" fmla="*/ 145763 h 5912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1006032" h="591298">
                        <a:moveTo>
                          <a:pt x="1006033" y="145763"/>
                        </a:moveTo>
                        <a:cubicBezTo>
                          <a:pt x="1005187" y="148512"/>
                          <a:pt x="1004270" y="151190"/>
                          <a:pt x="1003425" y="153939"/>
                        </a:cubicBezTo>
                        <a:lnTo>
                          <a:pt x="294557" y="350029"/>
                        </a:lnTo>
                        <a:lnTo>
                          <a:pt x="618788" y="584814"/>
                        </a:lnTo>
                        <a:cubicBezTo>
                          <a:pt x="613643" y="587070"/>
                          <a:pt x="608497" y="589184"/>
                          <a:pt x="603352" y="591299"/>
                        </a:cubicBezTo>
                        <a:lnTo>
                          <a:pt x="276865" y="354892"/>
                        </a:lnTo>
                        <a:lnTo>
                          <a:pt x="0" y="431509"/>
                        </a:lnTo>
                        <a:lnTo>
                          <a:pt x="12476" y="413183"/>
                        </a:lnTo>
                        <a:lnTo>
                          <a:pt x="551475" y="264037"/>
                        </a:lnTo>
                        <a:lnTo>
                          <a:pt x="702876" y="0"/>
                        </a:lnTo>
                        <a:cubicBezTo>
                          <a:pt x="708022" y="634"/>
                          <a:pt x="713097" y="1269"/>
                          <a:pt x="718242" y="1974"/>
                        </a:cubicBezTo>
                        <a:lnTo>
                          <a:pt x="571070" y="258609"/>
                        </a:lnTo>
                        <a:lnTo>
                          <a:pt x="1000535" y="139772"/>
                        </a:lnTo>
                        <a:cubicBezTo>
                          <a:pt x="1002438" y="141816"/>
                          <a:pt x="1004270" y="143719"/>
                          <a:pt x="1006033" y="145763"/>
                        </a:cubicBezTo>
                        <a:lnTo>
                          <a:pt x="1006033" y="145763"/>
                        </a:lnTo>
                        <a:close/>
                      </a:path>
                    </a:pathLst>
                  </a:custGeom>
                  <a:solidFill>
                    <a:srgbClr val="0070C0"/>
                  </a:solidFill>
                  <a:ln w="70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1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78" name="Gráfico 4">
                <a:extLst>
                  <a:ext uri="{FF2B5EF4-FFF2-40B4-BE49-F238E27FC236}">
                    <a16:creationId xmlns:a16="http://schemas.microsoft.com/office/drawing/2014/main" id="{8FED0F0F-4EFA-BE0F-FBCA-4CF17A385519}"/>
                  </a:ext>
                </a:extLst>
              </p:cNvPr>
              <p:cNvGrpSpPr/>
              <p:nvPr/>
            </p:nvGrpSpPr>
            <p:grpSpPr>
              <a:xfrm>
                <a:off x="1844151" y="1316736"/>
                <a:ext cx="404090" cy="384354"/>
                <a:chOff x="1844151" y="1316736"/>
                <a:chExt cx="404090" cy="384354"/>
              </a:xfrm>
            </p:grpSpPr>
            <p:sp>
              <p:nvSpPr>
                <p:cNvPr id="130" name="Forma Livre: Forma 129">
                  <a:extLst>
                    <a:ext uri="{FF2B5EF4-FFF2-40B4-BE49-F238E27FC236}">
                      <a16:creationId xmlns:a16="http://schemas.microsoft.com/office/drawing/2014/main" id="{CDFCB811-C1C0-FFB1-B177-5B01D862DBE2}"/>
                    </a:ext>
                  </a:extLst>
                </p:cNvPr>
                <p:cNvSpPr/>
                <p:nvPr/>
              </p:nvSpPr>
              <p:spPr>
                <a:xfrm>
                  <a:off x="1844151" y="1316736"/>
                  <a:ext cx="404090" cy="384354"/>
                </a:xfrm>
                <a:custGeom>
                  <a:avLst/>
                  <a:gdLst>
                    <a:gd name="connsiteX0" fmla="*/ 202081 w 404090"/>
                    <a:gd name="connsiteY0" fmla="*/ 0 h 384354"/>
                    <a:gd name="connsiteX1" fmla="*/ 274328 w 404090"/>
                    <a:gd name="connsiteY1" fmla="*/ 116159 h 384354"/>
                    <a:gd name="connsiteX2" fmla="*/ 404091 w 404090"/>
                    <a:gd name="connsiteY2" fmla="*/ 146820 h 384354"/>
                    <a:gd name="connsiteX3" fmla="*/ 318945 w 404090"/>
                    <a:gd name="connsiteY3" fmla="*/ 253605 h 384354"/>
                    <a:gd name="connsiteX4" fmla="*/ 326910 w 404090"/>
                    <a:gd name="connsiteY4" fmla="*/ 384355 h 384354"/>
                    <a:gd name="connsiteX5" fmla="*/ 202081 w 404090"/>
                    <a:gd name="connsiteY5" fmla="*/ 338610 h 384354"/>
                    <a:gd name="connsiteX6" fmla="*/ 77181 w 404090"/>
                    <a:gd name="connsiteY6" fmla="*/ 384355 h 384354"/>
                    <a:gd name="connsiteX7" fmla="*/ 85146 w 404090"/>
                    <a:gd name="connsiteY7" fmla="*/ 253605 h 384354"/>
                    <a:gd name="connsiteX8" fmla="*/ 0 w 404090"/>
                    <a:gd name="connsiteY8" fmla="*/ 146820 h 384354"/>
                    <a:gd name="connsiteX9" fmla="*/ 129763 w 404090"/>
                    <a:gd name="connsiteY9" fmla="*/ 116159 h 3843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04090" h="384354">
                      <a:moveTo>
                        <a:pt x="202081" y="0"/>
                      </a:moveTo>
                      <a:lnTo>
                        <a:pt x="274328" y="116159"/>
                      </a:lnTo>
                      <a:lnTo>
                        <a:pt x="404091" y="146820"/>
                      </a:lnTo>
                      <a:lnTo>
                        <a:pt x="318945" y="253605"/>
                      </a:lnTo>
                      <a:lnTo>
                        <a:pt x="326910" y="384355"/>
                      </a:lnTo>
                      <a:lnTo>
                        <a:pt x="202081" y="338610"/>
                      </a:lnTo>
                      <a:lnTo>
                        <a:pt x="77181" y="384355"/>
                      </a:lnTo>
                      <a:lnTo>
                        <a:pt x="85146" y="253605"/>
                      </a:lnTo>
                      <a:lnTo>
                        <a:pt x="0" y="146820"/>
                      </a:lnTo>
                      <a:lnTo>
                        <a:pt x="129763" y="116159"/>
                      </a:lnTo>
                      <a:close/>
                    </a:path>
                  </a:pathLst>
                </a:custGeom>
                <a:solidFill>
                  <a:srgbClr val="FFD247"/>
                </a:solidFill>
                <a:ln w="704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1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1" name="Forma Livre: Forma 130">
                  <a:extLst>
                    <a:ext uri="{FF2B5EF4-FFF2-40B4-BE49-F238E27FC236}">
                      <a16:creationId xmlns:a16="http://schemas.microsoft.com/office/drawing/2014/main" id="{BFFE4450-4146-641B-5753-26E13C9F4F72}"/>
                    </a:ext>
                  </a:extLst>
                </p:cNvPr>
                <p:cNvSpPr/>
                <p:nvPr/>
              </p:nvSpPr>
              <p:spPr>
                <a:xfrm>
                  <a:off x="2047500" y="1319414"/>
                  <a:ext cx="200741" cy="381676"/>
                </a:xfrm>
                <a:custGeom>
                  <a:avLst/>
                  <a:gdLst>
                    <a:gd name="connsiteX0" fmla="*/ 200741 w 200741"/>
                    <a:gd name="connsiteY0" fmla="*/ 144142 h 381676"/>
                    <a:gd name="connsiteX1" fmla="*/ 70978 w 200741"/>
                    <a:gd name="connsiteY1" fmla="*/ 113481 h 381676"/>
                    <a:gd name="connsiteX2" fmla="*/ 0 w 200741"/>
                    <a:gd name="connsiteY2" fmla="*/ 0 h 381676"/>
                    <a:gd name="connsiteX3" fmla="*/ 211 w 200741"/>
                    <a:gd name="connsiteY3" fmla="*/ 336707 h 381676"/>
                    <a:gd name="connsiteX4" fmla="*/ 123560 w 200741"/>
                    <a:gd name="connsiteY4" fmla="*/ 381676 h 381676"/>
                    <a:gd name="connsiteX5" fmla="*/ 115595 w 200741"/>
                    <a:gd name="connsiteY5" fmla="*/ 250927 h 3816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00741" h="381676">
                      <a:moveTo>
                        <a:pt x="200741" y="144142"/>
                      </a:moveTo>
                      <a:lnTo>
                        <a:pt x="70978" y="113481"/>
                      </a:lnTo>
                      <a:lnTo>
                        <a:pt x="0" y="0"/>
                      </a:lnTo>
                      <a:lnTo>
                        <a:pt x="211" y="336707"/>
                      </a:lnTo>
                      <a:lnTo>
                        <a:pt x="123560" y="381676"/>
                      </a:lnTo>
                      <a:lnTo>
                        <a:pt x="115595" y="250927"/>
                      </a:lnTo>
                      <a:close/>
                    </a:path>
                  </a:pathLst>
                </a:custGeom>
                <a:solidFill>
                  <a:srgbClr val="F7A605"/>
                </a:solidFill>
                <a:ln w="704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1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79" name="Gráfico 4">
                <a:extLst>
                  <a:ext uri="{FF2B5EF4-FFF2-40B4-BE49-F238E27FC236}">
                    <a16:creationId xmlns:a16="http://schemas.microsoft.com/office/drawing/2014/main" id="{475D162C-0EB2-8B01-6983-68D8A95FB496}"/>
                  </a:ext>
                </a:extLst>
              </p:cNvPr>
              <p:cNvGrpSpPr/>
              <p:nvPr/>
            </p:nvGrpSpPr>
            <p:grpSpPr>
              <a:xfrm>
                <a:off x="2585019" y="1607627"/>
                <a:ext cx="404090" cy="384284"/>
                <a:chOff x="2585019" y="1607627"/>
                <a:chExt cx="404090" cy="384284"/>
              </a:xfrm>
            </p:grpSpPr>
            <p:sp>
              <p:nvSpPr>
                <p:cNvPr id="128" name="Forma Livre: Forma 127">
                  <a:extLst>
                    <a:ext uri="{FF2B5EF4-FFF2-40B4-BE49-F238E27FC236}">
                      <a16:creationId xmlns:a16="http://schemas.microsoft.com/office/drawing/2014/main" id="{0D6D54C9-A116-8A62-6379-325C2BE8CAA8}"/>
                    </a:ext>
                  </a:extLst>
                </p:cNvPr>
                <p:cNvSpPr/>
                <p:nvPr/>
              </p:nvSpPr>
              <p:spPr>
                <a:xfrm>
                  <a:off x="2585019" y="1607627"/>
                  <a:ext cx="404090" cy="384284"/>
                </a:xfrm>
                <a:custGeom>
                  <a:avLst/>
                  <a:gdLst>
                    <a:gd name="connsiteX0" fmla="*/ 202080 w 404090"/>
                    <a:gd name="connsiteY0" fmla="*/ 0 h 384284"/>
                    <a:gd name="connsiteX1" fmla="*/ 274328 w 404090"/>
                    <a:gd name="connsiteY1" fmla="*/ 116159 h 384284"/>
                    <a:gd name="connsiteX2" fmla="*/ 404090 w 404090"/>
                    <a:gd name="connsiteY2" fmla="*/ 146750 h 384284"/>
                    <a:gd name="connsiteX3" fmla="*/ 318945 w 404090"/>
                    <a:gd name="connsiteY3" fmla="*/ 253605 h 384284"/>
                    <a:gd name="connsiteX4" fmla="*/ 326909 w 404090"/>
                    <a:gd name="connsiteY4" fmla="*/ 384284 h 384284"/>
                    <a:gd name="connsiteX5" fmla="*/ 202080 w 404090"/>
                    <a:gd name="connsiteY5" fmla="*/ 338539 h 384284"/>
                    <a:gd name="connsiteX6" fmla="*/ 77181 w 404090"/>
                    <a:gd name="connsiteY6" fmla="*/ 384284 h 384284"/>
                    <a:gd name="connsiteX7" fmla="*/ 85146 w 404090"/>
                    <a:gd name="connsiteY7" fmla="*/ 253605 h 384284"/>
                    <a:gd name="connsiteX8" fmla="*/ 0 w 404090"/>
                    <a:gd name="connsiteY8" fmla="*/ 146750 h 384284"/>
                    <a:gd name="connsiteX9" fmla="*/ 129833 w 404090"/>
                    <a:gd name="connsiteY9" fmla="*/ 116159 h 3842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04090" h="384284">
                      <a:moveTo>
                        <a:pt x="202080" y="0"/>
                      </a:moveTo>
                      <a:lnTo>
                        <a:pt x="274328" y="116159"/>
                      </a:lnTo>
                      <a:lnTo>
                        <a:pt x="404090" y="146750"/>
                      </a:lnTo>
                      <a:lnTo>
                        <a:pt x="318945" y="253605"/>
                      </a:lnTo>
                      <a:lnTo>
                        <a:pt x="326909" y="384284"/>
                      </a:lnTo>
                      <a:lnTo>
                        <a:pt x="202080" y="338539"/>
                      </a:lnTo>
                      <a:lnTo>
                        <a:pt x="77181" y="384284"/>
                      </a:lnTo>
                      <a:lnTo>
                        <a:pt x="85146" y="253605"/>
                      </a:lnTo>
                      <a:lnTo>
                        <a:pt x="0" y="146750"/>
                      </a:lnTo>
                      <a:lnTo>
                        <a:pt x="129833" y="116159"/>
                      </a:lnTo>
                      <a:close/>
                    </a:path>
                  </a:pathLst>
                </a:custGeom>
                <a:solidFill>
                  <a:srgbClr val="FFD247"/>
                </a:solidFill>
                <a:ln w="704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1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9" name="Forma Livre: Forma 128">
                  <a:extLst>
                    <a:ext uri="{FF2B5EF4-FFF2-40B4-BE49-F238E27FC236}">
                      <a16:creationId xmlns:a16="http://schemas.microsoft.com/office/drawing/2014/main" id="{982B9121-8D5C-A075-A3CC-1BC729CCA4FE}"/>
                    </a:ext>
                  </a:extLst>
                </p:cNvPr>
                <p:cNvSpPr/>
                <p:nvPr/>
              </p:nvSpPr>
              <p:spPr>
                <a:xfrm>
                  <a:off x="2788438" y="1610306"/>
                  <a:ext cx="200670" cy="381605"/>
                </a:xfrm>
                <a:custGeom>
                  <a:avLst/>
                  <a:gdLst>
                    <a:gd name="connsiteX0" fmla="*/ 200671 w 200670"/>
                    <a:gd name="connsiteY0" fmla="*/ 144071 h 381605"/>
                    <a:gd name="connsiteX1" fmla="*/ 70908 w 200670"/>
                    <a:gd name="connsiteY1" fmla="*/ 113481 h 381605"/>
                    <a:gd name="connsiteX2" fmla="*/ 0 w 200670"/>
                    <a:gd name="connsiteY2" fmla="*/ 0 h 381605"/>
                    <a:gd name="connsiteX3" fmla="*/ 141 w 200670"/>
                    <a:gd name="connsiteY3" fmla="*/ 336707 h 381605"/>
                    <a:gd name="connsiteX4" fmla="*/ 123490 w 200670"/>
                    <a:gd name="connsiteY4" fmla="*/ 381606 h 381605"/>
                    <a:gd name="connsiteX5" fmla="*/ 115525 w 200670"/>
                    <a:gd name="connsiteY5" fmla="*/ 250927 h 3816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00670" h="381605">
                      <a:moveTo>
                        <a:pt x="200671" y="144071"/>
                      </a:moveTo>
                      <a:lnTo>
                        <a:pt x="70908" y="113481"/>
                      </a:lnTo>
                      <a:lnTo>
                        <a:pt x="0" y="0"/>
                      </a:lnTo>
                      <a:lnTo>
                        <a:pt x="141" y="336707"/>
                      </a:lnTo>
                      <a:lnTo>
                        <a:pt x="123490" y="381606"/>
                      </a:lnTo>
                      <a:lnTo>
                        <a:pt x="115525" y="250927"/>
                      </a:lnTo>
                      <a:close/>
                    </a:path>
                  </a:pathLst>
                </a:custGeom>
                <a:solidFill>
                  <a:srgbClr val="F7A605"/>
                </a:solidFill>
                <a:ln w="704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1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80" name="Gráfico 4">
                <a:extLst>
                  <a:ext uri="{FF2B5EF4-FFF2-40B4-BE49-F238E27FC236}">
                    <a16:creationId xmlns:a16="http://schemas.microsoft.com/office/drawing/2014/main" id="{F1D95A34-09D7-BD90-1995-5C9368A7576B}"/>
                  </a:ext>
                </a:extLst>
              </p:cNvPr>
              <p:cNvGrpSpPr/>
              <p:nvPr/>
            </p:nvGrpSpPr>
            <p:grpSpPr>
              <a:xfrm>
                <a:off x="1076005" y="1607627"/>
                <a:ext cx="404090" cy="384284"/>
                <a:chOff x="1076005" y="1607627"/>
                <a:chExt cx="404090" cy="384284"/>
              </a:xfrm>
            </p:grpSpPr>
            <p:sp>
              <p:nvSpPr>
                <p:cNvPr id="126" name="Forma Livre: Forma 125">
                  <a:extLst>
                    <a:ext uri="{FF2B5EF4-FFF2-40B4-BE49-F238E27FC236}">
                      <a16:creationId xmlns:a16="http://schemas.microsoft.com/office/drawing/2014/main" id="{B6111CA4-0F69-05F0-E8DF-31C3AA2E900F}"/>
                    </a:ext>
                  </a:extLst>
                </p:cNvPr>
                <p:cNvSpPr/>
                <p:nvPr/>
              </p:nvSpPr>
              <p:spPr>
                <a:xfrm>
                  <a:off x="1076005" y="1607627"/>
                  <a:ext cx="404090" cy="384284"/>
                </a:xfrm>
                <a:custGeom>
                  <a:avLst/>
                  <a:gdLst>
                    <a:gd name="connsiteX0" fmla="*/ 202081 w 404090"/>
                    <a:gd name="connsiteY0" fmla="*/ 0 h 384284"/>
                    <a:gd name="connsiteX1" fmla="*/ 274328 w 404090"/>
                    <a:gd name="connsiteY1" fmla="*/ 116159 h 384284"/>
                    <a:gd name="connsiteX2" fmla="*/ 404091 w 404090"/>
                    <a:gd name="connsiteY2" fmla="*/ 146750 h 384284"/>
                    <a:gd name="connsiteX3" fmla="*/ 318945 w 404090"/>
                    <a:gd name="connsiteY3" fmla="*/ 253605 h 384284"/>
                    <a:gd name="connsiteX4" fmla="*/ 326909 w 404090"/>
                    <a:gd name="connsiteY4" fmla="*/ 384284 h 384284"/>
                    <a:gd name="connsiteX5" fmla="*/ 202081 w 404090"/>
                    <a:gd name="connsiteY5" fmla="*/ 338539 h 384284"/>
                    <a:gd name="connsiteX6" fmla="*/ 77181 w 404090"/>
                    <a:gd name="connsiteY6" fmla="*/ 384284 h 384284"/>
                    <a:gd name="connsiteX7" fmla="*/ 85146 w 404090"/>
                    <a:gd name="connsiteY7" fmla="*/ 253605 h 384284"/>
                    <a:gd name="connsiteX8" fmla="*/ 0 w 404090"/>
                    <a:gd name="connsiteY8" fmla="*/ 146750 h 384284"/>
                    <a:gd name="connsiteX9" fmla="*/ 129763 w 404090"/>
                    <a:gd name="connsiteY9" fmla="*/ 116159 h 3842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04090" h="384284">
                      <a:moveTo>
                        <a:pt x="202081" y="0"/>
                      </a:moveTo>
                      <a:lnTo>
                        <a:pt x="274328" y="116159"/>
                      </a:lnTo>
                      <a:lnTo>
                        <a:pt x="404091" y="146750"/>
                      </a:lnTo>
                      <a:lnTo>
                        <a:pt x="318945" y="253605"/>
                      </a:lnTo>
                      <a:lnTo>
                        <a:pt x="326909" y="384284"/>
                      </a:lnTo>
                      <a:lnTo>
                        <a:pt x="202081" y="338539"/>
                      </a:lnTo>
                      <a:lnTo>
                        <a:pt x="77181" y="384284"/>
                      </a:lnTo>
                      <a:lnTo>
                        <a:pt x="85146" y="253605"/>
                      </a:lnTo>
                      <a:lnTo>
                        <a:pt x="0" y="146750"/>
                      </a:lnTo>
                      <a:lnTo>
                        <a:pt x="129763" y="116159"/>
                      </a:lnTo>
                      <a:close/>
                    </a:path>
                  </a:pathLst>
                </a:custGeom>
                <a:solidFill>
                  <a:srgbClr val="FFD247"/>
                </a:solidFill>
                <a:ln w="704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1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7" name="Forma Livre: Forma 126">
                  <a:extLst>
                    <a:ext uri="{FF2B5EF4-FFF2-40B4-BE49-F238E27FC236}">
                      <a16:creationId xmlns:a16="http://schemas.microsoft.com/office/drawing/2014/main" id="{9D049ED7-10D3-063B-A229-9AC5C684D3B9}"/>
                    </a:ext>
                  </a:extLst>
                </p:cNvPr>
                <p:cNvSpPr/>
                <p:nvPr/>
              </p:nvSpPr>
              <p:spPr>
                <a:xfrm>
                  <a:off x="1279354" y="1610306"/>
                  <a:ext cx="200741" cy="381605"/>
                </a:xfrm>
                <a:custGeom>
                  <a:avLst/>
                  <a:gdLst>
                    <a:gd name="connsiteX0" fmla="*/ 200741 w 200741"/>
                    <a:gd name="connsiteY0" fmla="*/ 144071 h 381605"/>
                    <a:gd name="connsiteX1" fmla="*/ 70978 w 200741"/>
                    <a:gd name="connsiteY1" fmla="*/ 113481 h 381605"/>
                    <a:gd name="connsiteX2" fmla="*/ 0 w 200741"/>
                    <a:gd name="connsiteY2" fmla="*/ 0 h 381605"/>
                    <a:gd name="connsiteX3" fmla="*/ 211 w 200741"/>
                    <a:gd name="connsiteY3" fmla="*/ 336707 h 381605"/>
                    <a:gd name="connsiteX4" fmla="*/ 123560 w 200741"/>
                    <a:gd name="connsiteY4" fmla="*/ 381606 h 381605"/>
                    <a:gd name="connsiteX5" fmla="*/ 115595 w 200741"/>
                    <a:gd name="connsiteY5" fmla="*/ 250927 h 3816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00741" h="381605">
                      <a:moveTo>
                        <a:pt x="200741" y="144071"/>
                      </a:moveTo>
                      <a:lnTo>
                        <a:pt x="70978" y="113481"/>
                      </a:lnTo>
                      <a:lnTo>
                        <a:pt x="0" y="0"/>
                      </a:lnTo>
                      <a:lnTo>
                        <a:pt x="211" y="336707"/>
                      </a:lnTo>
                      <a:lnTo>
                        <a:pt x="123560" y="381606"/>
                      </a:lnTo>
                      <a:lnTo>
                        <a:pt x="115595" y="250927"/>
                      </a:lnTo>
                      <a:close/>
                    </a:path>
                  </a:pathLst>
                </a:custGeom>
                <a:solidFill>
                  <a:srgbClr val="F7A605"/>
                </a:solidFill>
                <a:ln w="704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1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81" name="Gráfico 4">
                <a:extLst>
                  <a:ext uri="{FF2B5EF4-FFF2-40B4-BE49-F238E27FC236}">
                    <a16:creationId xmlns:a16="http://schemas.microsoft.com/office/drawing/2014/main" id="{09280071-B437-EA5F-229D-4C100265B0E3}"/>
                  </a:ext>
                </a:extLst>
              </p:cNvPr>
              <p:cNvGrpSpPr/>
              <p:nvPr/>
            </p:nvGrpSpPr>
            <p:grpSpPr>
              <a:xfrm>
                <a:off x="580073" y="2313323"/>
                <a:ext cx="404090" cy="384284"/>
                <a:chOff x="580073" y="2313323"/>
                <a:chExt cx="404090" cy="384284"/>
              </a:xfrm>
            </p:grpSpPr>
            <p:sp>
              <p:nvSpPr>
                <p:cNvPr id="124" name="Forma Livre: Forma 123">
                  <a:extLst>
                    <a:ext uri="{FF2B5EF4-FFF2-40B4-BE49-F238E27FC236}">
                      <a16:creationId xmlns:a16="http://schemas.microsoft.com/office/drawing/2014/main" id="{B903EB13-D445-9B69-FB4E-D40E334D22B2}"/>
                    </a:ext>
                  </a:extLst>
                </p:cNvPr>
                <p:cNvSpPr/>
                <p:nvPr/>
              </p:nvSpPr>
              <p:spPr>
                <a:xfrm>
                  <a:off x="580073" y="2313323"/>
                  <a:ext cx="404090" cy="384284"/>
                </a:xfrm>
                <a:custGeom>
                  <a:avLst/>
                  <a:gdLst>
                    <a:gd name="connsiteX0" fmla="*/ 202081 w 404090"/>
                    <a:gd name="connsiteY0" fmla="*/ 0 h 384284"/>
                    <a:gd name="connsiteX1" fmla="*/ 274328 w 404090"/>
                    <a:gd name="connsiteY1" fmla="*/ 116159 h 384284"/>
                    <a:gd name="connsiteX2" fmla="*/ 404091 w 404090"/>
                    <a:gd name="connsiteY2" fmla="*/ 146750 h 384284"/>
                    <a:gd name="connsiteX3" fmla="*/ 318945 w 404090"/>
                    <a:gd name="connsiteY3" fmla="*/ 253605 h 384284"/>
                    <a:gd name="connsiteX4" fmla="*/ 326910 w 404090"/>
                    <a:gd name="connsiteY4" fmla="*/ 384284 h 384284"/>
                    <a:gd name="connsiteX5" fmla="*/ 202081 w 404090"/>
                    <a:gd name="connsiteY5" fmla="*/ 338539 h 384284"/>
                    <a:gd name="connsiteX6" fmla="*/ 77181 w 404090"/>
                    <a:gd name="connsiteY6" fmla="*/ 384284 h 384284"/>
                    <a:gd name="connsiteX7" fmla="*/ 85146 w 404090"/>
                    <a:gd name="connsiteY7" fmla="*/ 253605 h 384284"/>
                    <a:gd name="connsiteX8" fmla="*/ 0 w 404090"/>
                    <a:gd name="connsiteY8" fmla="*/ 146750 h 384284"/>
                    <a:gd name="connsiteX9" fmla="*/ 129833 w 404090"/>
                    <a:gd name="connsiteY9" fmla="*/ 116159 h 3842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04090" h="384284">
                      <a:moveTo>
                        <a:pt x="202081" y="0"/>
                      </a:moveTo>
                      <a:lnTo>
                        <a:pt x="274328" y="116159"/>
                      </a:lnTo>
                      <a:lnTo>
                        <a:pt x="404091" y="146750"/>
                      </a:lnTo>
                      <a:lnTo>
                        <a:pt x="318945" y="253605"/>
                      </a:lnTo>
                      <a:lnTo>
                        <a:pt x="326910" y="384284"/>
                      </a:lnTo>
                      <a:lnTo>
                        <a:pt x="202081" y="338539"/>
                      </a:lnTo>
                      <a:lnTo>
                        <a:pt x="77181" y="384284"/>
                      </a:lnTo>
                      <a:lnTo>
                        <a:pt x="85146" y="253605"/>
                      </a:lnTo>
                      <a:lnTo>
                        <a:pt x="0" y="146750"/>
                      </a:lnTo>
                      <a:lnTo>
                        <a:pt x="129833" y="116159"/>
                      </a:lnTo>
                      <a:close/>
                    </a:path>
                  </a:pathLst>
                </a:custGeom>
                <a:solidFill>
                  <a:srgbClr val="FFD247"/>
                </a:solidFill>
                <a:ln w="704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1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5" name="Forma Livre: Forma 124">
                  <a:extLst>
                    <a:ext uri="{FF2B5EF4-FFF2-40B4-BE49-F238E27FC236}">
                      <a16:creationId xmlns:a16="http://schemas.microsoft.com/office/drawing/2014/main" id="{4CF33484-839A-25A0-8834-A009DA89E308}"/>
                    </a:ext>
                  </a:extLst>
                </p:cNvPr>
                <p:cNvSpPr/>
                <p:nvPr/>
              </p:nvSpPr>
              <p:spPr>
                <a:xfrm>
                  <a:off x="783422" y="2316001"/>
                  <a:ext cx="200741" cy="381605"/>
                </a:xfrm>
                <a:custGeom>
                  <a:avLst/>
                  <a:gdLst>
                    <a:gd name="connsiteX0" fmla="*/ 200741 w 200741"/>
                    <a:gd name="connsiteY0" fmla="*/ 144071 h 381605"/>
                    <a:gd name="connsiteX1" fmla="*/ 70978 w 200741"/>
                    <a:gd name="connsiteY1" fmla="*/ 113481 h 381605"/>
                    <a:gd name="connsiteX2" fmla="*/ 0 w 200741"/>
                    <a:gd name="connsiteY2" fmla="*/ 0 h 381605"/>
                    <a:gd name="connsiteX3" fmla="*/ 211 w 200741"/>
                    <a:gd name="connsiteY3" fmla="*/ 336707 h 381605"/>
                    <a:gd name="connsiteX4" fmla="*/ 123560 w 200741"/>
                    <a:gd name="connsiteY4" fmla="*/ 381606 h 381605"/>
                    <a:gd name="connsiteX5" fmla="*/ 115595 w 200741"/>
                    <a:gd name="connsiteY5" fmla="*/ 250927 h 3816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00741" h="381605">
                      <a:moveTo>
                        <a:pt x="200741" y="144071"/>
                      </a:moveTo>
                      <a:lnTo>
                        <a:pt x="70978" y="113481"/>
                      </a:lnTo>
                      <a:lnTo>
                        <a:pt x="0" y="0"/>
                      </a:lnTo>
                      <a:lnTo>
                        <a:pt x="211" y="336707"/>
                      </a:lnTo>
                      <a:lnTo>
                        <a:pt x="123560" y="381606"/>
                      </a:lnTo>
                      <a:lnTo>
                        <a:pt x="115595" y="250927"/>
                      </a:lnTo>
                      <a:close/>
                    </a:path>
                  </a:pathLst>
                </a:custGeom>
                <a:solidFill>
                  <a:srgbClr val="F7A605"/>
                </a:solidFill>
                <a:ln w="704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1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82" name="Gráfico 4">
                <a:extLst>
                  <a:ext uri="{FF2B5EF4-FFF2-40B4-BE49-F238E27FC236}">
                    <a16:creationId xmlns:a16="http://schemas.microsoft.com/office/drawing/2014/main" id="{2B671C62-A037-FE02-622F-91F8F40B7E76}"/>
                  </a:ext>
                </a:extLst>
              </p:cNvPr>
              <p:cNvGrpSpPr/>
              <p:nvPr/>
            </p:nvGrpSpPr>
            <p:grpSpPr>
              <a:xfrm>
                <a:off x="3127683" y="2313323"/>
                <a:ext cx="404090" cy="384284"/>
                <a:chOff x="3127683" y="2313323"/>
                <a:chExt cx="404090" cy="384284"/>
              </a:xfrm>
            </p:grpSpPr>
            <p:sp>
              <p:nvSpPr>
                <p:cNvPr id="122" name="Forma Livre: Forma 121">
                  <a:extLst>
                    <a:ext uri="{FF2B5EF4-FFF2-40B4-BE49-F238E27FC236}">
                      <a16:creationId xmlns:a16="http://schemas.microsoft.com/office/drawing/2014/main" id="{994D5B0B-9732-284A-58D4-1BF44E5E0AAF}"/>
                    </a:ext>
                  </a:extLst>
                </p:cNvPr>
                <p:cNvSpPr/>
                <p:nvPr/>
              </p:nvSpPr>
              <p:spPr>
                <a:xfrm>
                  <a:off x="3127683" y="2313323"/>
                  <a:ext cx="404090" cy="384284"/>
                </a:xfrm>
                <a:custGeom>
                  <a:avLst/>
                  <a:gdLst>
                    <a:gd name="connsiteX0" fmla="*/ 202010 w 404090"/>
                    <a:gd name="connsiteY0" fmla="*/ 0 h 384284"/>
                    <a:gd name="connsiteX1" fmla="*/ 274257 w 404090"/>
                    <a:gd name="connsiteY1" fmla="*/ 116159 h 384284"/>
                    <a:gd name="connsiteX2" fmla="*/ 404090 w 404090"/>
                    <a:gd name="connsiteY2" fmla="*/ 146750 h 384284"/>
                    <a:gd name="connsiteX3" fmla="*/ 318945 w 404090"/>
                    <a:gd name="connsiteY3" fmla="*/ 253605 h 384284"/>
                    <a:gd name="connsiteX4" fmla="*/ 326910 w 404090"/>
                    <a:gd name="connsiteY4" fmla="*/ 384284 h 384284"/>
                    <a:gd name="connsiteX5" fmla="*/ 202010 w 404090"/>
                    <a:gd name="connsiteY5" fmla="*/ 338539 h 384284"/>
                    <a:gd name="connsiteX6" fmla="*/ 77181 w 404090"/>
                    <a:gd name="connsiteY6" fmla="*/ 384284 h 384284"/>
                    <a:gd name="connsiteX7" fmla="*/ 85146 w 404090"/>
                    <a:gd name="connsiteY7" fmla="*/ 253605 h 384284"/>
                    <a:gd name="connsiteX8" fmla="*/ 0 w 404090"/>
                    <a:gd name="connsiteY8" fmla="*/ 146750 h 384284"/>
                    <a:gd name="connsiteX9" fmla="*/ 129763 w 404090"/>
                    <a:gd name="connsiteY9" fmla="*/ 116159 h 3842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04090" h="384284">
                      <a:moveTo>
                        <a:pt x="202010" y="0"/>
                      </a:moveTo>
                      <a:lnTo>
                        <a:pt x="274257" y="116159"/>
                      </a:lnTo>
                      <a:lnTo>
                        <a:pt x="404090" y="146750"/>
                      </a:lnTo>
                      <a:lnTo>
                        <a:pt x="318945" y="253605"/>
                      </a:lnTo>
                      <a:lnTo>
                        <a:pt x="326910" y="384284"/>
                      </a:lnTo>
                      <a:lnTo>
                        <a:pt x="202010" y="338539"/>
                      </a:lnTo>
                      <a:lnTo>
                        <a:pt x="77181" y="384284"/>
                      </a:lnTo>
                      <a:lnTo>
                        <a:pt x="85146" y="253605"/>
                      </a:lnTo>
                      <a:lnTo>
                        <a:pt x="0" y="146750"/>
                      </a:lnTo>
                      <a:lnTo>
                        <a:pt x="129763" y="116159"/>
                      </a:lnTo>
                      <a:close/>
                    </a:path>
                  </a:pathLst>
                </a:custGeom>
                <a:solidFill>
                  <a:srgbClr val="FFD247"/>
                </a:solidFill>
                <a:ln w="704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1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3" name="Forma Livre: Forma 122">
                  <a:extLst>
                    <a:ext uri="{FF2B5EF4-FFF2-40B4-BE49-F238E27FC236}">
                      <a16:creationId xmlns:a16="http://schemas.microsoft.com/office/drawing/2014/main" id="{46AA9CA0-F0A9-68FF-6753-F72945BA5EA5}"/>
                    </a:ext>
                  </a:extLst>
                </p:cNvPr>
                <p:cNvSpPr/>
                <p:nvPr/>
              </p:nvSpPr>
              <p:spPr>
                <a:xfrm>
                  <a:off x="3331032" y="2316001"/>
                  <a:ext cx="200741" cy="381605"/>
                </a:xfrm>
                <a:custGeom>
                  <a:avLst/>
                  <a:gdLst>
                    <a:gd name="connsiteX0" fmla="*/ 200741 w 200741"/>
                    <a:gd name="connsiteY0" fmla="*/ 144071 h 381605"/>
                    <a:gd name="connsiteX1" fmla="*/ 70908 w 200741"/>
                    <a:gd name="connsiteY1" fmla="*/ 113481 h 381605"/>
                    <a:gd name="connsiteX2" fmla="*/ 0 w 200741"/>
                    <a:gd name="connsiteY2" fmla="*/ 0 h 381605"/>
                    <a:gd name="connsiteX3" fmla="*/ 211 w 200741"/>
                    <a:gd name="connsiteY3" fmla="*/ 336707 h 381605"/>
                    <a:gd name="connsiteX4" fmla="*/ 123560 w 200741"/>
                    <a:gd name="connsiteY4" fmla="*/ 381606 h 381605"/>
                    <a:gd name="connsiteX5" fmla="*/ 115595 w 200741"/>
                    <a:gd name="connsiteY5" fmla="*/ 250927 h 3816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00741" h="381605">
                      <a:moveTo>
                        <a:pt x="200741" y="144071"/>
                      </a:moveTo>
                      <a:lnTo>
                        <a:pt x="70908" y="113481"/>
                      </a:lnTo>
                      <a:lnTo>
                        <a:pt x="0" y="0"/>
                      </a:lnTo>
                      <a:lnTo>
                        <a:pt x="211" y="336707"/>
                      </a:lnTo>
                      <a:lnTo>
                        <a:pt x="123560" y="381606"/>
                      </a:lnTo>
                      <a:lnTo>
                        <a:pt x="115595" y="250927"/>
                      </a:lnTo>
                      <a:close/>
                    </a:path>
                  </a:pathLst>
                </a:custGeom>
                <a:solidFill>
                  <a:srgbClr val="F7A605"/>
                </a:solidFill>
                <a:ln w="704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1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83" name="Gráfico 4">
                <a:extLst>
                  <a:ext uri="{FF2B5EF4-FFF2-40B4-BE49-F238E27FC236}">
                    <a16:creationId xmlns:a16="http://schemas.microsoft.com/office/drawing/2014/main" id="{584BA849-5CCA-EED3-433D-B0BFD1AEBFF6}"/>
                  </a:ext>
                </a:extLst>
              </p:cNvPr>
              <p:cNvGrpSpPr/>
              <p:nvPr/>
            </p:nvGrpSpPr>
            <p:grpSpPr>
              <a:xfrm>
                <a:off x="1100070" y="1990512"/>
                <a:ext cx="1859696" cy="2030792"/>
                <a:chOff x="1100070" y="1990512"/>
                <a:chExt cx="1859696" cy="2030792"/>
              </a:xfrm>
            </p:grpSpPr>
            <p:sp>
              <p:nvSpPr>
                <p:cNvPr id="84" name="Forma Livre: Forma 83">
                  <a:extLst>
                    <a:ext uri="{FF2B5EF4-FFF2-40B4-BE49-F238E27FC236}">
                      <a16:creationId xmlns:a16="http://schemas.microsoft.com/office/drawing/2014/main" id="{F60E85C2-7133-1514-6FEA-006354F956D6}"/>
                    </a:ext>
                  </a:extLst>
                </p:cNvPr>
                <p:cNvSpPr/>
                <p:nvPr/>
              </p:nvSpPr>
              <p:spPr>
                <a:xfrm>
                  <a:off x="1460219" y="2668074"/>
                  <a:ext cx="1114368" cy="824603"/>
                </a:xfrm>
                <a:custGeom>
                  <a:avLst/>
                  <a:gdLst>
                    <a:gd name="connsiteX0" fmla="*/ 968817 w 1114368"/>
                    <a:gd name="connsiteY0" fmla="*/ 496496 h 824603"/>
                    <a:gd name="connsiteX1" fmla="*/ 900164 w 1114368"/>
                    <a:gd name="connsiteY1" fmla="*/ 453360 h 824603"/>
                    <a:gd name="connsiteX2" fmla="*/ 1114368 w 1114368"/>
                    <a:gd name="connsiteY2" fmla="*/ 357852 h 824603"/>
                    <a:gd name="connsiteX3" fmla="*/ 1025698 w 1114368"/>
                    <a:gd name="connsiteY3" fmla="*/ 155983 h 824603"/>
                    <a:gd name="connsiteX4" fmla="*/ 777661 w 1114368"/>
                    <a:gd name="connsiteY4" fmla="*/ 0 h 824603"/>
                    <a:gd name="connsiteX5" fmla="*/ 336707 w 1114368"/>
                    <a:gd name="connsiteY5" fmla="*/ 0 h 824603"/>
                    <a:gd name="connsiteX6" fmla="*/ 88670 w 1114368"/>
                    <a:gd name="connsiteY6" fmla="*/ 155983 h 824603"/>
                    <a:gd name="connsiteX7" fmla="*/ 0 w 1114368"/>
                    <a:gd name="connsiteY7" fmla="*/ 357852 h 824603"/>
                    <a:gd name="connsiteX8" fmla="*/ 214204 w 1114368"/>
                    <a:gd name="connsiteY8" fmla="*/ 453360 h 824603"/>
                    <a:gd name="connsiteX9" fmla="*/ 145552 w 1114368"/>
                    <a:gd name="connsiteY9" fmla="*/ 496496 h 824603"/>
                    <a:gd name="connsiteX10" fmla="*/ 107490 w 1114368"/>
                    <a:gd name="connsiteY10" fmla="*/ 824604 h 824603"/>
                    <a:gd name="connsiteX11" fmla="*/ 557114 w 1114368"/>
                    <a:gd name="connsiteY11" fmla="*/ 817555 h 824603"/>
                    <a:gd name="connsiteX12" fmla="*/ 1006738 w 1114368"/>
                    <a:gd name="connsiteY12" fmla="*/ 824604 h 824603"/>
                    <a:gd name="connsiteX13" fmla="*/ 968817 w 1114368"/>
                    <a:gd name="connsiteY13" fmla="*/ 496496 h 8246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114368" h="824603">
                      <a:moveTo>
                        <a:pt x="968817" y="496496"/>
                      </a:moveTo>
                      <a:lnTo>
                        <a:pt x="900164" y="453360"/>
                      </a:lnTo>
                      <a:lnTo>
                        <a:pt x="1114368" y="357852"/>
                      </a:lnTo>
                      <a:lnTo>
                        <a:pt x="1025698" y="155983"/>
                      </a:lnTo>
                      <a:cubicBezTo>
                        <a:pt x="984676" y="69851"/>
                        <a:pt x="878807" y="70"/>
                        <a:pt x="777661" y="0"/>
                      </a:cubicBezTo>
                      <a:lnTo>
                        <a:pt x="336707" y="0"/>
                      </a:lnTo>
                      <a:cubicBezTo>
                        <a:pt x="235561" y="70"/>
                        <a:pt x="129692" y="69851"/>
                        <a:pt x="88670" y="155983"/>
                      </a:cubicBezTo>
                      <a:lnTo>
                        <a:pt x="0" y="357852"/>
                      </a:lnTo>
                      <a:lnTo>
                        <a:pt x="214204" y="453360"/>
                      </a:lnTo>
                      <a:lnTo>
                        <a:pt x="145552" y="496496"/>
                      </a:lnTo>
                      <a:lnTo>
                        <a:pt x="107490" y="824604"/>
                      </a:lnTo>
                      <a:lnTo>
                        <a:pt x="557114" y="817555"/>
                      </a:lnTo>
                      <a:lnTo>
                        <a:pt x="1006738" y="824604"/>
                      </a:lnTo>
                      <a:lnTo>
                        <a:pt x="968817" y="496496"/>
                      </a:lnTo>
                      <a:close/>
                    </a:path>
                  </a:pathLst>
                </a:custGeom>
                <a:solidFill>
                  <a:srgbClr val="EE730D"/>
                </a:solidFill>
                <a:ln w="704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1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5" name="Forma Livre: Forma 84">
                  <a:extLst>
                    <a:ext uri="{FF2B5EF4-FFF2-40B4-BE49-F238E27FC236}">
                      <a16:creationId xmlns:a16="http://schemas.microsoft.com/office/drawing/2014/main" id="{E56696BD-BE78-3895-0E17-48473096DC7A}"/>
                    </a:ext>
                  </a:extLst>
                </p:cNvPr>
                <p:cNvSpPr/>
                <p:nvPr/>
              </p:nvSpPr>
              <p:spPr>
                <a:xfrm>
                  <a:off x="2264523" y="3025926"/>
                  <a:ext cx="366176" cy="599122"/>
                </a:xfrm>
                <a:custGeom>
                  <a:avLst/>
                  <a:gdLst>
                    <a:gd name="connsiteX0" fmla="*/ 310064 w 366176"/>
                    <a:gd name="connsiteY0" fmla="*/ 0 h 599122"/>
                    <a:gd name="connsiteX1" fmla="*/ 354258 w 366176"/>
                    <a:gd name="connsiteY1" fmla="*/ 146045 h 599122"/>
                    <a:gd name="connsiteX2" fmla="*/ 265094 w 366176"/>
                    <a:gd name="connsiteY2" fmla="*/ 442434 h 599122"/>
                    <a:gd name="connsiteX3" fmla="*/ 64494 w 366176"/>
                    <a:gd name="connsiteY3" fmla="*/ 599122 h 599122"/>
                    <a:gd name="connsiteX4" fmla="*/ 0 w 366176"/>
                    <a:gd name="connsiteY4" fmla="*/ 423756 h 599122"/>
                    <a:gd name="connsiteX5" fmla="*/ 110943 w 366176"/>
                    <a:gd name="connsiteY5" fmla="*/ 320284 h 599122"/>
                    <a:gd name="connsiteX6" fmla="*/ 138433 w 366176"/>
                    <a:gd name="connsiteY6" fmla="*/ 190873 h 599122"/>
                    <a:gd name="connsiteX7" fmla="*/ 95860 w 366176"/>
                    <a:gd name="connsiteY7" fmla="*/ 95507 h 599122"/>
                    <a:gd name="connsiteX8" fmla="*/ 310064 w 366176"/>
                    <a:gd name="connsiteY8" fmla="*/ 0 h 5991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66176" h="599122">
                      <a:moveTo>
                        <a:pt x="310064" y="0"/>
                      </a:moveTo>
                      <a:lnTo>
                        <a:pt x="354258" y="146045"/>
                      </a:lnTo>
                      <a:cubicBezTo>
                        <a:pt x="386540" y="252618"/>
                        <a:pt x="352073" y="367015"/>
                        <a:pt x="265094" y="442434"/>
                      </a:cubicBezTo>
                      <a:lnTo>
                        <a:pt x="64494" y="599122"/>
                      </a:lnTo>
                      <a:lnTo>
                        <a:pt x="0" y="423756"/>
                      </a:lnTo>
                      <a:lnTo>
                        <a:pt x="110943" y="320284"/>
                      </a:lnTo>
                      <a:cubicBezTo>
                        <a:pt x="147384" y="286310"/>
                        <a:pt x="158239" y="235208"/>
                        <a:pt x="138433" y="190873"/>
                      </a:cubicBezTo>
                      <a:lnTo>
                        <a:pt x="95860" y="95507"/>
                      </a:lnTo>
                      <a:lnTo>
                        <a:pt x="310064" y="0"/>
                      </a:lnTo>
                      <a:close/>
                    </a:path>
                  </a:pathLst>
                </a:custGeom>
                <a:solidFill>
                  <a:srgbClr val="663E34"/>
                </a:solidFill>
                <a:ln w="704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1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86" name="Gráfico 4">
                  <a:extLst>
                    <a:ext uri="{FF2B5EF4-FFF2-40B4-BE49-F238E27FC236}">
                      <a16:creationId xmlns:a16="http://schemas.microsoft.com/office/drawing/2014/main" id="{7274C4B4-7E60-20B9-BE1B-90099A02006D}"/>
                    </a:ext>
                  </a:extLst>
                </p:cNvPr>
                <p:cNvGrpSpPr/>
                <p:nvPr/>
              </p:nvGrpSpPr>
              <p:grpSpPr>
                <a:xfrm>
                  <a:off x="1102467" y="3848009"/>
                  <a:ext cx="596202" cy="173168"/>
                  <a:chOff x="1102467" y="3848009"/>
                  <a:chExt cx="596202" cy="173168"/>
                </a:xfrm>
              </p:grpSpPr>
              <p:sp>
                <p:nvSpPr>
                  <p:cNvPr id="112" name="Forma Livre: Forma 111">
                    <a:extLst>
                      <a:ext uri="{FF2B5EF4-FFF2-40B4-BE49-F238E27FC236}">
                        <a16:creationId xmlns:a16="http://schemas.microsoft.com/office/drawing/2014/main" id="{C7CD75EE-45EB-76E1-9848-96140122D1FA}"/>
                      </a:ext>
                    </a:extLst>
                  </p:cNvPr>
                  <p:cNvSpPr/>
                  <p:nvPr/>
                </p:nvSpPr>
                <p:spPr>
                  <a:xfrm>
                    <a:off x="1485593" y="3859552"/>
                    <a:ext cx="213076" cy="131031"/>
                  </a:xfrm>
                  <a:custGeom>
                    <a:avLst/>
                    <a:gdLst>
                      <a:gd name="connsiteX0" fmla="*/ 213076 w 213076"/>
                      <a:gd name="connsiteY0" fmla="*/ 106785 h 131031"/>
                      <a:gd name="connsiteX1" fmla="*/ 34397 w 213076"/>
                      <a:gd name="connsiteY1" fmla="*/ 131032 h 131031"/>
                      <a:gd name="connsiteX2" fmla="*/ 0 w 213076"/>
                      <a:gd name="connsiteY2" fmla="*/ 93252 h 131031"/>
                      <a:gd name="connsiteX3" fmla="*/ 17480 w 213076"/>
                      <a:gd name="connsiteY3" fmla="*/ 24740 h 131031"/>
                      <a:gd name="connsiteX4" fmla="*/ 189182 w 213076"/>
                      <a:gd name="connsiteY4" fmla="*/ 0 h 1310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13076" h="131031">
                        <a:moveTo>
                          <a:pt x="213076" y="106785"/>
                        </a:moveTo>
                        <a:lnTo>
                          <a:pt x="34397" y="131032"/>
                        </a:lnTo>
                        <a:lnTo>
                          <a:pt x="0" y="93252"/>
                        </a:lnTo>
                        <a:lnTo>
                          <a:pt x="17480" y="24740"/>
                        </a:lnTo>
                        <a:lnTo>
                          <a:pt x="189182" y="0"/>
                        </a:lnTo>
                        <a:close/>
                      </a:path>
                    </a:pathLst>
                  </a:custGeom>
                  <a:solidFill>
                    <a:srgbClr val="663E34"/>
                  </a:solidFill>
                  <a:ln w="70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1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13" name="Gráfico 4">
                    <a:extLst>
                      <a:ext uri="{FF2B5EF4-FFF2-40B4-BE49-F238E27FC236}">
                        <a16:creationId xmlns:a16="http://schemas.microsoft.com/office/drawing/2014/main" id="{02DF2166-D893-EA19-0D75-A514972C41F5}"/>
                      </a:ext>
                    </a:extLst>
                  </p:cNvPr>
                  <p:cNvGrpSpPr/>
                  <p:nvPr/>
                </p:nvGrpSpPr>
                <p:grpSpPr>
                  <a:xfrm>
                    <a:off x="1102467" y="3848009"/>
                    <a:ext cx="417593" cy="173168"/>
                    <a:chOff x="1102467" y="3848009"/>
                    <a:chExt cx="417593" cy="173168"/>
                  </a:xfrm>
                </p:grpSpPr>
                <p:sp>
                  <p:nvSpPr>
                    <p:cNvPr id="114" name="Forma Livre: Forma 113">
                      <a:extLst>
                        <a:ext uri="{FF2B5EF4-FFF2-40B4-BE49-F238E27FC236}">
                          <a16:creationId xmlns:a16="http://schemas.microsoft.com/office/drawing/2014/main" id="{D0AE4605-3F79-DBA2-71D7-75B88DF817A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00059" y="3848009"/>
                      <a:ext cx="320001" cy="173168"/>
                    </a:xfrm>
                    <a:custGeom>
                      <a:avLst/>
                      <a:gdLst>
                        <a:gd name="connsiteX0" fmla="*/ 319932 w 320001"/>
                        <a:gd name="connsiteY0" fmla="*/ 33887 h 173168"/>
                        <a:gd name="connsiteX1" fmla="*/ 135120 w 320001"/>
                        <a:gd name="connsiteY1" fmla="*/ 11544 h 173168"/>
                        <a:gd name="connsiteX2" fmla="*/ 0 w 320001"/>
                        <a:gd name="connsiteY2" fmla="*/ 3085 h 173168"/>
                        <a:gd name="connsiteX3" fmla="*/ 0 w 320001"/>
                        <a:gd name="connsiteY3" fmla="*/ 170910 h 173168"/>
                        <a:gd name="connsiteX4" fmla="*/ 95084 w 320001"/>
                        <a:gd name="connsiteY4" fmla="*/ 170276 h 173168"/>
                        <a:gd name="connsiteX5" fmla="*/ 320002 w 320001"/>
                        <a:gd name="connsiteY5" fmla="*/ 142575 h 173168"/>
                        <a:gd name="connsiteX6" fmla="*/ 317465 w 320001"/>
                        <a:gd name="connsiteY6" fmla="*/ 138698 h 173168"/>
                        <a:gd name="connsiteX7" fmla="*/ 319932 w 320001"/>
                        <a:gd name="connsiteY7" fmla="*/ 33887 h 1731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320001" h="173168">
                          <a:moveTo>
                            <a:pt x="319932" y="33887"/>
                          </a:moveTo>
                          <a:lnTo>
                            <a:pt x="135120" y="11544"/>
                          </a:lnTo>
                          <a:cubicBezTo>
                            <a:pt x="135120" y="11544"/>
                            <a:pt x="63789" y="-7205"/>
                            <a:pt x="0" y="3085"/>
                          </a:cubicBezTo>
                          <a:lnTo>
                            <a:pt x="0" y="170910"/>
                          </a:lnTo>
                          <a:cubicBezTo>
                            <a:pt x="47718" y="176338"/>
                            <a:pt x="95084" y="170276"/>
                            <a:pt x="95084" y="170276"/>
                          </a:cubicBezTo>
                          <a:lnTo>
                            <a:pt x="320002" y="142575"/>
                          </a:lnTo>
                          <a:lnTo>
                            <a:pt x="317465" y="138698"/>
                          </a:lnTo>
                          <a:cubicBezTo>
                            <a:pt x="296671" y="107403"/>
                            <a:pt x="297729" y="64125"/>
                            <a:pt x="319932" y="33887"/>
                          </a:cubicBezTo>
                          <a:close/>
                        </a:path>
                      </a:pathLst>
                    </a:custGeom>
                    <a:solidFill>
                      <a:srgbClr val="114585"/>
                    </a:solidFill>
                    <a:ln w="704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pt-BR" sz="1801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15" name="Forma Livre: Forma 114">
                      <a:extLst>
                        <a:ext uri="{FF2B5EF4-FFF2-40B4-BE49-F238E27FC236}">
                          <a16:creationId xmlns:a16="http://schemas.microsoft.com/office/drawing/2014/main" id="{B86B34FB-DA63-5A17-2CFF-C3D1F9CAFB0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02467" y="3851024"/>
                      <a:ext cx="98085" cy="168036"/>
                    </a:xfrm>
                    <a:custGeom>
                      <a:avLst/>
                      <a:gdLst>
                        <a:gd name="connsiteX0" fmla="*/ 3142 w 98085"/>
                        <a:gd name="connsiteY0" fmla="*/ 74080 h 168036"/>
                        <a:gd name="connsiteX1" fmla="*/ 98085 w 98085"/>
                        <a:gd name="connsiteY1" fmla="*/ 0 h 168036"/>
                        <a:gd name="connsiteX2" fmla="*/ 98085 w 98085"/>
                        <a:gd name="connsiteY2" fmla="*/ 168036 h 168036"/>
                        <a:gd name="connsiteX3" fmla="*/ 3142 w 98085"/>
                        <a:gd name="connsiteY3" fmla="*/ 74080 h 16803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98085" h="168036">
                          <a:moveTo>
                            <a:pt x="3142" y="74080"/>
                          </a:moveTo>
                          <a:cubicBezTo>
                            <a:pt x="15547" y="26643"/>
                            <a:pt x="55160" y="6837"/>
                            <a:pt x="98085" y="0"/>
                          </a:cubicBezTo>
                          <a:lnTo>
                            <a:pt x="98085" y="168036"/>
                          </a:lnTo>
                          <a:cubicBezTo>
                            <a:pt x="42402" y="161763"/>
                            <a:pt x="-14056" y="139842"/>
                            <a:pt x="3142" y="74080"/>
                          </a:cubicBezTo>
                          <a:close/>
                        </a:path>
                      </a:pathLst>
                    </a:custGeom>
                    <a:solidFill>
                      <a:srgbClr val="132237"/>
                    </a:solidFill>
                    <a:ln w="704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pt-BR" sz="1801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grpSp>
                  <p:nvGrpSpPr>
                    <p:cNvPr id="116" name="Gráfico 4">
                      <a:extLst>
                        <a:ext uri="{FF2B5EF4-FFF2-40B4-BE49-F238E27FC236}">
                          <a16:creationId xmlns:a16="http://schemas.microsoft.com/office/drawing/2014/main" id="{1D1DCF07-F98D-99AF-60FF-87C7F3736D8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10809" y="3894160"/>
                      <a:ext cx="18467" cy="72176"/>
                      <a:chOff x="1410809" y="3894160"/>
                      <a:chExt cx="18467" cy="72176"/>
                    </a:xfrm>
                    <a:solidFill>
                      <a:srgbClr val="FFFFFF"/>
                    </a:solidFill>
                  </p:grpSpPr>
                  <p:sp>
                    <p:nvSpPr>
                      <p:cNvPr id="120" name="Forma Livre: Forma 119">
                        <a:extLst>
                          <a:ext uri="{FF2B5EF4-FFF2-40B4-BE49-F238E27FC236}">
                            <a16:creationId xmlns:a16="http://schemas.microsoft.com/office/drawing/2014/main" id="{0296003B-BA85-E427-E882-ADCF19BDA5C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0042" y="3894160"/>
                        <a:ext cx="7048" cy="72176"/>
                      </a:xfrm>
                      <a:custGeom>
                        <a:avLst/>
                        <a:gdLst>
                          <a:gd name="connsiteX0" fmla="*/ 0 w 7048"/>
                          <a:gd name="connsiteY0" fmla="*/ 0 h 72176"/>
                          <a:gd name="connsiteX1" fmla="*/ 0 w 7048"/>
                          <a:gd name="connsiteY1" fmla="*/ 72177 h 7217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7048" h="72176">
                            <a:moveTo>
                              <a:pt x="0" y="0"/>
                            </a:moveTo>
                            <a:lnTo>
                              <a:pt x="0" y="72177"/>
                            </a:lnTo>
                          </a:path>
                        </a:pathLst>
                      </a:custGeom>
                      <a:ln w="7047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pt-BR" sz="1801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21" name="Forma Livre: Forma 120">
                        <a:extLst>
                          <a:ext uri="{FF2B5EF4-FFF2-40B4-BE49-F238E27FC236}">
                            <a16:creationId xmlns:a16="http://schemas.microsoft.com/office/drawing/2014/main" id="{192B27A0-F68D-2C36-DC09-8B746B9A6AD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0809" y="3894160"/>
                        <a:ext cx="18467" cy="72176"/>
                      </a:xfrm>
                      <a:custGeom>
                        <a:avLst/>
                        <a:gdLst>
                          <a:gd name="connsiteX0" fmla="*/ 0 w 18467"/>
                          <a:gd name="connsiteY0" fmla="*/ 0 h 72176"/>
                          <a:gd name="connsiteX1" fmla="*/ 18467 w 18467"/>
                          <a:gd name="connsiteY1" fmla="*/ 0 h 72176"/>
                          <a:gd name="connsiteX2" fmla="*/ 18467 w 18467"/>
                          <a:gd name="connsiteY2" fmla="*/ 72177 h 72176"/>
                          <a:gd name="connsiteX3" fmla="*/ 0 w 18467"/>
                          <a:gd name="connsiteY3" fmla="*/ 72177 h 7217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18467" h="72176">
                            <a:moveTo>
                              <a:pt x="0" y="0"/>
                            </a:moveTo>
                            <a:lnTo>
                              <a:pt x="18467" y="0"/>
                            </a:lnTo>
                            <a:lnTo>
                              <a:pt x="18467" y="72177"/>
                            </a:lnTo>
                            <a:lnTo>
                              <a:pt x="0" y="72177"/>
                            </a:ln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7047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pt-BR" sz="1801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7" name="Gráfico 4">
                      <a:extLst>
                        <a:ext uri="{FF2B5EF4-FFF2-40B4-BE49-F238E27FC236}">
                          <a16:creationId xmlns:a16="http://schemas.microsoft.com/office/drawing/2014/main" id="{EEDA2981-E79A-DF5E-0D0C-8481CC7F304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5205" y="3894160"/>
                      <a:ext cx="18467" cy="72176"/>
                      <a:chOff x="1365205" y="3894160"/>
                      <a:chExt cx="18467" cy="72176"/>
                    </a:xfrm>
                    <a:solidFill>
                      <a:srgbClr val="FFFFFF"/>
                    </a:solidFill>
                  </p:grpSpPr>
                  <p:sp>
                    <p:nvSpPr>
                      <p:cNvPr id="118" name="Forma Livre: Forma 117">
                        <a:extLst>
                          <a:ext uri="{FF2B5EF4-FFF2-40B4-BE49-F238E27FC236}">
                            <a16:creationId xmlns:a16="http://schemas.microsoft.com/office/drawing/2014/main" id="{E30B28E3-348B-6FF6-6498-1172643CB78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439" y="3894160"/>
                        <a:ext cx="7048" cy="72176"/>
                      </a:xfrm>
                      <a:custGeom>
                        <a:avLst/>
                        <a:gdLst>
                          <a:gd name="connsiteX0" fmla="*/ 0 w 7048"/>
                          <a:gd name="connsiteY0" fmla="*/ 0 h 72176"/>
                          <a:gd name="connsiteX1" fmla="*/ 0 w 7048"/>
                          <a:gd name="connsiteY1" fmla="*/ 72177 h 7217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7048" h="72176">
                            <a:moveTo>
                              <a:pt x="0" y="0"/>
                            </a:moveTo>
                            <a:lnTo>
                              <a:pt x="0" y="72177"/>
                            </a:lnTo>
                          </a:path>
                        </a:pathLst>
                      </a:custGeom>
                      <a:ln w="7047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pt-BR" sz="1801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9" name="Forma Livre: Forma 118">
                        <a:extLst>
                          <a:ext uri="{FF2B5EF4-FFF2-40B4-BE49-F238E27FC236}">
                            <a16:creationId xmlns:a16="http://schemas.microsoft.com/office/drawing/2014/main" id="{3AB9F7CC-3BCF-B649-9DAB-343003087E8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205" y="3894160"/>
                        <a:ext cx="18467" cy="72176"/>
                      </a:xfrm>
                      <a:custGeom>
                        <a:avLst/>
                        <a:gdLst>
                          <a:gd name="connsiteX0" fmla="*/ 0 w 18467"/>
                          <a:gd name="connsiteY0" fmla="*/ 0 h 72176"/>
                          <a:gd name="connsiteX1" fmla="*/ 18467 w 18467"/>
                          <a:gd name="connsiteY1" fmla="*/ 0 h 72176"/>
                          <a:gd name="connsiteX2" fmla="*/ 18467 w 18467"/>
                          <a:gd name="connsiteY2" fmla="*/ 72177 h 72176"/>
                          <a:gd name="connsiteX3" fmla="*/ 0 w 18467"/>
                          <a:gd name="connsiteY3" fmla="*/ 72177 h 7217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18467" h="72176">
                            <a:moveTo>
                              <a:pt x="0" y="0"/>
                            </a:moveTo>
                            <a:lnTo>
                              <a:pt x="18467" y="0"/>
                            </a:lnTo>
                            <a:lnTo>
                              <a:pt x="18467" y="72177"/>
                            </a:lnTo>
                            <a:lnTo>
                              <a:pt x="0" y="72177"/>
                            </a:ln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7047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pt-BR" sz="1801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endParaRPr>
                      </a:p>
                    </p:txBody>
                  </p:sp>
                </p:grpSp>
              </p:grpSp>
            </p:grpSp>
            <p:sp>
              <p:nvSpPr>
                <p:cNvPr id="87" name="Forma Livre: Forma 86">
                  <a:extLst>
                    <a:ext uri="{FF2B5EF4-FFF2-40B4-BE49-F238E27FC236}">
                      <a16:creationId xmlns:a16="http://schemas.microsoft.com/office/drawing/2014/main" id="{3A2314B0-743A-55FE-C3CE-276218E8FAD9}"/>
                    </a:ext>
                  </a:extLst>
                </p:cNvPr>
                <p:cNvSpPr/>
                <p:nvPr/>
              </p:nvSpPr>
              <p:spPr>
                <a:xfrm>
                  <a:off x="1406361" y="3025926"/>
                  <a:ext cx="366176" cy="599122"/>
                </a:xfrm>
                <a:custGeom>
                  <a:avLst/>
                  <a:gdLst>
                    <a:gd name="connsiteX0" fmla="*/ 56113 w 366176"/>
                    <a:gd name="connsiteY0" fmla="*/ 0 h 599122"/>
                    <a:gd name="connsiteX1" fmla="*/ 11919 w 366176"/>
                    <a:gd name="connsiteY1" fmla="*/ 146045 h 599122"/>
                    <a:gd name="connsiteX2" fmla="*/ 101083 w 366176"/>
                    <a:gd name="connsiteY2" fmla="*/ 442434 h 599122"/>
                    <a:gd name="connsiteX3" fmla="*/ 301683 w 366176"/>
                    <a:gd name="connsiteY3" fmla="*/ 599122 h 599122"/>
                    <a:gd name="connsiteX4" fmla="*/ 366177 w 366176"/>
                    <a:gd name="connsiteY4" fmla="*/ 423756 h 599122"/>
                    <a:gd name="connsiteX5" fmla="*/ 255233 w 366176"/>
                    <a:gd name="connsiteY5" fmla="*/ 320284 h 599122"/>
                    <a:gd name="connsiteX6" fmla="*/ 227744 w 366176"/>
                    <a:gd name="connsiteY6" fmla="*/ 190873 h 599122"/>
                    <a:gd name="connsiteX7" fmla="*/ 270317 w 366176"/>
                    <a:gd name="connsiteY7" fmla="*/ 95507 h 599122"/>
                    <a:gd name="connsiteX8" fmla="*/ 56113 w 366176"/>
                    <a:gd name="connsiteY8" fmla="*/ 0 h 5991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66176" h="599122">
                      <a:moveTo>
                        <a:pt x="56113" y="0"/>
                      </a:moveTo>
                      <a:lnTo>
                        <a:pt x="11919" y="146045"/>
                      </a:lnTo>
                      <a:cubicBezTo>
                        <a:pt x="-20363" y="252618"/>
                        <a:pt x="14104" y="367015"/>
                        <a:pt x="101083" y="442434"/>
                      </a:cubicBezTo>
                      <a:lnTo>
                        <a:pt x="301683" y="599122"/>
                      </a:lnTo>
                      <a:lnTo>
                        <a:pt x="366177" y="423756"/>
                      </a:lnTo>
                      <a:lnTo>
                        <a:pt x="255233" y="320284"/>
                      </a:lnTo>
                      <a:cubicBezTo>
                        <a:pt x="218793" y="286310"/>
                        <a:pt x="207938" y="235208"/>
                        <a:pt x="227744" y="190873"/>
                      </a:cubicBezTo>
                      <a:lnTo>
                        <a:pt x="270317" y="95507"/>
                      </a:lnTo>
                      <a:lnTo>
                        <a:pt x="56113" y="0"/>
                      </a:lnTo>
                      <a:close/>
                    </a:path>
                  </a:pathLst>
                </a:custGeom>
                <a:solidFill>
                  <a:srgbClr val="663E34"/>
                </a:solidFill>
                <a:ln w="704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1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88" name="Gráfico 4">
                  <a:extLst>
                    <a:ext uri="{FF2B5EF4-FFF2-40B4-BE49-F238E27FC236}">
                      <a16:creationId xmlns:a16="http://schemas.microsoft.com/office/drawing/2014/main" id="{F6FEA36F-B6A4-7B91-CACC-9CEDBC940E84}"/>
                    </a:ext>
                  </a:extLst>
                </p:cNvPr>
                <p:cNvGrpSpPr/>
                <p:nvPr/>
              </p:nvGrpSpPr>
              <p:grpSpPr>
                <a:xfrm>
                  <a:off x="2355378" y="3848035"/>
                  <a:ext cx="589638" cy="173269"/>
                  <a:chOff x="2355378" y="3848035"/>
                  <a:chExt cx="589638" cy="173269"/>
                </a:xfrm>
              </p:grpSpPr>
              <p:sp>
                <p:nvSpPr>
                  <p:cNvPr id="102" name="Forma Livre: Forma 101">
                    <a:extLst>
                      <a:ext uri="{FF2B5EF4-FFF2-40B4-BE49-F238E27FC236}">
                        <a16:creationId xmlns:a16="http://schemas.microsoft.com/office/drawing/2014/main" id="{3E0370DD-2D80-EFEC-1E5C-7A61D4ECA45C}"/>
                      </a:ext>
                    </a:extLst>
                  </p:cNvPr>
                  <p:cNvSpPr/>
                  <p:nvPr/>
                </p:nvSpPr>
                <p:spPr>
                  <a:xfrm>
                    <a:off x="2355378" y="3859552"/>
                    <a:ext cx="216036" cy="131031"/>
                  </a:xfrm>
                  <a:custGeom>
                    <a:avLst/>
                    <a:gdLst>
                      <a:gd name="connsiteX0" fmla="*/ 0 w 216036"/>
                      <a:gd name="connsiteY0" fmla="*/ 120177 h 131031"/>
                      <a:gd name="connsiteX1" fmla="*/ 181640 w 216036"/>
                      <a:gd name="connsiteY1" fmla="*/ 131032 h 131031"/>
                      <a:gd name="connsiteX2" fmla="*/ 216037 w 216036"/>
                      <a:gd name="connsiteY2" fmla="*/ 93252 h 131031"/>
                      <a:gd name="connsiteX3" fmla="*/ 198627 w 216036"/>
                      <a:gd name="connsiteY3" fmla="*/ 24740 h 131031"/>
                      <a:gd name="connsiteX4" fmla="*/ 26855 w 216036"/>
                      <a:gd name="connsiteY4" fmla="*/ 0 h 1310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16036" h="131031">
                        <a:moveTo>
                          <a:pt x="0" y="120177"/>
                        </a:moveTo>
                        <a:lnTo>
                          <a:pt x="181640" y="131032"/>
                        </a:lnTo>
                        <a:lnTo>
                          <a:pt x="216037" y="93252"/>
                        </a:lnTo>
                        <a:lnTo>
                          <a:pt x="198627" y="24740"/>
                        </a:lnTo>
                        <a:lnTo>
                          <a:pt x="26855" y="0"/>
                        </a:lnTo>
                        <a:close/>
                      </a:path>
                    </a:pathLst>
                  </a:custGeom>
                  <a:solidFill>
                    <a:srgbClr val="663E34"/>
                  </a:solidFill>
                  <a:ln w="70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1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03" name="Gráfico 4">
                    <a:extLst>
                      <a:ext uri="{FF2B5EF4-FFF2-40B4-BE49-F238E27FC236}">
                        <a16:creationId xmlns:a16="http://schemas.microsoft.com/office/drawing/2014/main" id="{87236C30-07DC-3626-04F3-FBDB5F9369DC}"/>
                      </a:ext>
                    </a:extLst>
                  </p:cNvPr>
                  <p:cNvGrpSpPr/>
                  <p:nvPr/>
                </p:nvGrpSpPr>
                <p:grpSpPr>
                  <a:xfrm>
                    <a:off x="2537089" y="3848035"/>
                    <a:ext cx="407927" cy="173269"/>
                    <a:chOff x="2537089" y="3848035"/>
                    <a:chExt cx="407927" cy="173269"/>
                  </a:xfrm>
                </p:grpSpPr>
                <p:sp>
                  <p:nvSpPr>
                    <p:cNvPr id="104" name="Forma Livre: Forma 103">
                      <a:extLst>
                        <a:ext uri="{FF2B5EF4-FFF2-40B4-BE49-F238E27FC236}">
                          <a16:creationId xmlns:a16="http://schemas.microsoft.com/office/drawing/2014/main" id="{E0AD4B2E-2596-AD61-0204-78F02409FF2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537089" y="3848035"/>
                      <a:ext cx="312319" cy="173269"/>
                    </a:xfrm>
                    <a:custGeom>
                      <a:avLst/>
                      <a:gdLst>
                        <a:gd name="connsiteX0" fmla="*/ 312249 w 312319"/>
                        <a:gd name="connsiteY0" fmla="*/ 2002 h 173269"/>
                        <a:gd name="connsiteX1" fmla="*/ 184812 w 312319"/>
                        <a:gd name="connsiteY1" fmla="*/ 11517 h 173269"/>
                        <a:gd name="connsiteX2" fmla="*/ 0 w 312319"/>
                        <a:gd name="connsiteY2" fmla="*/ 33861 h 173269"/>
                        <a:gd name="connsiteX3" fmla="*/ 2538 w 312319"/>
                        <a:gd name="connsiteY3" fmla="*/ 138743 h 173269"/>
                        <a:gd name="connsiteX4" fmla="*/ 0 w 312319"/>
                        <a:gd name="connsiteY4" fmla="*/ 142619 h 173269"/>
                        <a:gd name="connsiteX5" fmla="*/ 224918 w 312319"/>
                        <a:gd name="connsiteY5" fmla="*/ 170320 h 173269"/>
                        <a:gd name="connsiteX6" fmla="*/ 312319 w 312319"/>
                        <a:gd name="connsiteY6" fmla="*/ 171800 h 173269"/>
                        <a:gd name="connsiteX7" fmla="*/ 312319 w 312319"/>
                        <a:gd name="connsiteY7" fmla="*/ 2002 h 1732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312319" h="173269">
                          <a:moveTo>
                            <a:pt x="312249" y="2002"/>
                          </a:moveTo>
                          <a:cubicBezTo>
                            <a:pt x="250504" y="-5752"/>
                            <a:pt x="184812" y="11517"/>
                            <a:pt x="184812" y="11517"/>
                          </a:cubicBezTo>
                          <a:lnTo>
                            <a:pt x="0" y="33861"/>
                          </a:lnTo>
                          <a:cubicBezTo>
                            <a:pt x="22203" y="64099"/>
                            <a:pt x="23260" y="107447"/>
                            <a:pt x="2538" y="138743"/>
                          </a:cubicBezTo>
                          <a:lnTo>
                            <a:pt x="0" y="142619"/>
                          </a:lnTo>
                          <a:lnTo>
                            <a:pt x="224918" y="170320"/>
                          </a:lnTo>
                          <a:cubicBezTo>
                            <a:pt x="224918" y="170320"/>
                            <a:pt x="267279" y="175818"/>
                            <a:pt x="312319" y="171800"/>
                          </a:cubicBezTo>
                          <a:lnTo>
                            <a:pt x="312319" y="2002"/>
                          </a:lnTo>
                          <a:close/>
                        </a:path>
                      </a:pathLst>
                    </a:custGeom>
                    <a:solidFill>
                      <a:srgbClr val="114585"/>
                    </a:solidFill>
                    <a:ln w="704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pt-BR" sz="1801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05" name="Forma Livre: Forma 104">
                      <a:extLst>
                        <a:ext uri="{FF2B5EF4-FFF2-40B4-BE49-F238E27FC236}">
                          <a16:creationId xmlns:a16="http://schemas.microsoft.com/office/drawing/2014/main" id="{E1FCE8CD-DDB1-CF03-5AEA-D7C78B379D1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846931" y="3851024"/>
                      <a:ext cx="98085" cy="168036"/>
                    </a:xfrm>
                    <a:custGeom>
                      <a:avLst/>
                      <a:gdLst>
                        <a:gd name="connsiteX0" fmla="*/ 94943 w 98085"/>
                        <a:gd name="connsiteY0" fmla="*/ 74080 h 168036"/>
                        <a:gd name="connsiteX1" fmla="*/ 0 w 98085"/>
                        <a:gd name="connsiteY1" fmla="*/ 0 h 168036"/>
                        <a:gd name="connsiteX2" fmla="*/ 0 w 98085"/>
                        <a:gd name="connsiteY2" fmla="*/ 168036 h 168036"/>
                        <a:gd name="connsiteX3" fmla="*/ 94943 w 98085"/>
                        <a:gd name="connsiteY3" fmla="*/ 74080 h 16803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98085" h="168036">
                          <a:moveTo>
                            <a:pt x="94943" y="74080"/>
                          </a:moveTo>
                          <a:cubicBezTo>
                            <a:pt x="82538" y="26643"/>
                            <a:pt x="42925" y="6837"/>
                            <a:pt x="0" y="0"/>
                          </a:cubicBezTo>
                          <a:lnTo>
                            <a:pt x="0" y="168036"/>
                          </a:lnTo>
                          <a:cubicBezTo>
                            <a:pt x="55683" y="161763"/>
                            <a:pt x="112142" y="139842"/>
                            <a:pt x="94943" y="74080"/>
                          </a:cubicBezTo>
                          <a:close/>
                        </a:path>
                      </a:pathLst>
                    </a:custGeom>
                    <a:solidFill>
                      <a:srgbClr val="132237"/>
                    </a:solidFill>
                    <a:ln w="704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pt-BR" sz="1801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grpSp>
                  <p:nvGrpSpPr>
                    <p:cNvPr id="106" name="Gráfico 4">
                      <a:extLst>
                        <a:ext uri="{FF2B5EF4-FFF2-40B4-BE49-F238E27FC236}">
                          <a16:creationId xmlns:a16="http://schemas.microsoft.com/office/drawing/2014/main" id="{2777DC30-55DE-118B-C4AF-B8B222DE5A3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627733" y="3894160"/>
                      <a:ext cx="18467" cy="72176"/>
                      <a:chOff x="2627733" y="3894160"/>
                      <a:chExt cx="18467" cy="72176"/>
                    </a:xfrm>
                    <a:solidFill>
                      <a:srgbClr val="FFFFFF"/>
                    </a:solidFill>
                  </p:grpSpPr>
                  <p:sp>
                    <p:nvSpPr>
                      <p:cNvPr id="110" name="Forma Livre: Forma 109">
                        <a:extLst>
                          <a:ext uri="{FF2B5EF4-FFF2-40B4-BE49-F238E27FC236}">
                            <a16:creationId xmlns:a16="http://schemas.microsoft.com/office/drawing/2014/main" id="{D015D779-6098-24FA-E8D6-BC8881EE97D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636966" y="3894160"/>
                        <a:ext cx="7048" cy="72176"/>
                      </a:xfrm>
                      <a:custGeom>
                        <a:avLst/>
                        <a:gdLst>
                          <a:gd name="connsiteX0" fmla="*/ 0 w 7048"/>
                          <a:gd name="connsiteY0" fmla="*/ 0 h 72176"/>
                          <a:gd name="connsiteX1" fmla="*/ 0 w 7048"/>
                          <a:gd name="connsiteY1" fmla="*/ 72177 h 7217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7048" h="72176">
                            <a:moveTo>
                              <a:pt x="0" y="0"/>
                            </a:moveTo>
                            <a:lnTo>
                              <a:pt x="0" y="72177"/>
                            </a:lnTo>
                          </a:path>
                        </a:pathLst>
                      </a:custGeom>
                      <a:ln w="7047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pt-BR" sz="1801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1" name="Forma Livre: Forma 110">
                        <a:extLst>
                          <a:ext uri="{FF2B5EF4-FFF2-40B4-BE49-F238E27FC236}">
                            <a16:creationId xmlns:a16="http://schemas.microsoft.com/office/drawing/2014/main" id="{A90E76AC-F5B0-8BC9-384C-7FEA1486B04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627733" y="3894160"/>
                        <a:ext cx="18467" cy="72176"/>
                      </a:xfrm>
                      <a:custGeom>
                        <a:avLst/>
                        <a:gdLst>
                          <a:gd name="connsiteX0" fmla="*/ 0 w 18467"/>
                          <a:gd name="connsiteY0" fmla="*/ 0 h 72176"/>
                          <a:gd name="connsiteX1" fmla="*/ 18467 w 18467"/>
                          <a:gd name="connsiteY1" fmla="*/ 0 h 72176"/>
                          <a:gd name="connsiteX2" fmla="*/ 18467 w 18467"/>
                          <a:gd name="connsiteY2" fmla="*/ 72177 h 72176"/>
                          <a:gd name="connsiteX3" fmla="*/ 0 w 18467"/>
                          <a:gd name="connsiteY3" fmla="*/ 72177 h 7217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18467" h="72176">
                            <a:moveTo>
                              <a:pt x="0" y="0"/>
                            </a:moveTo>
                            <a:lnTo>
                              <a:pt x="18467" y="0"/>
                            </a:lnTo>
                            <a:lnTo>
                              <a:pt x="18467" y="72177"/>
                            </a:lnTo>
                            <a:lnTo>
                              <a:pt x="0" y="72177"/>
                            </a:ln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7047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pt-BR" sz="1801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07" name="Gráfico 4">
                      <a:extLst>
                        <a:ext uri="{FF2B5EF4-FFF2-40B4-BE49-F238E27FC236}">
                          <a16:creationId xmlns:a16="http://schemas.microsoft.com/office/drawing/2014/main" id="{1AC61854-55F9-8BD2-C8EB-A897A6D20E2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673336" y="3894160"/>
                      <a:ext cx="18467" cy="72176"/>
                      <a:chOff x="2673336" y="3894160"/>
                      <a:chExt cx="18467" cy="72176"/>
                    </a:xfrm>
                    <a:solidFill>
                      <a:srgbClr val="FFFFFF"/>
                    </a:solidFill>
                  </p:grpSpPr>
                  <p:sp>
                    <p:nvSpPr>
                      <p:cNvPr id="108" name="Forma Livre: Forma 107">
                        <a:extLst>
                          <a:ext uri="{FF2B5EF4-FFF2-40B4-BE49-F238E27FC236}">
                            <a16:creationId xmlns:a16="http://schemas.microsoft.com/office/drawing/2014/main" id="{E05DBE5E-3614-90DC-C590-08214E76BEE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682640" y="3894160"/>
                        <a:ext cx="7048" cy="72176"/>
                      </a:xfrm>
                      <a:custGeom>
                        <a:avLst/>
                        <a:gdLst>
                          <a:gd name="connsiteX0" fmla="*/ 0 w 7048"/>
                          <a:gd name="connsiteY0" fmla="*/ 0 h 72176"/>
                          <a:gd name="connsiteX1" fmla="*/ 0 w 7048"/>
                          <a:gd name="connsiteY1" fmla="*/ 72177 h 7217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7048" h="72176">
                            <a:moveTo>
                              <a:pt x="0" y="0"/>
                            </a:moveTo>
                            <a:lnTo>
                              <a:pt x="0" y="72177"/>
                            </a:lnTo>
                          </a:path>
                        </a:pathLst>
                      </a:custGeom>
                      <a:ln w="7047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pt-BR" sz="1801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9" name="Forma Livre: Forma 108">
                        <a:extLst>
                          <a:ext uri="{FF2B5EF4-FFF2-40B4-BE49-F238E27FC236}">
                            <a16:creationId xmlns:a16="http://schemas.microsoft.com/office/drawing/2014/main" id="{8B165774-AB0E-AFAB-C220-E1B16FE96B5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673336" y="3894160"/>
                        <a:ext cx="18467" cy="72176"/>
                      </a:xfrm>
                      <a:custGeom>
                        <a:avLst/>
                        <a:gdLst>
                          <a:gd name="connsiteX0" fmla="*/ 0 w 18467"/>
                          <a:gd name="connsiteY0" fmla="*/ 0 h 72176"/>
                          <a:gd name="connsiteX1" fmla="*/ 18467 w 18467"/>
                          <a:gd name="connsiteY1" fmla="*/ 0 h 72176"/>
                          <a:gd name="connsiteX2" fmla="*/ 18467 w 18467"/>
                          <a:gd name="connsiteY2" fmla="*/ 72177 h 72176"/>
                          <a:gd name="connsiteX3" fmla="*/ 0 w 18467"/>
                          <a:gd name="connsiteY3" fmla="*/ 72177 h 7217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18467" h="72176">
                            <a:moveTo>
                              <a:pt x="0" y="0"/>
                            </a:moveTo>
                            <a:lnTo>
                              <a:pt x="18467" y="0"/>
                            </a:lnTo>
                            <a:lnTo>
                              <a:pt x="18467" y="72177"/>
                            </a:lnTo>
                            <a:lnTo>
                              <a:pt x="0" y="72177"/>
                            </a:ln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7047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pt-BR" sz="1801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endParaRPr>
                      </a:p>
                    </p:txBody>
                  </p:sp>
                </p:grpSp>
              </p:grpSp>
            </p:grpSp>
            <p:grpSp>
              <p:nvGrpSpPr>
                <p:cNvPr id="89" name="Gráfico 4">
                  <a:extLst>
                    <a:ext uri="{FF2B5EF4-FFF2-40B4-BE49-F238E27FC236}">
                      <a16:creationId xmlns:a16="http://schemas.microsoft.com/office/drawing/2014/main" id="{B7AFCBC1-EA15-FB46-2B63-3202187B5C83}"/>
                    </a:ext>
                  </a:extLst>
                </p:cNvPr>
                <p:cNvGrpSpPr/>
                <p:nvPr/>
              </p:nvGrpSpPr>
              <p:grpSpPr>
                <a:xfrm>
                  <a:off x="1677524" y="3239707"/>
                  <a:ext cx="741220" cy="462029"/>
                  <a:chOff x="1677524" y="3239707"/>
                  <a:chExt cx="741220" cy="462029"/>
                </a:xfrm>
              </p:grpSpPr>
              <p:sp>
                <p:nvSpPr>
                  <p:cNvPr id="99" name="Forma Livre: Forma 98">
                    <a:extLst>
                      <a:ext uri="{FF2B5EF4-FFF2-40B4-BE49-F238E27FC236}">
                        <a16:creationId xmlns:a16="http://schemas.microsoft.com/office/drawing/2014/main" id="{3C8DFB38-6451-30E0-7A9A-B8D32D1F2A1E}"/>
                      </a:ext>
                    </a:extLst>
                  </p:cNvPr>
                  <p:cNvSpPr/>
                  <p:nvPr/>
                </p:nvSpPr>
                <p:spPr>
                  <a:xfrm>
                    <a:off x="1677524" y="3239707"/>
                    <a:ext cx="741220" cy="443632"/>
                  </a:xfrm>
                  <a:custGeom>
                    <a:avLst/>
                    <a:gdLst>
                      <a:gd name="connsiteX0" fmla="*/ 0 w 741220"/>
                      <a:gd name="connsiteY0" fmla="*/ 0 h 443632"/>
                      <a:gd name="connsiteX1" fmla="*/ 741220 w 741220"/>
                      <a:gd name="connsiteY1" fmla="*/ 0 h 443632"/>
                      <a:gd name="connsiteX2" fmla="*/ 741220 w 741220"/>
                      <a:gd name="connsiteY2" fmla="*/ 443633 h 443632"/>
                      <a:gd name="connsiteX3" fmla="*/ 0 w 741220"/>
                      <a:gd name="connsiteY3" fmla="*/ 443633 h 4436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41220" h="443632">
                        <a:moveTo>
                          <a:pt x="0" y="0"/>
                        </a:moveTo>
                        <a:lnTo>
                          <a:pt x="741220" y="0"/>
                        </a:lnTo>
                        <a:lnTo>
                          <a:pt x="741220" y="443633"/>
                        </a:lnTo>
                        <a:lnTo>
                          <a:pt x="0" y="443633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70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1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0" name="Forma Livre: Forma 99">
                    <a:extLst>
                      <a:ext uri="{FF2B5EF4-FFF2-40B4-BE49-F238E27FC236}">
                        <a16:creationId xmlns:a16="http://schemas.microsoft.com/office/drawing/2014/main" id="{2CE7C8E0-5D37-42E0-2346-60D98FBD226F}"/>
                      </a:ext>
                    </a:extLst>
                  </p:cNvPr>
                  <p:cNvSpPr/>
                  <p:nvPr/>
                </p:nvSpPr>
                <p:spPr>
                  <a:xfrm>
                    <a:off x="1677524" y="3664802"/>
                    <a:ext cx="741220" cy="36934"/>
                  </a:xfrm>
                  <a:custGeom>
                    <a:avLst/>
                    <a:gdLst>
                      <a:gd name="connsiteX0" fmla="*/ 0 w 741220"/>
                      <a:gd name="connsiteY0" fmla="*/ 0 h 36934"/>
                      <a:gd name="connsiteX1" fmla="*/ 741220 w 741220"/>
                      <a:gd name="connsiteY1" fmla="*/ 0 h 36934"/>
                      <a:gd name="connsiteX2" fmla="*/ 741220 w 741220"/>
                      <a:gd name="connsiteY2" fmla="*/ 36934 h 36934"/>
                      <a:gd name="connsiteX3" fmla="*/ 0 w 741220"/>
                      <a:gd name="connsiteY3" fmla="*/ 36934 h 369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41220" h="36934">
                        <a:moveTo>
                          <a:pt x="0" y="0"/>
                        </a:moveTo>
                        <a:lnTo>
                          <a:pt x="741220" y="0"/>
                        </a:lnTo>
                        <a:lnTo>
                          <a:pt x="741220" y="36934"/>
                        </a:lnTo>
                        <a:lnTo>
                          <a:pt x="0" y="36934"/>
                        </a:lnTo>
                        <a:close/>
                      </a:path>
                    </a:pathLst>
                  </a:custGeom>
                  <a:solidFill>
                    <a:srgbClr val="CBB8CD"/>
                  </a:solidFill>
                  <a:ln w="70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1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1" name="Forma Livre: Forma 100">
                    <a:extLst>
                      <a:ext uri="{FF2B5EF4-FFF2-40B4-BE49-F238E27FC236}">
                        <a16:creationId xmlns:a16="http://schemas.microsoft.com/office/drawing/2014/main" id="{23BF691B-D30B-8A0A-9D65-2C51F823FB26}"/>
                      </a:ext>
                    </a:extLst>
                  </p:cNvPr>
                  <p:cNvSpPr/>
                  <p:nvPr/>
                </p:nvSpPr>
                <p:spPr>
                  <a:xfrm>
                    <a:off x="2018531" y="3390968"/>
                    <a:ext cx="59348" cy="59348"/>
                  </a:xfrm>
                  <a:custGeom>
                    <a:avLst/>
                    <a:gdLst>
                      <a:gd name="connsiteX0" fmla="*/ 0 w 59348"/>
                      <a:gd name="connsiteY0" fmla="*/ 29674 h 59348"/>
                      <a:gd name="connsiteX1" fmla="*/ 29674 w 59348"/>
                      <a:gd name="connsiteY1" fmla="*/ 59348 h 59348"/>
                      <a:gd name="connsiteX2" fmla="*/ 59348 w 59348"/>
                      <a:gd name="connsiteY2" fmla="*/ 29674 h 59348"/>
                      <a:gd name="connsiteX3" fmla="*/ 29674 w 59348"/>
                      <a:gd name="connsiteY3" fmla="*/ 0 h 59348"/>
                      <a:gd name="connsiteX4" fmla="*/ 0 w 59348"/>
                      <a:gd name="connsiteY4" fmla="*/ 29674 h 593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9348" h="59348">
                        <a:moveTo>
                          <a:pt x="0" y="29674"/>
                        </a:moveTo>
                        <a:cubicBezTo>
                          <a:pt x="0" y="46027"/>
                          <a:pt x="13251" y="59348"/>
                          <a:pt x="29674" y="59348"/>
                        </a:cubicBezTo>
                        <a:cubicBezTo>
                          <a:pt x="46027" y="59348"/>
                          <a:pt x="59348" y="46097"/>
                          <a:pt x="59348" y="29674"/>
                        </a:cubicBezTo>
                        <a:cubicBezTo>
                          <a:pt x="59348" y="13322"/>
                          <a:pt x="46097" y="0"/>
                          <a:pt x="29674" y="0"/>
                        </a:cubicBezTo>
                        <a:cubicBezTo>
                          <a:pt x="13251" y="71"/>
                          <a:pt x="0" y="13322"/>
                          <a:pt x="0" y="29674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70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1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90" name="Forma Livre: Forma 89">
                  <a:extLst>
                    <a:ext uri="{FF2B5EF4-FFF2-40B4-BE49-F238E27FC236}">
                      <a16:creationId xmlns:a16="http://schemas.microsoft.com/office/drawing/2014/main" id="{1E8FC610-4F0E-0CE6-8E50-2FE255BB5D39}"/>
                    </a:ext>
                  </a:extLst>
                </p:cNvPr>
                <p:cNvSpPr/>
                <p:nvPr/>
              </p:nvSpPr>
              <p:spPr>
                <a:xfrm>
                  <a:off x="1580748" y="3472055"/>
                  <a:ext cx="1379018" cy="518528"/>
                </a:xfrm>
                <a:custGeom>
                  <a:avLst/>
                  <a:gdLst>
                    <a:gd name="connsiteX0" fmla="*/ 1368678 w 1379018"/>
                    <a:gd name="connsiteY0" fmla="*/ 92870 h 518528"/>
                    <a:gd name="connsiteX1" fmla="*/ 25304 w 1379018"/>
                    <a:gd name="connsiteY1" fmla="*/ 518529 h 518528"/>
                    <a:gd name="connsiteX2" fmla="*/ 0 w 1379018"/>
                    <a:gd name="connsiteY2" fmla="*/ 401030 h 518528"/>
                    <a:gd name="connsiteX3" fmla="*/ 1368678 w 1379018"/>
                    <a:gd name="connsiteY3" fmla="*/ 92870 h 5185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9018" h="518528">
                      <a:moveTo>
                        <a:pt x="1368678" y="92870"/>
                      </a:moveTo>
                      <a:cubicBezTo>
                        <a:pt x="1516767" y="356625"/>
                        <a:pt x="25304" y="518529"/>
                        <a:pt x="25304" y="518529"/>
                      </a:cubicBezTo>
                      <a:lnTo>
                        <a:pt x="0" y="401030"/>
                      </a:lnTo>
                      <a:cubicBezTo>
                        <a:pt x="0" y="401030"/>
                        <a:pt x="1186051" y="-232348"/>
                        <a:pt x="1368678" y="92870"/>
                      </a:cubicBezTo>
                      <a:close/>
                    </a:path>
                  </a:pathLst>
                </a:custGeom>
                <a:solidFill>
                  <a:srgbClr val="132237"/>
                </a:solidFill>
                <a:ln w="704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1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3" name="Forma Livre: Forma 92">
                  <a:extLst>
                    <a:ext uri="{FF2B5EF4-FFF2-40B4-BE49-F238E27FC236}">
                      <a16:creationId xmlns:a16="http://schemas.microsoft.com/office/drawing/2014/main" id="{2388DC41-1988-8254-A02E-99BDEBBE54C9}"/>
                    </a:ext>
                  </a:extLst>
                </p:cNvPr>
                <p:cNvSpPr/>
                <p:nvPr/>
              </p:nvSpPr>
              <p:spPr>
                <a:xfrm>
                  <a:off x="1100070" y="3472025"/>
                  <a:ext cx="1374357" cy="532938"/>
                </a:xfrm>
                <a:custGeom>
                  <a:avLst/>
                  <a:gdLst>
                    <a:gd name="connsiteX0" fmla="*/ 7582 w 1374357"/>
                    <a:gd name="connsiteY0" fmla="*/ 92900 h 532938"/>
                    <a:gd name="connsiteX1" fmla="*/ 1363362 w 1374357"/>
                    <a:gd name="connsiteY1" fmla="*/ 532938 h 532938"/>
                    <a:gd name="connsiteX2" fmla="*/ 1374357 w 1374357"/>
                    <a:gd name="connsiteY2" fmla="*/ 400779 h 532938"/>
                    <a:gd name="connsiteX3" fmla="*/ 7582 w 1374357"/>
                    <a:gd name="connsiteY3" fmla="*/ 92900 h 5329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4357" h="532938">
                      <a:moveTo>
                        <a:pt x="7582" y="92900"/>
                      </a:moveTo>
                      <a:cubicBezTo>
                        <a:pt x="-118233" y="368003"/>
                        <a:pt x="1363362" y="532938"/>
                        <a:pt x="1363362" y="532938"/>
                      </a:cubicBezTo>
                      <a:lnTo>
                        <a:pt x="1374357" y="400779"/>
                      </a:lnTo>
                      <a:cubicBezTo>
                        <a:pt x="1374357" y="400779"/>
                        <a:pt x="156306" y="-232317"/>
                        <a:pt x="7582" y="92900"/>
                      </a:cubicBezTo>
                      <a:close/>
                    </a:path>
                  </a:pathLst>
                </a:custGeom>
                <a:solidFill>
                  <a:srgbClr val="114585"/>
                </a:solidFill>
                <a:ln w="704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1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94" name="Gráfico 4">
                  <a:extLst>
                    <a:ext uri="{FF2B5EF4-FFF2-40B4-BE49-F238E27FC236}">
                      <a16:creationId xmlns:a16="http://schemas.microsoft.com/office/drawing/2014/main" id="{87C62F6B-3816-400D-E4F7-58D5CA13960C}"/>
                    </a:ext>
                  </a:extLst>
                </p:cNvPr>
                <p:cNvGrpSpPr/>
                <p:nvPr/>
              </p:nvGrpSpPr>
              <p:grpSpPr>
                <a:xfrm>
                  <a:off x="1679600" y="1990512"/>
                  <a:ext cx="517784" cy="715062"/>
                  <a:chOff x="1679600" y="1990512"/>
                  <a:chExt cx="517784" cy="715062"/>
                </a:xfrm>
              </p:grpSpPr>
              <p:sp>
                <p:nvSpPr>
                  <p:cNvPr id="95" name="Forma Livre: Forma 94">
                    <a:extLst>
                      <a:ext uri="{FF2B5EF4-FFF2-40B4-BE49-F238E27FC236}">
                        <a16:creationId xmlns:a16="http://schemas.microsoft.com/office/drawing/2014/main" id="{0A675521-FF5B-4852-E24B-0BE0DD0D96CF}"/>
                      </a:ext>
                    </a:extLst>
                  </p:cNvPr>
                  <p:cNvSpPr/>
                  <p:nvPr/>
                </p:nvSpPr>
                <p:spPr>
                  <a:xfrm>
                    <a:off x="1898142" y="2502223"/>
                    <a:ext cx="197397" cy="203351"/>
                  </a:xfrm>
                  <a:custGeom>
                    <a:avLst/>
                    <a:gdLst>
                      <a:gd name="connsiteX0" fmla="*/ 197358 w 197397"/>
                      <a:gd name="connsiteY0" fmla="*/ 164864 h 203351"/>
                      <a:gd name="connsiteX1" fmla="*/ 158732 w 197397"/>
                      <a:gd name="connsiteY1" fmla="*/ 0 h 203351"/>
                      <a:gd name="connsiteX2" fmla="*/ 0 w 197397"/>
                      <a:gd name="connsiteY2" fmla="*/ 31013 h 203351"/>
                      <a:gd name="connsiteX3" fmla="*/ 0 w 197397"/>
                      <a:gd name="connsiteY3" fmla="*/ 165640 h 203351"/>
                      <a:gd name="connsiteX4" fmla="*/ 96987 w 197397"/>
                      <a:gd name="connsiteY4" fmla="*/ 203349 h 203351"/>
                      <a:gd name="connsiteX5" fmla="*/ 197358 w 197397"/>
                      <a:gd name="connsiteY5" fmla="*/ 164864 h 2033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97397" h="203351">
                        <a:moveTo>
                          <a:pt x="197358" y="164864"/>
                        </a:moveTo>
                        <a:cubicBezTo>
                          <a:pt x="183613" y="123278"/>
                          <a:pt x="158732" y="0"/>
                          <a:pt x="158732" y="0"/>
                        </a:cubicBezTo>
                        <a:lnTo>
                          <a:pt x="0" y="31013"/>
                        </a:lnTo>
                        <a:lnTo>
                          <a:pt x="0" y="165640"/>
                        </a:lnTo>
                        <a:cubicBezTo>
                          <a:pt x="0" y="165640"/>
                          <a:pt x="52652" y="202997"/>
                          <a:pt x="96987" y="203349"/>
                        </a:cubicBezTo>
                        <a:cubicBezTo>
                          <a:pt x="145411" y="203702"/>
                          <a:pt x="199050" y="169587"/>
                          <a:pt x="197358" y="164864"/>
                        </a:cubicBezTo>
                        <a:close/>
                      </a:path>
                    </a:pathLst>
                  </a:custGeom>
                  <a:solidFill>
                    <a:srgbClr val="4C2D27"/>
                  </a:solidFill>
                  <a:ln w="70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1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6" name="Forma Livre: Forma 95">
                    <a:extLst>
                      <a:ext uri="{FF2B5EF4-FFF2-40B4-BE49-F238E27FC236}">
                        <a16:creationId xmlns:a16="http://schemas.microsoft.com/office/drawing/2014/main" id="{39CCF8D9-3CA7-7605-9AAD-B94682852395}"/>
                      </a:ext>
                    </a:extLst>
                  </p:cNvPr>
                  <p:cNvSpPr/>
                  <p:nvPr/>
                </p:nvSpPr>
                <p:spPr>
                  <a:xfrm>
                    <a:off x="1760767" y="2107436"/>
                    <a:ext cx="343548" cy="463158"/>
                  </a:xfrm>
                  <a:custGeom>
                    <a:avLst/>
                    <a:gdLst>
                      <a:gd name="connsiteX0" fmla="*/ 334874 w 343548"/>
                      <a:gd name="connsiteY0" fmla="*/ 176283 h 463158"/>
                      <a:gd name="connsiteX1" fmla="*/ 304989 w 343548"/>
                      <a:gd name="connsiteY1" fmla="*/ 0 h 463158"/>
                      <a:gd name="connsiteX2" fmla="*/ 0 w 343548"/>
                      <a:gd name="connsiteY2" fmla="*/ 36088 h 463158"/>
                      <a:gd name="connsiteX3" fmla="*/ 18467 w 343548"/>
                      <a:gd name="connsiteY3" fmla="*/ 239226 h 463158"/>
                      <a:gd name="connsiteX4" fmla="*/ 204407 w 343548"/>
                      <a:gd name="connsiteY4" fmla="*/ 460690 h 463158"/>
                      <a:gd name="connsiteX5" fmla="*/ 334874 w 343548"/>
                      <a:gd name="connsiteY5" fmla="*/ 176283 h 4631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43548" h="463158">
                        <a:moveTo>
                          <a:pt x="334874" y="176283"/>
                        </a:moveTo>
                        <a:lnTo>
                          <a:pt x="304989" y="0"/>
                        </a:lnTo>
                        <a:lnTo>
                          <a:pt x="0" y="36088"/>
                        </a:lnTo>
                        <a:lnTo>
                          <a:pt x="18467" y="239226"/>
                        </a:lnTo>
                        <a:cubicBezTo>
                          <a:pt x="18467" y="239226"/>
                          <a:pt x="42009" y="490576"/>
                          <a:pt x="204407" y="460690"/>
                        </a:cubicBezTo>
                        <a:cubicBezTo>
                          <a:pt x="379985" y="428337"/>
                          <a:pt x="342698" y="174098"/>
                          <a:pt x="334874" y="176283"/>
                        </a:cubicBezTo>
                        <a:close/>
                      </a:path>
                    </a:pathLst>
                  </a:custGeom>
                  <a:solidFill>
                    <a:srgbClr val="663E34"/>
                  </a:solidFill>
                  <a:ln w="70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1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7" name="Forma Livre: Forma 96">
                    <a:extLst>
                      <a:ext uri="{FF2B5EF4-FFF2-40B4-BE49-F238E27FC236}">
                        <a16:creationId xmlns:a16="http://schemas.microsoft.com/office/drawing/2014/main" id="{16042ED0-9496-300C-66A0-D1C2F68FBAA6}"/>
                      </a:ext>
                    </a:extLst>
                  </p:cNvPr>
                  <p:cNvSpPr/>
                  <p:nvPr/>
                </p:nvSpPr>
                <p:spPr>
                  <a:xfrm>
                    <a:off x="1679600" y="1990512"/>
                    <a:ext cx="517784" cy="404714"/>
                  </a:xfrm>
                  <a:custGeom>
                    <a:avLst/>
                    <a:gdLst>
                      <a:gd name="connsiteX0" fmla="*/ 487231 w 517784"/>
                      <a:gd name="connsiteY0" fmla="*/ 269102 h 404714"/>
                      <a:gd name="connsiteX1" fmla="*/ 500200 w 517784"/>
                      <a:gd name="connsiteY1" fmla="*/ 195727 h 404714"/>
                      <a:gd name="connsiteX2" fmla="*/ 445363 w 517784"/>
                      <a:gd name="connsiteY2" fmla="*/ 77030 h 404714"/>
                      <a:gd name="connsiteX3" fmla="*/ 363530 w 517784"/>
                      <a:gd name="connsiteY3" fmla="*/ 5629 h 404714"/>
                      <a:gd name="connsiteX4" fmla="*/ 230807 w 517784"/>
                      <a:gd name="connsiteY4" fmla="*/ 43127 h 404714"/>
                      <a:gd name="connsiteX5" fmla="*/ 123176 w 517784"/>
                      <a:gd name="connsiteY5" fmla="*/ 48695 h 404714"/>
                      <a:gd name="connsiteX6" fmla="*/ 90400 w 517784"/>
                      <a:gd name="connsiteY6" fmla="*/ 142017 h 404714"/>
                      <a:gd name="connsiteX7" fmla="*/ 8849 w 517784"/>
                      <a:gd name="connsiteY7" fmla="*/ 191991 h 404714"/>
                      <a:gd name="connsiteX8" fmla="*/ 42189 w 517784"/>
                      <a:gd name="connsiteY8" fmla="*/ 285243 h 404714"/>
                      <a:gd name="connsiteX9" fmla="*/ 158771 w 517784"/>
                      <a:gd name="connsiteY9" fmla="*/ 288062 h 404714"/>
                      <a:gd name="connsiteX10" fmla="*/ 281133 w 517784"/>
                      <a:gd name="connsiteY10" fmla="*/ 213771 h 404714"/>
                      <a:gd name="connsiteX11" fmla="*/ 393838 w 517784"/>
                      <a:gd name="connsiteY11" fmla="*/ 210881 h 404714"/>
                      <a:gd name="connsiteX12" fmla="*/ 422173 w 517784"/>
                      <a:gd name="connsiteY12" fmla="*/ 404715 h 404714"/>
                      <a:gd name="connsiteX13" fmla="*/ 449310 w 517784"/>
                      <a:gd name="connsiteY13" fmla="*/ 366723 h 404714"/>
                      <a:gd name="connsiteX14" fmla="*/ 487231 w 517784"/>
                      <a:gd name="connsiteY14" fmla="*/ 269102 h 4047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517784" h="404714">
                        <a:moveTo>
                          <a:pt x="487231" y="269102"/>
                        </a:moveTo>
                        <a:cubicBezTo>
                          <a:pt x="483143" y="247745"/>
                          <a:pt x="488852" y="214335"/>
                          <a:pt x="500200" y="195727"/>
                        </a:cubicBezTo>
                        <a:cubicBezTo>
                          <a:pt x="552853" y="109524"/>
                          <a:pt x="473134" y="84431"/>
                          <a:pt x="445363" y="77030"/>
                        </a:cubicBezTo>
                        <a:cubicBezTo>
                          <a:pt x="414632" y="68783"/>
                          <a:pt x="404834" y="20924"/>
                          <a:pt x="363530" y="5629"/>
                        </a:cubicBezTo>
                        <a:cubicBezTo>
                          <a:pt x="300516" y="-17702"/>
                          <a:pt x="264992" y="38757"/>
                          <a:pt x="230807" y="43127"/>
                        </a:cubicBezTo>
                        <a:cubicBezTo>
                          <a:pt x="196621" y="47497"/>
                          <a:pt x="162788" y="10915"/>
                          <a:pt x="123176" y="48695"/>
                        </a:cubicBezTo>
                        <a:cubicBezTo>
                          <a:pt x="83493" y="86475"/>
                          <a:pt x="100480" y="121647"/>
                          <a:pt x="90400" y="142017"/>
                        </a:cubicBezTo>
                        <a:cubicBezTo>
                          <a:pt x="80321" y="162387"/>
                          <a:pt x="38946" y="128273"/>
                          <a:pt x="8849" y="191991"/>
                        </a:cubicBezTo>
                        <a:cubicBezTo>
                          <a:pt x="-14058" y="240485"/>
                          <a:pt x="11246" y="268890"/>
                          <a:pt x="42189" y="285243"/>
                        </a:cubicBezTo>
                        <a:cubicBezTo>
                          <a:pt x="78277" y="304203"/>
                          <a:pt x="121343" y="304203"/>
                          <a:pt x="158771" y="288062"/>
                        </a:cubicBezTo>
                        <a:cubicBezTo>
                          <a:pt x="191124" y="274036"/>
                          <a:pt x="235882" y="250564"/>
                          <a:pt x="281133" y="213771"/>
                        </a:cubicBezTo>
                        <a:cubicBezTo>
                          <a:pt x="292974" y="204115"/>
                          <a:pt x="386085" y="197700"/>
                          <a:pt x="393838" y="210881"/>
                        </a:cubicBezTo>
                        <a:cubicBezTo>
                          <a:pt x="420059" y="255710"/>
                          <a:pt x="422173" y="404715"/>
                          <a:pt x="422173" y="404715"/>
                        </a:cubicBezTo>
                        <a:lnTo>
                          <a:pt x="449310" y="366723"/>
                        </a:lnTo>
                        <a:cubicBezTo>
                          <a:pt x="449240" y="366794"/>
                          <a:pt x="499636" y="334089"/>
                          <a:pt x="487231" y="269102"/>
                        </a:cubicBezTo>
                        <a:close/>
                      </a:path>
                    </a:pathLst>
                  </a:custGeom>
                  <a:solidFill>
                    <a:schemeClr val="tx2"/>
                  </a:solidFill>
                  <a:ln w="70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1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8" name="Forma Livre: Forma 97">
                    <a:extLst>
                      <a:ext uri="{FF2B5EF4-FFF2-40B4-BE49-F238E27FC236}">
                        <a16:creationId xmlns:a16="http://schemas.microsoft.com/office/drawing/2014/main" id="{14722627-1841-E806-FD12-A6B252664304}"/>
                      </a:ext>
                    </a:extLst>
                  </p:cNvPr>
                  <p:cNvSpPr/>
                  <p:nvPr/>
                </p:nvSpPr>
                <p:spPr>
                  <a:xfrm>
                    <a:off x="2062847" y="2275845"/>
                    <a:ext cx="59386" cy="79538"/>
                  </a:xfrm>
                  <a:custGeom>
                    <a:avLst/>
                    <a:gdLst>
                      <a:gd name="connsiteX0" fmla="*/ 3966 w 59386"/>
                      <a:gd name="connsiteY0" fmla="*/ 29866 h 79538"/>
                      <a:gd name="connsiteX1" fmla="*/ 14891 w 59386"/>
                      <a:gd name="connsiteY1" fmla="*/ 78289 h 79538"/>
                      <a:gd name="connsiteX2" fmla="*/ 55420 w 59386"/>
                      <a:gd name="connsiteY2" fmla="*/ 49672 h 79538"/>
                      <a:gd name="connsiteX3" fmla="*/ 44495 w 59386"/>
                      <a:gd name="connsiteY3" fmla="*/ 1249 h 79538"/>
                      <a:gd name="connsiteX4" fmla="*/ 3966 w 59386"/>
                      <a:gd name="connsiteY4" fmla="*/ 29866 h 795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9386" h="79538">
                        <a:moveTo>
                          <a:pt x="3966" y="29866"/>
                        </a:moveTo>
                        <a:cubicBezTo>
                          <a:pt x="-4210" y="51152"/>
                          <a:pt x="653" y="72791"/>
                          <a:pt x="14891" y="78289"/>
                        </a:cubicBezTo>
                        <a:cubicBezTo>
                          <a:pt x="29059" y="83716"/>
                          <a:pt x="47244" y="70959"/>
                          <a:pt x="55420" y="49672"/>
                        </a:cubicBezTo>
                        <a:cubicBezTo>
                          <a:pt x="63597" y="28386"/>
                          <a:pt x="58733" y="6747"/>
                          <a:pt x="44495" y="1249"/>
                        </a:cubicBezTo>
                        <a:cubicBezTo>
                          <a:pt x="30257" y="-4178"/>
                          <a:pt x="12142" y="8579"/>
                          <a:pt x="3966" y="29866"/>
                        </a:cubicBezTo>
                        <a:close/>
                      </a:path>
                    </a:pathLst>
                  </a:custGeom>
                  <a:solidFill>
                    <a:srgbClr val="663E34"/>
                  </a:solidFill>
                  <a:ln w="70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1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</p:grpSp>
      <p:sp>
        <p:nvSpPr>
          <p:cNvPr id="91" name="CaixaDeTexto 90">
            <a:extLst>
              <a:ext uri="{FF2B5EF4-FFF2-40B4-BE49-F238E27FC236}">
                <a16:creationId xmlns:a16="http://schemas.microsoft.com/office/drawing/2014/main" id="{E9CC3975-D8C3-FD0E-7D16-74E533CC6D3A}"/>
              </a:ext>
            </a:extLst>
          </p:cNvPr>
          <p:cNvSpPr txBox="1"/>
          <p:nvPr/>
        </p:nvSpPr>
        <p:spPr>
          <a:xfrm>
            <a:off x="240076" y="349908"/>
            <a:ext cx="4606849" cy="4347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pt-BR"/>
            </a:defPPr>
            <a:lvl1pPr defTabSz="914411">
              <a:lnSpc>
                <a:spcPct val="75000"/>
              </a:lnSpc>
              <a:spcBef>
                <a:spcPts val="0"/>
              </a:spcBef>
              <a:buNone/>
              <a:defRPr kumimoji="0" sz="2800" b="0" i="0" u="none" strike="noStrike" cap="none" spc="0" normalizeH="0" baseline="0">
                <a:ln>
                  <a:noFill/>
                </a:ln>
                <a:solidFill>
                  <a:srgbClr val="FE9600"/>
                </a:solidFill>
                <a:effectLst/>
                <a:uLnTx/>
                <a:uFillTx/>
                <a:latin typeface="Itau Display Heavy" panose="020B0803020204020204" pitchFamily="34" charset="0"/>
                <a:cs typeface="Itau Display Heavy" panose="020B0803020204020204" pitchFamily="34" charset="0"/>
              </a:defRPr>
            </a:lvl1pPr>
            <a:lvl2pPr marL="539756" indent="-182566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>
                <a:solidFill>
                  <a:schemeClr val="accent6"/>
                </a:solidFill>
              </a:defRPr>
            </a:lvl2pPr>
            <a:lvl3pPr marL="898536" indent="-184152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accent6"/>
                </a:solidFill>
              </a:defRPr>
            </a:lvl3pPr>
            <a:lvl4pPr marL="1255729" indent="-184152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>
                <a:solidFill>
                  <a:schemeClr val="accent6"/>
                </a:solidFill>
              </a:defRPr>
            </a:lvl4pPr>
            <a:lvl5pPr marL="1612920" indent="-174628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>
                <a:solidFill>
                  <a:schemeClr val="accent6"/>
                </a:solidFill>
              </a:defRPr>
            </a:lvl5pPr>
            <a:lvl6pPr marL="2514632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6pPr>
            <a:lvl7pPr marL="2971838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7pPr>
            <a:lvl8pPr marL="3429044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8pPr>
            <a:lvl9pPr marL="3886249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9pPr>
          </a:lstStyle>
          <a:p>
            <a:pPr marL="0" marR="0" lvl="0" indent="0" algn="l" defTabSz="914411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0" i="0" u="none" strike="noStrike" kern="1200" cap="none" spc="0" normalizeH="0" baseline="0" noProof="0">
                <a:ln>
                  <a:noFill/>
                </a:ln>
                <a:solidFill>
                  <a:srgbClr val="FE9600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</a:rPr>
              <a:t>_ecossistema de satisfação</a:t>
            </a:r>
          </a:p>
        </p:txBody>
      </p:sp>
    </p:spTree>
    <p:extLst>
      <p:ext uri="{BB962C8B-B14F-4D97-AF65-F5344CB8AC3E}">
        <p14:creationId xmlns:p14="http://schemas.microsoft.com/office/powerpoint/2010/main" val="555016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tângulo: Cantos Arredondados 16">
            <a:extLst>
              <a:ext uri="{FF2B5EF4-FFF2-40B4-BE49-F238E27FC236}">
                <a16:creationId xmlns:a16="http://schemas.microsoft.com/office/drawing/2014/main" id="{AE02EC52-E458-4197-9509-7AD4EE289633}"/>
              </a:ext>
            </a:extLst>
          </p:cNvPr>
          <p:cNvSpPr/>
          <p:nvPr/>
        </p:nvSpPr>
        <p:spPr>
          <a:xfrm>
            <a:off x="450934" y="1072124"/>
            <a:ext cx="4830069" cy="5586962"/>
          </a:xfrm>
          <a:prstGeom prst="roundRect">
            <a:avLst>
              <a:gd name="adj" fmla="val 2612"/>
            </a:avLst>
          </a:prstGeom>
          <a:solidFill>
            <a:schemeClr val="bg1"/>
          </a:solidFill>
          <a:ln w="3175">
            <a:solidFill>
              <a:srgbClr val="D6D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9" name="Retângulo: Cantos Arredondados 118">
            <a:extLst>
              <a:ext uri="{FF2B5EF4-FFF2-40B4-BE49-F238E27FC236}">
                <a16:creationId xmlns:a16="http://schemas.microsoft.com/office/drawing/2014/main" id="{C5A0BE84-D90E-4D73-B851-E56B1CA85C87}"/>
              </a:ext>
            </a:extLst>
          </p:cNvPr>
          <p:cNvSpPr/>
          <p:nvPr/>
        </p:nvSpPr>
        <p:spPr>
          <a:xfrm>
            <a:off x="5355238" y="1025446"/>
            <a:ext cx="6704401" cy="5681107"/>
          </a:xfrm>
          <a:prstGeom prst="roundRect">
            <a:avLst>
              <a:gd name="adj" fmla="val 2612"/>
            </a:avLst>
          </a:prstGeom>
          <a:solidFill>
            <a:schemeClr val="bg1"/>
          </a:solidFill>
          <a:ln w="3175">
            <a:solidFill>
              <a:srgbClr val="D6D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9" name="MSIPCMContentMarking" descr="{&quot;HashCode&quot;:1316756096,&quot;Placement&quot;:&quot;Footer&quot;}">
            <a:extLst>
              <a:ext uri="{FF2B5EF4-FFF2-40B4-BE49-F238E27FC236}">
                <a16:creationId xmlns:a16="http://schemas.microsoft.com/office/drawing/2014/main" id="{4F12DA16-5603-48CF-951E-AF2AE7276BBE}"/>
              </a:ext>
            </a:extLst>
          </p:cNvPr>
          <p:cNvSpPr txBox="1"/>
          <p:nvPr/>
        </p:nvSpPr>
        <p:spPr>
          <a:xfrm>
            <a:off x="673504" y="5729560"/>
            <a:ext cx="4556979" cy="4154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Itau Text" panose="020B0503020204020203" pitchFamily="34" charset="0"/>
                <a:ea typeface="+mn-ea"/>
                <a:cs typeface="Itau Text" panose="020B0503020204020203" pitchFamily="34" charset="0"/>
              </a:rPr>
              <a:t>Filtramos todas as </a:t>
            </a:r>
            <a:r>
              <a:rPr kumimoji="0" lang="pt-BR" sz="9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Itau Text XBold" panose="020B0803020204020203" pitchFamily="34" charset="0"/>
                <a:ea typeface="+mn-ea"/>
                <a:cs typeface="Itau Text XBold" panose="020B0803020204020203" pitchFamily="34" charset="0"/>
              </a:rPr>
              <a:t>categorias/assuntos </a:t>
            </a:r>
            <a:r>
              <a:rPr kumimoji="0" lang="pt-BR" sz="9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Itau Text" panose="020B0503020204020203" pitchFamily="34" charset="0"/>
                <a:ea typeface="+mn-ea"/>
                <a:cs typeface="Itau Text" panose="020B0503020204020203" pitchFamily="34" charset="0"/>
              </a:rPr>
              <a:t>que se referem à </a:t>
            </a:r>
            <a:r>
              <a:rPr kumimoji="0" lang="pt-BR" sz="9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Itau Text XBold" panose="020B0803020204020203" pitchFamily="34" charset="0"/>
                <a:ea typeface="+mn-ea"/>
                <a:cs typeface="Itau Text XBold" panose="020B0803020204020203" pitchFamily="34" charset="0"/>
              </a:rPr>
              <a:t>documentos</a:t>
            </a:r>
            <a:r>
              <a:rPr kumimoji="0" lang="pt-BR" sz="9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Itau Text" panose="020B0503020204020203" pitchFamily="34" charset="0"/>
                <a:ea typeface="+mn-ea"/>
                <a:cs typeface="Itau Text" panose="020B0503020204020203" pitchFamily="34" charset="0"/>
              </a:rPr>
              <a:t>. Fazendo referência a algum dos termos: Documento / Boleto / Termo / Informe de Rendimento / 2ª via / Carnê / Contrato / Apólice / Carta / etc...</a:t>
            </a:r>
          </a:p>
        </p:txBody>
      </p:sp>
      <p:sp>
        <p:nvSpPr>
          <p:cNvPr id="66" name="CaixaDeTexto 65">
            <a:extLst>
              <a:ext uri="{FF2B5EF4-FFF2-40B4-BE49-F238E27FC236}">
                <a16:creationId xmlns:a16="http://schemas.microsoft.com/office/drawing/2014/main" id="{A2E231F0-3259-4E73-8FF0-E3B84B9B5F49}"/>
              </a:ext>
            </a:extLst>
          </p:cNvPr>
          <p:cNvSpPr txBox="1"/>
          <p:nvPr/>
        </p:nvSpPr>
        <p:spPr>
          <a:xfrm>
            <a:off x="859288" y="1157094"/>
            <a:ext cx="52139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  <a:cs typeface="Itau Display Heavy" panose="020B0803020204020204" pitchFamily="34" charset="0"/>
              </a:rPr>
              <a:t>Reclamações por Negócio</a:t>
            </a:r>
          </a:p>
        </p:txBody>
      </p:sp>
      <p:sp>
        <p:nvSpPr>
          <p:cNvPr id="127" name="CaixaDeTexto 126">
            <a:extLst>
              <a:ext uri="{FF2B5EF4-FFF2-40B4-BE49-F238E27FC236}">
                <a16:creationId xmlns:a16="http://schemas.microsoft.com/office/drawing/2014/main" id="{C2A21045-C4BA-4504-8ED6-81A813BFEAF9}"/>
              </a:ext>
            </a:extLst>
          </p:cNvPr>
          <p:cNvSpPr txBox="1"/>
          <p:nvPr/>
        </p:nvSpPr>
        <p:spPr>
          <a:xfrm>
            <a:off x="5780878" y="1157094"/>
            <a:ext cx="38218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  <a:cs typeface="Itau Display Heavy" panose="020B0803020204020204" pitchFamily="34" charset="0"/>
              </a:rPr>
              <a:t>Principais assuntos por Negócio</a:t>
            </a:r>
          </a:p>
        </p:txBody>
      </p:sp>
      <p:grpSp>
        <p:nvGrpSpPr>
          <p:cNvPr id="144" name="Agrupar 143">
            <a:extLst>
              <a:ext uri="{FF2B5EF4-FFF2-40B4-BE49-F238E27FC236}">
                <a16:creationId xmlns:a16="http://schemas.microsoft.com/office/drawing/2014/main" id="{A0A0C355-2BDE-43C4-8369-8409F48E0756}"/>
              </a:ext>
            </a:extLst>
          </p:cNvPr>
          <p:cNvGrpSpPr/>
          <p:nvPr/>
        </p:nvGrpSpPr>
        <p:grpSpPr>
          <a:xfrm>
            <a:off x="673503" y="4108541"/>
            <a:ext cx="215065" cy="191517"/>
            <a:chOff x="14269214" y="2013243"/>
            <a:chExt cx="419100" cy="373214"/>
          </a:xfrm>
        </p:grpSpPr>
        <p:sp>
          <p:nvSpPr>
            <p:cNvPr id="145" name="Forma Livre: Forma 144">
              <a:extLst>
                <a:ext uri="{FF2B5EF4-FFF2-40B4-BE49-F238E27FC236}">
                  <a16:creationId xmlns:a16="http://schemas.microsoft.com/office/drawing/2014/main" id="{16629EC7-651F-457B-863D-AD3F9CB9210E}"/>
                </a:ext>
              </a:extLst>
            </p:cNvPr>
            <p:cNvSpPr/>
            <p:nvPr/>
          </p:nvSpPr>
          <p:spPr>
            <a:xfrm>
              <a:off x="14269214" y="2013243"/>
              <a:ext cx="419100" cy="352425"/>
            </a:xfrm>
            <a:custGeom>
              <a:avLst/>
              <a:gdLst>
                <a:gd name="connsiteX0" fmla="*/ 146873 w 419100"/>
                <a:gd name="connsiteY0" fmla="*/ 354163 h 352425"/>
                <a:gd name="connsiteX1" fmla="*/ 19047 w 419100"/>
                <a:gd name="connsiteY1" fmla="*/ 354163 h 352425"/>
                <a:gd name="connsiteX2" fmla="*/ 2855 w 419100"/>
                <a:gd name="connsiteY2" fmla="*/ 325112 h 352425"/>
                <a:gd name="connsiteX3" fmla="*/ 197355 w 419100"/>
                <a:gd name="connsiteY3" fmla="*/ 9073 h 352425"/>
                <a:gd name="connsiteX4" fmla="*/ 229835 w 419100"/>
                <a:gd name="connsiteY4" fmla="*/ 9073 h 352425"/>
                <a:gd name="connsiteX5" fmla="*/ 424336 w 419100"/>
                <a:gd name="connsiteY5" fmla="*/ 325112 h 352425"/>
                <a:gd name="connsiteX6" fmla="*/ 408143 w 419100"/>
                <a:gd name="connsiteY6" fmla="*/ 354163 h 352425"/>
                <a:gd name="connsiteX7" fmla="*/ 280223 w 419100"/>
                <a:gd name="connsiteY7" fmla="*/ 354163 h 352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9100" h="352425">
                  <a:moveTo>
                    <a:pt x="146873" y="354163"/>
                  </a:moveTo>
                  <a:lnTo>
                    <a:pt x="19047" y="354163"/>
                  </a:lnTo>
                  <a:cubicBezTo>
                    <a:pt x="4188" y="354163"/>
                    <a:pt x="-4956" y="337780"/>
                    <a:pt x="2855" y="325112"/>
                  </a:cubicBezTo>
                  <a:lnTo>
                    <a:pt x="197355" y="9073"/>
                  </a:lnTo>
                  <a:cubicBezTo>
                    <a:pt x="204785" y="-3024"/>
                    <a:pt x="222406" y="-3024"/>
                    <a:pt x="229835" y="9073"/>
                  </a:cubicBezTo>
                  <a:lnTo>
                    <a:pt x="424336" y="325112"/>
                  </a:lnTo>
                  <a:cubicBezTo>
                    <a:pt x="432146" y="337780"/>
                    <a:pt x="423002" y="354163"/>
                    <a:pt x="408143" y="354163"/>
                  </a:cubicBezTo>
                  <a:lnTo>
                    <a:pt x="280223" y="354163"/>
                  </a:lnTo>
                </a:path>
              </a:pathLst>
            </a:custGeom>
            <a:noFill/>
            <a:ln w="19050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Forma Livre: Forma 145">
              <a:extLst>
                <a:ext uri="{FF2B5EF4-FFF2-40B4-BE49-F238E27FC236}">
                  <a16:creationId xmlns:a16="http://schemas.microsoft.com/office/drawing/2014/main" id="{7A6F19A8-C1F8-4D1F-BA1F-94885EB4009D}"/>
                </a:ext>
              </a:extLst>
            </p:cNvPr>
            <p:cNvSpPr/>
            <p:nvPr/>
          </p:nvSpPr>
          <p:spPr>
            <a:xfrm>
              <a:off x="14454187" y="2329307"/>
              <a:ext cx="57150" cy="57150"/>
            </a:xfrm>
            <a:custGeom>
              <a:avLst/>
              <a:gdLst>
                <a:gd name="connsiteX0" fmla="*/ 28575 w 57150"/>
                <a:gd name="connsiteY0" fmla="*/ 0 h 57150"/>
                <a:gd name="connsiteX1" fmla="*/ 0 w 57150"/>
                <a:gd name="connsiteY1" fmla="*/ 28575 h 57150"/>
                <a:gd name="connsiteX2" fmla="*/ 28575 w 57150"/>
                <a:gd name="connsiteY2" fmla="*/ 57150 h 57150"/>
                <a:gd name="connsiteX3" fmla="*/ 57150 w 57150"/>
                <a:gd name="connsiteY3" fmla="*/ 28575 h 57150"/>
                <a:gd name="connsiteX4" fmla="*/ 28575 w 57150"/>
                <a:gd name="connsiteY4" fmla="*/ 0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57150">
                  <a:moveTo>
                    <a:pt x="28575" y="0"/>
                  </a:moveTo>
                  <a:cubicBezTo>
                    <a:pt x="12763" y="0"/>
                    <a:pt x="0" y="12763"/>
                    <a:pt x="0" y="28575"/>
                  </a:cubicBezTo>
                  <a:cubicBezTo>
                    <a:pt x="0" y="44386"/>
                    <a:pt x="12763" y="57150"/>
                    <a:pt x="28575" y="57150"/>
                  </a:cubicBezTo>
                  <a:cubicBezTo>
                    <a:pt x="44387" y="57150"/>
                    <a:pt x="57150" y="44386"/>
                    <a:pt x="57150" y="28575"/>
                  </a:cubicBezTo>
                  <a:cubicBezTo>
                    <a:pt x="57150" y="12859"/>
                    <a:pt x="44387" y="0"/>
                    <a:pt x="28575" y="0"/>
                  </a:cubicBezTo>
                  <a:close/>
                </a:path>
              </a:pathLst>
            </a:custGeom>
            <a:noFill/>
            <a:ln w="19050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Forma Livre: Forma 146">
              <a:extLst>
                <a:ext uri="{FF2B5EF4-FFF2-40B4-BE49-F238E27FC236}">
                  <a16:creationId xmlns:a16="http://schemas.microsoft.com/office/drawing/2014/main" id="{0B3DE9AF-3501-480F-9A22-73481BB1632C}"/>
                </a:ext>
              </a:extLst>
            </p:cNvPr>
            <p:cNvSpPr/>
            <p:nvPr/>
          </p:nvSpPr>
          <p:spPr>
            <a:xfrm>
              <a:off x="14454187" y="2119757"/>
              <a:ext cx="57150" cy="171450"/>
            </a:xfrm>
            <a:custGeom>
              <a:avLst/>
              <a:gdLst>
                <a:gd name="connsiteX0" fmla="*/ 28575 w 57150"/>
                <a:gd name="connsiteY0" fmla="*/ 0 h 171450"/>
                <a:gd name="connsiteX1" fmla="*/ 0 w 57150"/>
                <a:gd name="connsiteY1" fmla="*/ 29623 h 171450"/>
                <a:gd name="connsiteX2" fmla="*/ 9525 w 57150"/>
                <a:gd name="connsiteY2" fmla="*/ 152400 h 171450"/>
                <a:gd name="connsiteX3" fmla="*/ 28575 w 57150"/>
                <a:gd name="connsiteY3" fmla="*/ 171450 h 171450"/>
                <a:gd name="connsiteX4" fmla="*/ 47625 w 57150"/>
                <a:gd name="connsiteY4" fmla="*/ 152400 h 171450"/>
                <a:gd name="connsiteX5" fmla="*/ 57150 w 57150"/>
                <a:gd name="connsiteY5" fmla="*/ 29623 h 171450"/>
                <a:gd name="connsiteX6" fmla="*/ 28575 w 57150"/>
                <a:gd name="connsiteY6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150" h="171450">
                  <a:moveTo>
                    <a:pt x="28575" y="0"/>
                  </a:moveTo>
                  <a:cubicBezTo>
                    <a:pt x="12763" y="0"/>
                    <a:pt x="0" y="12287"/>
                    <a:pt x="0" y="29623"/>
                  </a:cubicBezTo>
                  <a:cubicBezTo>
                    <a:pt x="0" y="59531"/>
                    <a:pt x="7144" y="143732"/>
                    <a:pt x="9525" y="152400"/>
                  </a:cubicBezTo>
                  <a:cubicBezTo>
                    <a:pt x="11906" y="161068"/>
                    <a:pt x="18193" y="171450"/>
                    <a:pt x="28575" y="171450"/>
                  </a:cubicBezTo>
                  <a:cubicBezTo>
                    <a:pt x="38957" y="171450"/>
                    <a:pt x="45244" y="161068"/>
                    <a:pt x="47625" y="152400"/>
                  </a:cubicBezTo>
                  <a:cubicBezTo>
                    <a:pt x="50006" y="143732"/>
                    <a:pt x="57150" y="59531"/>
                    <a:pt x="57150" y="29623"/>
                  </a:cubicBezTo>
                  <a:cubicBezTo>
                    <a:pt x="57150" y="12287"/>
                    <a:pt x="44387" y="0"/>
                    <a:pt x="28575" y="0"/>
                  </a:cubicBezTo>
                  <a:close/>
                </a:path>
              </a:pathLst>
            </a:custGeom>
            <a:noFill/>
            <a:ln w="19050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37" name="Conector reto 36">
            <a:extLst>
              <a:ext uri="{FF2B5EF4-FFF2-40B4-BE49-F238E27FC236}">
                <a16:creationId xmlns:a16="http://schemas.microsoft.com/office/drawing/2014/main" id="{19679846-790F-4F9B-9ED4-B8A4212B5880}"/>
              </a:ext>
            </a:extLst>
          </p:cNvPr>
          <p:cNvCxnSpPr>
            <a:cxnSpLocks/>
          </p:cNvCxnSpPr>
          <p:nvPr/>
        </p:nvCxnSpPr>
        <p:spPr>
          <a:xfrm flipV="1">
            <a:off x="690197" y="3919778"/>
            <a:ext cx="4540286" cy="17736"/>
          </a:xfrm>
          <a:prstGeom prst="line">
            <a:avLst/>
          </a:prstGeom>
          <a:solidFill>
            <a:schemeClr val="bg1"/>
          </a:solidFill>
          <a:ln w="3175">
            <a:solidFill>
              <a:srgbClr val="D6D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CaixaDeTexto 79">
            <a:extLst>
              <a:ext uri="{FF2B5EF4-FFF2-40B4-BE49-F238E27FC236}">
                <a16:creationId xmlns:a16="http://schemas.microsoft.com/office/drawing/2014/main" id="{CF02AB87-2D4E-4698-9C7B-355E13612716}"/>
              </a:ext>
            </a:extLst>
          </p:cNvPr>
          <p:cNvSpPr txBox="1"/>
          <p:nvPr/>
        </p:nvSpPr>
        <p:spPr>
          <a:xfrm>
            <a:off x="192506" y="346349"/>
            <a:ext cx="5437087" cy="4347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pt-BR"/>
            </a:defPPr>
            <a:lvl1pPr defTabSz="914411">
              <a:lnSpc>
                <a:spcPct val="75000"/>
              </a:lnSpc>
              <a:spcBef>
                <a:spcPts val="0"/>
              </a:spcBef>
              <a:buNone/>
              <a:defRPr kumimoji="0" sz="2800" b="0" i="0" u="none" strike="noStrike" cap="none" spc="0" normalizeH="0" baseline="0">
                <a:ln>
                  <a:noFill/>
                </a:ln>
                <a:solidFill>
                  <a:srgbClr val="FE9600"/>
                </a:solidFill>
                <a:effectLst/>
                <a:uLnTx/>
                <a:uFillTx/>
                <a:latin typeface="Itau Display Heavy" panose="020B0803020204020204" pitchFamily="34" charset="0"/>
                <a:cs typeface="Itau Display Heavy" panose="020B0803020204020204" pitchFamily="34" charset="0"/>
              </a:defRPr>
            </a:lvl1pPr>
            <a:lvl2pPr marL="539756" indent="-182566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>
                <a:solidFill>
                  <a:schemeClr val="accent6"/>
                </a:solidFill>
              </a:defRPr>
            </a:lvl2pPr>
            <a:lvl3pPr marL="898536" indent="-184152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accent6"/>
                </a:solidFill>
              </a:defRPr>
            </a:lvl3pPr>
            <a:lvl4pPr marL="1255729" indent="-184152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>
                <a:solidFill>
                  <a:schemeClr val="accent6"/>
                </a:solidFill>
              </a:defRPr>
            </a:lvl4pPr>
            <a:lvl5pPr marL="1612920" indent="-174628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>
                <a:solidFill>
                  <a:schemeClr val="accent6"/>
                </a:solidFill>
              </a:defRPr>
            </a:lvl5pPr>
            <a:lvl6pPr marL="2514632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6pPr>
            <a:lvl7pPr marL="2971838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7pPr>
            <a:lvl8pPr marL="3429044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8pPr>
            <a:lvl9pPr marL="3886249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9pPr>
          </a:lstStyle>
          <a:p>
            <a:pPr marL="0" marR="0" lvl="0" indent="0" algn="l" defTabSz="914411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0" i="0" u="none" strike="noStrike" kern="1200" cap="none" spc="0" normalizeH="0" baseline="0" noProof="0">
                <a:ln>
                  <a:noFill/>
                </a:ln>
                <a:solidFill>
                  <a:srgbClr val="FE9600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</a:rPr>
              <a:t>_o que os clientes falam e sentem</a:t>
            </a:r>
          </a:p>
        </p:txBody>
      </p:sp>
      <p:sp>
        <p:nvSpPr>
          <p:cNvPr id="82" name="CaixaDeTexto 81">
            <a:extLst>
              <a:ext uri="{FF2B5EF4-FFF2-40B4-BE49-F238E27FC236}">
                <a16:creationId xmlns:a16="http://schemas.microsoft.com/office/drawing/2014/main" id="{AE3737A2-EF0A-4F13-A386-0ECC07CF1568}"/>
              </a:ext>
            </a:extLst>
          </p:cNvPr>
          <p:cNvSpPr txBox="1"/>
          <p:nvPr/>
        </p:nvSpPr>
        <p:spPr>
          <a:xfrm>
            <a:off x="346023" y="701766"/>
            <a:ext cx="99374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Análise das bases de reclamações - FQ / HQ / BP4</a:t>
            </a:r>
          </a:p>
        </p:txBody>
      </p:sp>
      <p:graphicFrame>
        <p:nvGraphicFramePr>
          <p:cNvPr id="18" name="Tabela 17">
            <a:extLst>
              <a:ext uri="{FF2B5EF4-FFF2-40B4-BE49-F238E27FC236}">
                <a16:creationId xmlns:a16="http://schemas.microsoft.com/office/drawing/2014/main" id="{C4F101AC-6049-F0DD-CE63-C8242D55075F}"/>
              </a:ext>
            </a:extLst>
          </p:cNvPr>
          <p:cNvGraphicFramePr>
            <a:graphicFrameLocks noGrp="1"/>
          </p:cNvGraphicFramePr>
          <p:nvPr/>
        </p:nvGraphicFramePr>
        <p:xfrm>
          <a:off x="858706" y="4496211"/>
          <a:ext cx="4361274" cy="982980"/>
        </p:xfrm>
        <a:graphic>
          <a:graphicData uri="http://schemas.openxmlformats.org/drawingml/2006/table">
            <a:tbl>
              <a:tblPr/>
              <a:tblGrid>
                <a:gridCol w="3324578">
                  <a:extLst>
                    <a:ext uri="{9D8B030D-6E8A-4147-A177-3AD203B41FA5}">
                      <a16:colId xmlns:a16="http://schemas.microsoft.com/office/drawing/2014/main" val="3142265304"/>
                    </a:ext>
                  </a:extLst>
                </a:gridCol>
                <a:gridCol w="1036696">
                  <a:extLst>
                    <a:ext uri="{9D8B030D-6E8A-4147-A177-3AD203B41FA5}">
                      <a16:colId xmlns:a16="http://schemas.microsoft.com/office/drawing/2014/main" val="227525778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</a:pPr>
                      <a:r>
                        <a:rPr lang="pt-BR" sz="1200" b="0">
                          <a:solidFill>
                            <a:srgbClr val="5F6062"/>
                          </a:solidFill>
                          <a:latin typeface="Itau Display XBold" panose="020B0803020204020204" pitchFamily="34" charset="0"/>
                          <a:cs typeface="Itau Display XBold" panose="020B0803020204020204" pitchFamily="34" charset="0"/>
                        </a:rPr>
                        <a:t>Análise detalhada jan-ago/2023</a:t>
                      </a:r>
                    </a:p>
                  </a:txBody>
                  <a:tcPr anchor="ctr">
                    <a:lnL w="9525" cmpd="sng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E9F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11" rtl="0" eaLnBrk="1" latinLnBrk="0" hangingPunct="1">
                        <a:defRPr sz="18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6" algn="l" defTabSz="914411" rtl="0" eaLnBrk="1" latinLnBrk="0" hangingPunct="1">
                        <a:defRPr sz="18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11" algn="l" defTabSz="914411" rtl="0" eaLnBrk="1" latinLnBrk="0" hangingPunct="1">
                        <a:defRPr sz="18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17" algn="l" defTabSz="914411" rtl="0" eaLnBrk="1" latinLnBrk="0" hangingPunct="1">
                        <a:defRPr sz="18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23" algn="l" defTabSz="914411" rtl="0" eaLnBrk="1" latinLnBrk="0" hangingPunct="1">
                        <a:defRPr sz="18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29" algn="l" defTabSz="914411" rtl="0" eaLnBrk="1" latinLnBrk="0" hangingPunct="1">
                        <a:defRPr sz="18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34" algn="l" defTabSz="914411" rtl="0" eaLnBrk="1" latinLnBrk="0" hangingPunct="1">
                        <a:defRPr sz="18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40" algn="l" defTabSz="914411" rtl="0" eaLnBrk="1" latinLnBrk="0" hangingPunct="1">
                        <a:defRPr sz="18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46" algn="l" defTabSz="914411" rtl="0" eaLnBrk="1" latinLnBrk="0" hangingPunct="1">
                        <a:defRPr sz="18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>
                        <a:lnSpc>
                          <a:spcPct val="90000"/>
                        </a:lnSpc>
                      </a:pPr>
                      <a:r>
                        <a:rPr lang="pt-BR" sz="1200" b="0">
                          <a:solidFill>
                            <a:srgbClr val="5F6062"/>
                          </a:solidFill>
                          <a:latin typeface="Itau Display XBold" panose="020B0803020204020204" pitchFamily="34" charset="0"/>
                          <a:cs typeface="Itau Display XBold" panose="020B0803020204020204" pitchFamily="34" charset="0"/>
                        </a:rPr>
                        <a:t>Dados</a:t>
                      </a:r>
                    </a:p>
                  </a:txBody>
                  <a:tcPr anchor="ctr">
                    <a:lnL w="9525" cmpd="sng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E9F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95304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100" b="0" i="0" u="none" strike="noStrike" kern="1200" cap="none" spc="-5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Text" panose="020B0503020204020203" pitchFamily="34" charset="0"/>
                          <a:ea typeface="+mn-ea"/>
                          <a:cs typeface="Itau Text" panose="020B0503020204020203" pitchFamily="34" charset="0"/>
                        </a:rPr>
                        <a:t>Total de reclamações relacionadas a conteúdos</a:t>
                      </a:r>
                    </a:p>
                  </a:txBody>
                  <a:tcPr anchor="ctr">
                    <a:lnL w="9525" cmpd="sng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E9F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E9F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</a:pPr>
                      <a:r>
                        <a:rPr lang="pt-BR" sz="1100" b="0">
                          <a:solidFill>
                            <a:srgbClr val="5F6062"/>
                          </a:solidFill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50.140</a:t>
                      </a:r>
                      <a:endParaRPr lang="pt-BR" sz="900" b="0">
                        <a:solidFill>
                          <a:srgbClr val="5F6062"/>
                        </a:solidFill>
                        <a:latin typeface="Itau Display" panose="020B0503020204020204" pitchFamily="34" charset="0"/>
                        <a:cs typeface="Itau Display" panose="020B0503020204020204" pitchFamily="34" charset="0"/>
                      </a:endParaRPr>
                    </a:p>
                  </a:txBody>
                  <a:tcPr anchor="ctr">
                    <a:lnL w="9525" cmpd="sng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E9F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E9F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13757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9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pt-BR" sz="1100" b="0" i="0">
                          <a:solidFill>
                            <a:srgbClr val="5F6062"/>
                          </a:solidFill>
                          <a:latin typeface="Itau Text" panose="020B0503020204020203" pitchFamily="34" charset="0"/>
                          <a:cs typeface="Itau Text" panose="020B0503020204020203" pitchFamily="34" charset="0"/>
                        </a:rPr>
                        <a:t>Reclamações relacionadas ao não recebimento</a:t>
                      </a:r>
                    </a:p>
                  </a:txBody>
                  <a:tcPr anchor="ctr">
                    <a:lnL w="9525" cmpd="sng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E9F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E9F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11" rtl="0" eaLnBrk="1" latinLnBrk="0" hangingPunct="1">
                        <a:defRPr sz="18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6" algn="l" defTabSz="914411" rtl="0" eaLnBrk="1" latinLnBrk="0" hangingPunct="1">
                        <a:defRPr sz="18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11" algn="l" defTabSz="914411" rtl="0" eaLnBrk="1" latinLnBrk="0" hangingPunct="1">
                        <a:defRPr sz="18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17" algn="l" defTabSz="914411" rtl="0" eaLnBrk="1" latinLnBrk="0" hangingPunct="1">
                        <a:defRPr sz="18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23" algn="l" defTabSz="914411" rtl="0" eaLnBrk="1" latinLnBrk="0" hangingPunct="1">
                        <a:defRPr sz="18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29" algn="l" defTabSz="914411" rtl="0" eaLnBrk="1" latinLnBrk="0" hangingPunct="1">
                        <a:defRPr sz="18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34" algn="l" defTabSz="914411" rtl="0" eaLnBrk="1" latinLnBrk="0" hangingPunct="1">
                        <a:defRPr sz="18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40" algn="l" defTabSz="914411" rtl="0" eaLnBrk="1" latinLnBrk="0" hangingPunct="1">
                        <a:defRPr sz="18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46" algn="l" defTabSz="914411" rtl="0" eaLnBrk="1" latinLnBrk="0" hangingPunct="1">
                        <a:defRPr sz="18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>
                        <a:lnSpc>
                          <a:spcPct val="90000"/>
                        </a:lnSpc>
                      </a:pPr>
                      <a:r>
                        <a:rPr lang="pt-BR" sz="1100" b="0">
                          <a:solidFill>
                            <a:srgbClr val="5F6062"/>
                          </a:solidFill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38.408</a:t>
                      </a:r>
                    </a:p>
                  </a:txBody>
                  <a:tcPr anchor="ctr">
                    <a:lnL w="9525" cmpd="sng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E9F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E9F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60635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9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pt-BR" sz="1100" b="0" i="0" kern="1200">
                          <a:solidFill>
                            <a:srgbClr val="5F6062"/>
                          </a:solidFill>
                          <a:latin typeface="Itau Text" panose="020B0503020204020203" pitchFamily="34" charset="0"/>
                          <a:ea typeface="+mn-ea"/>
                          <a:cs typeface="Itau Text" panose="020B0503020204020203" pitchFamily="34" charset="0"/>
                        </a:rPr>
                        <a:t>Impacto percentual sobre o total</a:t>
                      </a:r>
                      <a:endParaRPr lang="pt-BR" sz="800" b="0" i="0" kern="1200">
                        <a:solidFill>
                          <a:srgbClr val="5F6062"/>
                        </a:solidFill>
                        <a:latin typeface="Itau Text" panose="020B0503020204020203" pitchFamily="34" charset="0"/>
                        <a:ea typeface="+mn-ea"/>
                        <a:cs typeface="Itau Text" panose="020B0503020204020203" pitchFamily="34" charset="0"/>
                      </a:endParaRPr>
                    </a:p>
                  </a:txBody>
                  <a:tcPr anchor="ctr">
                    <a:lnL w="9525" cmpd="sng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E9F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11" rtl="0" eaLnBrk="1" latinLnBrk="0" hangingPunct="1">
                        <a:defRPr sz="18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6" algn="l" defTabSz="914411" rtl="0" eaLnBrk="1" latinLnBrk="0" hangingPunct="1">
                        <a:defRPr sz="18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11" algn="l" defTabSz="914411" rtl="0" eaLnBrk="1" latinLnBrk="0" hangingPunct="1">
                        <a:defRPr sz="18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17" algn="l" defTabSz="914411" rtl="0" eaLnBrk="1" latinLnBrk="0" hangingPunct="1">
                        <a:defRPr sz="18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23" algn="l" defTabSz="914411" rtl="0" eaLnBrk="1" latinLnBrk="0" hangingPunct="1">
                        <a:defRPr sz="18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29" algn="l" defTabSz="914411" rtl="0" eaLnBrk="1" latinLnBrk="0" hangingPunct="1">
                        <a:defRPr sz="18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34" algn="l" defTabSz="914411" rtl="0" eaLnBrk="1" latinLnBrk="0" hangingPunct="1">
                        <a:defRPr sz="18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40" algn="l" defTabSz="914411" rtl="0" eaLnBrk="1" latinLnBrk="0" hangingPunct="1">
                        <a:defRPr sz="18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46" algn="l" defTabSz="914411" rtl="0" eaLnBrk="1" latinLnBrk="0" hangingPunct="1">
                        <a:defRPr sz="18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>
                        <a:lnSpc>
                          <a:spcPct val="90000"/>
                        </a:lnSpc>
                      </a:pPr>
                      <a:r>
                        <a:rPr lang="pt-BR" sz="1100" b="0">
                          <a:solidFill>
                            <a:srgbClr val="5F6062"/>
                          </a:solidFill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77%</a:t>
                      </a:r>
                    </a:p>
                  </a:txBody>
                  <a:tcPr anchor="ctr">
                    <a:lnL w="9525" cmpd="sng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E9F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8723724"/>
                  </a:ext>
                </a:extLst>
              </a:tr>
            </a:tbl>
          </a:graphicData>
        </a:graphic>
      </p:graphicFrame>
      <p:sp>
        <p:nvSpPr>
          <p:cNvPr id="19" name="Retângulo: Cantos Arredondados 18">
            <a:extLst>
              <a:ext uri="{FF2B5EF4-FFF2-40B4-BE49-F238E27FC236}">
                <a16:creationId xmlns:a16="http://schemas.microsoft.com/office/drawing/2014/main" id="{5701B1A1-A363-BF85-414A-92F3242C62EE}"/>
              </a:ext>
            </a:extLst>
          </p:cNvPr>
          <p:cNvSpPr/>
          <p:nvPr/>
        </p:nvSpPr>
        <p:spPr>
          <a:xfrm>
            <a:off x="835904" y="5235364"/>
            <a:ext cx="4394579" cy="272955"/>
          </a:xfrm>
          <a:prstGeom prst="roundRect">
            <a:avLst/>
          </a:prstGeom>
          <a:noFill/>
          <a:ln w="28575">
            <a:solidFill>
              <a:srgbClr val="FE9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4EE4FA8D-4729-85CF-A013-93302CF1FF07}"/>
              </a:ext>
            </a:extLst>
          </p:cNvPr>
          <p:cNvSpPr txBox="1"/>
          <p:nvPr/>
        </p:nvSpPr>
        <p:spPr>
          <a:xfrm>
            <a:off x="900380" y="4053449"/>
            <a:ext cx="52139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  <a:cs typeface="Itau Display Heavy" panose="020B0803020204020204" pitchFamily="34" charset="0"/>
              </a:rPr>
              <a:t>Impacto da gestão de conteúdos</a:t>
            </a:r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7FE538F6-8728-E4A2-48DC-82BEBD4466E0}"/>
              </a:ext>
            </a:extLst>
          </p:cNvPr>
          <p:cNvSpPr txBox="1"/>
          <p:nvPr/>
        </p:nvSpPr>
        <p:spPr>
          <a:xfrm>
            <a:off x="3958921" y="3716767"/>
            <a:ext cx="104363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Fonte: FQ / HQ / BP4</a:t>
            </a:r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EC488873-FE44-BE1E-4DA2-5E46CB1A938B}"/>
              </a:ext>
            </a:extLst>
          </p:cNvPr>
          <p:cNvSpPr txBox="1"/>
          <p:nvPr/>
        </p:nvSpPr>
        <p:spPr>
          <a:xfrm>
            <a:off x="3907085" y="6441192"/>
            <a:ext cx="1059645" cy="2178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Fonte: FQ / HQ / BP4</a:t>
            </a:r>
          </a:p>
        </p:txBody>
      </p:sp>
      <p:graphicFrame>
        <p:nvGraphicFramePr>
          <p:cNvPr id="5" name="Gráfico 4">
            <a:extLst>
              <a:ext uri="{FF2B5EF4-FFF2-40B4-BE49-F238E27FC236}">
                <a16:creationId xmlns:a16="http://schemas.microsoft.com/office/drawing/2014/main" id="{5D48511B-D61A-DBEE-BC2A-3A57A6ADB73D}"/>
              </a:ext>
            </a:extLst>
          </p:cNvPr>
          <p:cNvGraphicFramePr/>
          <p:nvPr/>
        </p:nvGraphicFramePr>
        <p:xfrm>
          <a:off x="6192178" y="1592637"/>
          <a:ext cx="4967811" cy="54209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3" name="TextBox 67">
            <a:extLst>
              <a:ext uri="{FF2B5EF4-FFF2-40B4-BE49-F238E27FC236}">
                <a16:creationId xmlns:a16="http://schemas.microsoft.com/office/drawing/2014/main" id="{7FB50E2A-AF00-D560-5443-43F660CFA8ED}"/>
              </a:ext>
            </a:extLst>
          </p:cNvPr>
          <p:cNvSpPr txBox="1"/>
          <p:nvPr/>
        </p:nvSpPr>
        <p:spPr>
          <a:xfrm>
            <a:off x="5897086" y="1835496"/>
            <a:ext cx="2610354" cy="2308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" panose="020B0503020204020204" pitchFamily="34" charset="0"/>
                <a:ea typeface="+mn-ea"/>
                <a:cs typeface="Itau Display Pro App" panose="020B0503020204020204" pitchFamily="34" charset="0"/>
              </a:rPr>
              <a:t>Não recebimento do boleto</a:t>
            </a:r>
          </a:p>
        </p:txBody>
      </p:sp>
      <p:sp>
        <p:nvSpPr>
          <p:cNvPr id="24" name="TextBox 67">
            <a:extLst>
              <a:ext uri="{FF2B5EF4-FFF2-40B4-BE49-F238E27FC236}">
                <a16:creationId xmlns:a16="http://schemas.microsoft.com/office/drawing/2014/main" id="{57A213F3-56B9-E9DE-D1E0-0AC6193D1885}"/>
              </a:ext>
            </a:extLst>
          </p:cNvPr>
          <p:cNvSpPr txBox="1"/>
          <p:nvPr/>
        </p:nvSpPr>
        <p:spPr>
          <a:xfrm>
            <a:off x="5897086" y="2015550"/>
            <a:ext cx="2610354" cy="2308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" panose="020B0503020204020204" pitchFamily="34" charset="0"/>
                <a:ea typeface="+mn-ea"/>
                <a:cs typeface="Itau Display Pro App" panose="020B0503020204020204" pitchFamily="34" charset="0"/>
              </a:rPr>
              <a:t>Contestações sobre carta de quitação </a:t>
            </a:r>
          </a:p>
        </p:txBody>
      </p:sp>
      <p:sp>
        <p:nvSpPr>
          <p:cNvPr id="26" name="TextBox 67">
            <a:extLst>
              <a:ext uri="{FF2B5EF4-FFF2-40B4-BE49-F238E27FC236}">
                <a16:creationId xmlns:a16="http://schemas.microsoft.com/office/drawing/2014/main" id="{A7A79670-F03B-F7F0-EA31-6B0F48FE84B7}"/>
              </a:ext>
            </a:extLst>
          </p:cNvPr>
          <p:cNvSpPr txBox="1"/>
          <p:nvPr/>
        </p:nvSpPr>
        <p:spPr>
          <a:xfrm>
            <a:off x="5897086" y="2219086"/>
            <a:ext cx="2610354" cy="2308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" panose="020B0503020204020204" pitchFamily="34" charset="0"/>
                <a:ea typeface="+mn-ea"/>
                <a:cs typeface="Itau Display Pro App" panose="020B0503020204020204" pitchFamily="34" charset="0"/>
              </a:rPr>
              <a:t>Não recebimento do contrato</a:t>
            </a:r>
          </a:p>
        </p:txBody>
      </p:sp>
      <p:sp>
        <p:nvSpPr>
          <p:cNvPr id="30" name="TextBox 67">
            <a:extLst>
              <a:ext uri="{FF2B5EF4-FFF2-40B4-BE49-F238E27FC236}">
                <a16:creationId xmlns:a16="http://schemas.microsoft.com/office/drawing/2014/main" id="{17AF1CE6-5EC9-0AD1-5D4E-FA407A831FF4}"/>
              </a:ext>
            </a:extLst>
          </p:cNvPr>
          <p:cNvSpPr txBox="1"/>
          <p:nvPr/>
        </p:nvSpPr>
        <p:spPr>
          <a:xfrm>
            <a:off x="5897086" y="2399140"/>
            <a:ext cx="2610354" cy="2308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" panose="020B0503020204020204" pitchFamily="34" charset="0"/>
                <a:ea typeface="+mn-ea"/>
                <a:cs typeface="Itau Display Pro App" panose="020B0503020204020204" pitchFamily="34" charset="0"/>
              </a:rPr>
              <a:t>Não recebeu a declaração de quitação</a:t>
            </a:r>
          </a:p>
        </p:txBody>
      </p:sp>
      <p:sp>
        <p:nvSpPr>
          <p:cNvPr id="31" name="CaixaDeTexto 30">
            <a:extLst>
              <a:ext uri="{FF2B5EF4-FFF2-40B4-BE49-F238E27FC236}">
                <a16:creationId xmlns:a16="http://schemas.microsoft.com/office/drawing/2014/main" id="{A0CDDF99-35BB-A320-888D-97B2AF719EDD}"/>
              </a:ext>
            </a:extLst>
          </p:cNvPr>
          <p:cNvSpPr txBox="1"/>
          <p:nvPr/>
        </p:nvSpPr>
        <p:spPr>
          <a:xfrm rot="16200000">
            <a:off x="5111436" y="2055067"/>
            <a:ext cx="10078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  <a:cs typeface="Itau Display Heavy" panose="020B0803020204020204" pitchFamily="34" charset="0"/>
              </a:rPr>
              <a:t>Cartões</a:t>
            </a:r>
            <a:endParaRPr kumimoji="0" lang="pt-BR" sz="1100" b="0" i="0" u="none" strike="noStrike" kern="1200" cap="none" spc="0" normalizeH="0" baseline="0" noProof="0">
              <a:ln>
                <a:noFill/>
              </a:ln>
              <a:solidFill>
                <a:srgbClr val="5F6062"/>
              </a:solidFill>
              <a:effectLst/>
              <a:uLnTx/>
              <a:uFillTx/>
              <a:latin typeface="Itau Display Heavy" panose="020B0803020204020204" pitchFamily="34" charset="0"/>
              <a:ea typeface="+mn-ea"/>
              <a:cs typeface="Itau Display Heavy" panose="020B0803020204020204" pitchFamily="34" charset="0"/>
            </a:endParaRPr>
          </a:p>
        </p:txBody>
      </p:sp>
      <p:sp>
        <p:nvSpPr>
          <p:cNvPr id="32" name="TextBox 67">
            <a:extLst>
              <a:ext uri="{FF2B5EF4-FFF2-40B4-BE49-F238E27FC236}">
                <a16:creationId xmlns:a16="http://schemas.microsoft.com/office/drawing/2014/main" id="{5C5FC103-95B1-52B9-B7A1-332947DBE38D}"/>
              </a:ext>
            </a:extLst>
          </p:cNvPr>
          <p:cNvSpPr txBox="1"/>
          <p:nvPr/>
        </p:nvSpPr>
        <p:spPr>
          <a:xfrm>
            <a:off x="5897086" y="2939024"/>
            <a:ext cx="2610354" cy="2308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" panose="020B0503020204020204" pitchFamily="34" charset="0"/>
                <a:ea typeface="+mn-ea"/>
                <a:cs typeface="Itau Display Pro App" panose="020B0503020204020204" pitchFamily="34" charset="0"/>
              </a:rPr>
              <a:t>Não recebeu o informe de rendimentos</a:t>
            </a:r>
          </a:p>
        </p:txBody>
      </p:sp>
      <p:sp>
        <p:nvSpPr>
          <p:cNvPr id="34" name="TextBox 67">
            <a:extLst>
              <a:ext uri="{FF2B5EF4-FFF2-40B4-BE49-F238E27FC236}">
                <a16:creationId xmlns:a16="http://schemas.microsoft.com/office/drawing/2014/main" id="{4BF5E39D-9E14-215F-A8B8-6DA9F328FC60}"/>
              </a:ext>
            </a:extLst>
          </p:cNvPr>
          <p:cNvSpPr txBox="1"/>
          <p:nvPr/>
        </p:nvSpPr>
        <p:spPr>
          <a:xfrm>
            <a:off x="5897086" y="3119566"/>
            <a:ext cx="2978578" cy="2308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" panose="020B0503020204020204" pitchFamily="34" charset="0"/>
                <a:ea typeface="+mn-ea"/>
                <a:cs typeface="Itau Display Pro App" panose="020B0503020204020204" pitchFamily="34" charset="0"/>
              </a:rPr>
              <a:t>Contestações sobre o informe de rendimentos</a:t>
            </a:r>
          </a:p>
        </p:txBody>
      </p:sp>
      <p:sp>
        <p:nvSpPr>
          <p:cNvPr id="35" name="TextBox 67">
            <a:extLst>
              <a:ext uri="{FF2B5EF4-FFF2-40B4-BE49-F238E27FC236}">
                <a16:creationId xmlns:a16="http://schemas.microsoft.com/office/drawing/2014/main" id="{DFB1D9B8-E758-F2F2-2508-68688A05BADE}"/>
              </a:ext>
            </a:extLst>
          </p:cNvPr>
          <p:cNvSpPr txBox="1"/>
          <p:nvPr/>
        </p:nvSpPr>
        <p:spPr>
          <a:xfrm>
            <a:off x="5897086" y="3322614"/>
            <a:ext cx="2838583" cy="2308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" panose="020B0503020204020204" pitchFamily="34" charset="0"/>
                <a:ea typeface="+mn-ea"/>
                <a:cs typeface="Itau Display Pro App" panose="020B0503020204020204" pitchFamily="34" charset="0"/>
              </a:rPr>
              <a:t>Contestações sobre o informe de investimentos</a:t>
            </a:r>
          </a:p>
        </p:txBody>
      </p:sp>
      <p:sp>
        <p:nvSpPr>
          <p:cNvPr id="39" name="CaixaDeTexto 38">
            <a:extLst>
              <a:ext uri="{FF2B5EF4-FFF2-40B4-BE49-F238E27FC236}">
                <a16:creationId xmlns:a16="http://schemas.microsoft.com/office/drawing/2014/main" id="{42DEF337-9DBA-ED5C-12F3-BD9DA26327C1}"/>
              </a:ext>
            </a:extLst>
          </p:cNvPr>
          <p:cNvSpPr txBox="1"/>
          <p:nvPr/>
        </p:nvSpPr>
        <p:spPr>
          <a:xfrm rot="16200000">
            <a:off x="5111437" y="3081092"/>
            <a:ext cx="10078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  <a:cs typeface="Itau Display Heavy" panose="020B0803020204020204" pitchFamily="34" charset="0"/>
              </a:rPr>
              <a:t>WMS</a:t>
            </a:r>
            <a:endParaRPr kumimoji="0" lang="pt-BR" sz="1100" b="0" i="0" u="none" strike="noStrike" kern="1200" cap="none" spc="0" normalizeH="0" baseline="0" noProof="0">
              <a:ln>
                <a:noFill/>
              </a:ln>
              <a:solidFill>
                <a:srgbClr val="5F6062"/>
              </a:solidFill>
              <a:effectLst/>
              <a:uLnTx/>
              <a:uFillTx/>
              <a:latin typeface="Itau Display Heavy" panose="020B0803020204020204" pitchFamily="34" charset="0"/>
              <a:ea typeface="+mn-ea"/>
              <a:cs typeface="Itau Display Heavy" panose="020B0803020204020204" pitchFamily="34" charset="0"/>
            </a:endParaRPr>
          </a:p>
        </p:txBody>
      </p:sp>
      <p:sp>
        <p:nvSpPr>
          <p:cNvPr id="40" name="TextBox 67">
            <a:extLst>
              <a:ext uri="{FF2B5EF4-FFF2-40B4-BE49-F238E27FC236}">
                <a16:creationId xmlns:a16="http://schemas.microsoft.com/office/drawing/2014/main" id="{63F6237A-402D-4F78-5D9B-A977A2BB1162}"/>
              </a:ext>
            </a:extLst>
          </p:cNvPr>
          <p:cNvSpPr txBox="1"/>
          <p:nvPr/>
        </p:nvSpPr>
        <p:spPr>
          <a:xfrm>
            <a:off x="5897847" y="4647587"/>
            <a:ext cx="2610354" cy="2308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" panose="020B0503020204020204" pitchFamily="34" charset="0"/>
                <a:ea typeface="+mn-ea"/>
                <a:cs typeface="Itau Display Pro App" panose="020B0503020204020204" pitchFamily="34" charset="0"/>
              </a:rPr>
              <a:t>Não recebimento do boleto</a:t>
            </a:r>
          </a:p>
        </p:txBody>
      </p:sp>
      <p:sp>
        <p:nvSpPr>
          <p:cNvPr id="41" name="TextBox 67">
            <a:extLst>
              <a:ext uri="{FF2B5EF4-FFF2-40B4-BE49-F238E27FC236}">
                <a16:creationId xmlns:a16="http://schemas.microsoft.com/office/drawing/2014/main" id="{81634FDB-2A3F-BB99-2190-754DA9700893}"/>
              </a:ext>
            </a:extLst>
          </p:cNvPr>
          <p:cNvSpPr txBox="1"/>
          <p:nvPr/>
        </p:nvSpPr>
        <p:spPr>
          <a:xfrm>
            <a:off x="5897847" y="4827641"/>
            <a:ext cx="2610354" cy="2308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" panose="020B0503020204020204" pitchFamily="34" charset="0"/>
                <a:ea typeface="+mn-ea"/>
                <a:cs typeface="Itau Display Pro App" panose="020B0503020204020204" pitchFamily="34" charset="0"/>
              </a:rPr>
              <a:t>Não recebeu o contrato</a:t>
            </a:r>
          </a:p>
        </p:txBody>
      </p:sp>
      <p:sp>
        <p:nvSpPr>
          <p:cNvPr id="42" name="TextBox 67">
            <a:extLst>
              <a:ext uri="{FF2B5EF4-FFF2-40B4-BE49-F238E27FC236}">
                <a16:creationId xmlns:a16="http://schemas.microsoft.com/office/drawing/2014/main" id="{BB6F8FB0-7936-EBB8-14EA-0CE82BA6D9F5}"/>
              </a:ext>
            </a:extLst>
          </p:cNvPr>
          <p:cNvSpPr txBox="1"/>
          <p:nvPr/>
        </p:nvSpPr>
        <p:spPr>
          <a:xfrm>
            <a:off x="5897847" y="5031177"/>
            <a:ext cx="2836580" cy="2308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" panose="020B0503020204020204" pitchFamily="34" charset="0"/>
                <a:ea typeface="+mn-ea"/>
                <a:cs typeface="Itau Display Pro App" panose="020B0503020204020204" pitchFamily="34" charset="0"/>
              </a:rPr>
              <a:t>Contestações sobre o informe de rendimentos</a:t>
            </a:r>
          </a:p>
        </p:txBody>
      </p:sp>
      <p:sp>
        <p:nvSpPr>
          <p:cNvPr id="43" name="TextBox 67">
            <a:extLst>
              <a:ext uri="{FF2B5EF4-FFF2-40B4-BE49-F238E27FC236}">
                <a16:creationId xmlns:a16="http://schemas.microsoft.com/office/drawing/2014/main" id="{94C329F4-891B-D334-F9AC-FC5C432C48CF}"/>
              </a:ext>
            </a:extLst>
          </p:cNvPr>
          <p:cNvSpPr txBox="1"/>
          <p:nvPr/>
        </p:nvSpPr>
        <p:spPr>
          <a:xfrm>
            <a:off x="5897846" y="5211231"/>
            <a:ext cx="2976575" cy="2308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" panose="020B0503020204020204" pitchFamily="34" charset="0"/>
                <a:ea typeface="+mn-ea"/>
                <a:cs typeface="Itau Display Pro App" panose="020B0503020204020204" pitchFamily="34" charset="0"/>
              </a:rPr>
              <a:t>Contestações sobre documentos divergentes</a:t>
            </a:r>
          </a:p>
        </p:txBody>
      </p:sp>
      <p:sp>
        <p:nvSpPr>
          <p:cNvPr id="44" name="CaixaDeTexto 43">
            <a:extLst>
              <a:ext uri="{FF2B5EF4-FFF2-40B4-BE49-F238E27FC236}">
                <a16:creationId xmlns:a16="http://schemas.microsoft.com/office/drawing/2014/main" id="{ABB578E1-102D-4091-4234-D0408694FB8A}"/>
              </a:ext>
            </a:extLst>
          </p:cNvPr>
          <p:cNvSpPr txBox="1"/>
          <p:nvPr/>
        </p:nvSpPr>
        <p:spPr>
          <a:xfrm rot="16200000">
            <a:off x="5099382" y="4889414"/>
            <a:ext cx="10078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  <a:cs typeface="Itau Display Heavy" panose="020B0803020204020204" pitchFamily="34" charset="0"/>
              </a:rPr>
              <a:t>Banco PF</a:t>
            </a:r>
            <a:endParaRPr kumimoji="0" lang="pt-BR" sz="1100" b="0" i="0" u="none" strike="noStrike" kern="1200" cap="none" spc="0" normalizeH="0" baseline="0" noProof="0">
              <a:ln>
                <a:noFill/>
              </a:ln>
              <a:solidFill>
                <a:srgbClr val="5F6062"/>
              </a:solidFill>
              <a:effectLst/>
              <a:uLnTx/>
              <a:uFillTx/>
              <a:latin typeface="Itau Display Heavy" panose="020B0803020204020204" pitchFamily="34" charset="0"/>
              <a:ea typeface="+mn-ea"/>
              <a:cs typeface="Itau Display Heavy" panose="020B0803020204020204" pitchFamily="34" charset="0"/>
            </a:endParaRPr>
          </a:p>
        </p:txBody>
      </p:sp>
      <p:sp>
        <p:nvSpPr>
          <p:cNvPr id="45" name="TextBox 67">
            <a:extLst>
              <a:ext uri="{FF2B5EF4-FFF2-40B4-BE49-F238E27FC236}">
                <a16:creationId xmlns:a16="http://schemas.microsoft.com/office/drawing/2014/main" id="{634FB11B-B46E-33C6-3064-7D483C5BB0AB}"/>
              </a:ext>
            </a:extLst>
          </p:cNvPr>
          <p:cNvSpPr txBox="1"/>
          <p:nvPr/>
        </p:nvSpPr>
        <p:spPr>
          <a:xfrm>
            <a:off x="5897087" y="5587303"/>
            <a:ext cx="2610354" cy="2308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" panose="020B0503020204020204" pitchFamily="34" charset="0"/>
                <a:ea typeface="+mn-ea"/>
                <a:cs typeface="Itau Display Pro App" panose="020B0503020204020204" pitchFamily="34" charset="0"/>
              </a:rPr>
              <a:t>Contesta solicitação de documentos</a:t>
            </a:r>
          </a:p>
        </p:txBody>
      </p:sp>
      <p:sp>
        <p:nvSpPr>
          <p:cNvPr id="46" name="TextBox 67">
            <a:extLst>
              <a:ext uri="{FF2B5EF4-FFF2-40B4-BE49-F238E27FC236}">
                <a16:creationId xmlns:a16="http://schemas.microsoft.com/office/drawing/2014/main" id="{D6F36F9F-3C52-BD0D-24DF-6881954049FD}"/>
              </a:ext>
            </a:extLst>
          </p:cNvPr>
          <p:cNvSpPr txBox="1"/>
          <p:nvPr/>
        </p:nvSpPr>
        <p:spPr>
          <a:xfrm>
            <a:off x="5897087" y="5767357"/>
            <a:ext cx="2610354" cy="2308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" panose="020B0503020204020204" pitchFamily="34" charset="0"/>
                <a:ea typeface="+mn-ea"/>
                <a:cs typeface="Itau Display Pro App" panose="020B0503020204020204" pitchFamily="34" charset="0"/>
              </a:rPr>
              <a:t>Contesta recebimento da apólice</a:t>
            </a:r>
          </a:p>
        </p:txBody>
      </p:sp>
      <p:sp>
        <p:nvSpPr>
          <p:cNvPr id="47" name="TextBox 67">
            <a:extLst>
              <a:ext uri="{FF2B5EF4-FFF2-40B4-BE49-F238E27FC236}">
                <a16:creationId xmlns:a16="http://schemas.microsoft.com/office/drawing/2014/main" id="{E207FD68-1AA9-6E93-5615-E51C7258161C}"/>
              </a:ext>
            </a:extLst>
          </p:cNvPr>
          <p:cNvSpPr txBox="1"/>
          <p:nvPr/>
        </p:nvSpPr>
        <p:spPr>
          <a:xfrm>
            <a:off x="5897087" y="5970893"/>
            <a:ext cx="2836580" cy="2308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" panose="020B0503020204020204" pitchFamily="34" charset="0"/>
                <a:ea typeface="+mn-ea"/>
                <a:cs typeface="Itau Display Pro App" panose="020B0503020204020204" pitchFamily="34" charset="0"/>
              </a:rPr>
              <a:t>Contesta não recebimento do boleto</a:t>
            </a:r>
          </a:p>
        </p:txBody>
      </p:sp>
      <p:sp>
        <p:nvSpPr>
          <p:cNvPr id="48" name="TextBox 67">
            <a:extLst>
              <a:ext uri="{FF2B5EF4-FFF2-40B4-BE49-F238E27FC236}">
                <a16:creationId xmlns:a16="http://schemas.microsoft.com/office/drawing/2014/main" id="{20BAF6B8-EF86-3194-306B-76AD4DB2CCA8}"/>
              </a:ext>
            </a:extLst>
          </p:cNvPr>
          <p:cNvSpPr txBox="1"/>
          <p:nvPr/>
        </p:nvSpPr>
        <p:spPr>
          <a:xfrm>
            <a:off x="5897086" y="6150947"/>
            <a:ext cx="2976575" cy="2308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" panose="020B0503020204020204" pitchFamily="34" charset="0"/>
                <a:ea typeface="+mn-ea"/>
                <a:cs typeface="Itau Display Pro App" panose="020B0503020204020204" pitchFamily="34" charset="0"/>
              </a:rPr>
              <a:t>Contestações sobre informe de seguros</a:t>
            </a: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A2BA1740-441E-F91A-9270-1F2FC20E667E}"/>
              </a:ext>
            </a:extLst>
          </p:cNvPr>
          <p:cNvSpPr txBox="1"/>
          <p:nvPr/>
        </p:nvSpPr>
        <p:spPr>
          <a:xfrm rot="16200000">
            <a:off x="5114874" y="5817004"/>
            <a:ext cx="10078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  <a:cs typeface="Itau Display Heavy" panose="020B0803020204020204" pitchFamily="34" charset="0"/>
              </a:rPr>
              <a:t>Seguros</a:t>
            </a:r>
            <a:endParaRPr kumimoji="0" lang="pt-BR" sz="1100" b="0" i="0" u="none" strike="noStrike" kern="1200" cap="none" spc="0" normalizeH="0" baseline="0" noProof="0">
              <a:ln>
                <a:noFill/>
              </a:ln>
              <a:solidFill>
                <a:srgbClr val="5F6062"/>
              </a:solidFill>
              <a:effectLst/>
              <a:uLnTx/>
              <a:uFillTx/>
              <a:latin typeface="Itau Display Heavy" panose="020B0803020204020204" pitchFamily="34" charset="0"/>
              <a:ea typeface="+mn-ea"/>
              <a:cs typeface="Itau Display Heavy" panose="020B0803020204020204" pitchFamily="34" charset="0"/>
            </a:endParaRPr>
          </a:p>
        </p:txBody>
      </p:sp>
      <p:grpSp>
        <p:nvGrpSpPr>
          <p:cNvPr id="55" name="Agrupar 54">
            <a:extLst>
              <a:ext uri="{FF2B5EF4-FFF2-40B4-BE49-F238E27FC236}">
                <a16:creationId xmlns:a16="http://schemas.microsoft.com/office/drawing/2014/main" id="{DE1C9E50-2F82-07FA-E2D3-F60DA53BB314}"/>
              </a:ext>
            </a:extLst>
          </p:cNvPr>
          <p:cNvGrpSpPr/>
          <p:nvPr/>
        </p:nvGrpSpPr>
        <p:grpSpPr>
          <a:xfrm>
            <a:off x="5674576" y="6428750"/>
            <a:ext cx="3395025" cy="230832"/>
            <a:chOff x="6574226" y="6012096"/>
            <a:chExt cx="3395025" cy="230832"/>
          </a:xfrm>
        </p:grpSpPr>
        <p:sp>
          <p:nvSpPr>
            <p:cNvPr id="50" name="Retângulo 49">
              <a:extLst>
                <a:ext uri="{FF2B5EF4-FFF2-40B4-BE49-F238E27FC236}">
                  <a16:creationId xmlns:a16="http://schemas.microsoft.com/office/drawing/2014/main" id="{6B9D33CD-3281-E48B-058A-E6DF960A9464}"/>
                </a:ext>
              </a:extLst>
            </p:cNvPr>
            <p:cNvSpPr/>
            <p:nvPr/>
          </p:nvSpPr>
          <p:spPr>
            <a:xfrm>
              <a:off x="6574226" y="6052715"/>
              <a:ext cx="144000" cy="144000"/>
            </a:xfrm>
            <a:prstGeom prst="rect">
              <a:avLst/>
            </a:prstGeom>
            <a:solidFill>
              <a:srgbClr val="1D408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TextBox 67">
              <a:extLst>
                <a:ext uri="{FF2B5EF4-FFF2-40B4-BE49-F238E27FC236}">
                  <a16:creationId xmlns:a16="http://schemas.microsoft.com/office/drawing/2014/main" id="{0916E8D1-5454-BA3D-C779-448869C3A6F4}"/>
                </a:ext>
              </a:extLst>
            </p:cNvPr>
            <p:cNvSpPr txBox="1"/>
            <p:nvPr/>
          </p:nvSpPr>
          <p:spPr>
            <a:xfrm>
              <a:off x="6662451" y="6012096"/>
              <a:ext cx="3306800" cy="230832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16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BR" sz="10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 Pro App" panose="020B0503020204020204" pitchFamily="34" charset="0"/>
                  <a:ea typeface="+mn-ea"/>
                  <a:cs typeface="Itau Display Pro App" panose="020B0503020204020204" pitchFamily="34" charset="0"/>
                </a:rPr>
                <a:t>Assunto relacionado a não recebimento de conteúdos</a:t>
              </a:r>
            </a:p>
          </p:txBody>
        </p:sp>
      </p:grpSp>
      <p:grpSp>
        <p:nvGrpSpPr>
          <p:cNvPr id="54" name="Agrupar 53">
            <a:extLst>
              <a:ext uri="{FF2B5EF4-FFF2-40B4-BE49-F238E27FC236}">
                <a16:creationId xmlns:a16="http://schemas.microsoft.com/office/drawing/2014/main" id="{B01B5D09-5478-D122-AD32-EF3DA851AE74}"/>
              </a:ext>
            </a:extLst>
          </p:cNvPr>
          <p:cNvGrpSpPr/>
          <p:nvPr/>
        </p:nvGrpSpPr>
        <p:grpSpPr>
          <a:xfrm>
            <a:off x="8837376" y="6428750"/>
            <a:ext cx="2698579" cy="230832"/>
            <a:chOff x="9000044" y="6001061"/>
            <a:chExt cx="2698579" cy="230832"/>
          </a:xfrm>
        </p:grpSpPr>
        <p:sp>
          <p:nvSpPr>
            <p:cNvPr id="52" name="Retângulo 51">
              <a:extLst>
                <a:ext uri="{FF2B5EF4-FFF2-40B4-BE49-F238E27FC236}">
                  <a16:creationId xmlns:a16="http://schemas.microsoft.com/office/drawing/2014/main" id="{DE6CCADD-51A5-C993-FBED-341447521860}"/>
                </a:ext>
              </a:extLst>
            </p:cNvPr>
            <p:cNvSpPr/>
            <p:nvPr/>
          </p:nvSpPr>
          <p:spPr>
            <a:xfrm>
              <a:off x="9000044" y="6041680"/>
              <a:ext cx="144000" cy="144000"/>
            </a:xfrm>
            <a:prstGeom prst="rect">
              <a:avLst/>
            </a:prstGeom>
            <a:solidFill>
              <a:srgbClr val="DFDFE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TextBox 67">
              <a:extLst>
                <a:ext uri="{FF2B5EF4-FFF2-40B4-BE49-F238E27FC236}">
                  <a16:creationId xmlns:a16="http://schemas.microsoft.com/office/drawing/2014/main" id="{225EA9B4-30B7-49A3-DDA3-20C36EA3D698}"/>
                </a:ext>
              </a:extLst>
            </p:cNvPr>
            <p:cNvSpPr txBox="1"/>
            <p:nvPr/>
          </p:nvSpPr>
          <p:spPr>
            <a:xfrm>
              <a:off x="9088269" y="6001061"/>
              <a:ext cx="2610354" cy="230832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16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BR" sz="10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 Pro App" panose="020B0503020204020204" pitchFamily="34" charset="0"/>
                  <a:ea typeface="+mn-ea"/>
                  <a:cs typeface="Itau Display Pro App" panose="020B0503020204020204" pitchFamily="34" charset="0"/>
                </a:rPr>
                <a:t>Outros assuntos</a:t>
              </a:r>
            </a:p>
          </p:txBody>
        </p:sp>
      </p:grpSp>
      <p:grpSp>
        <p:nvGrpSpPr>
          <p:cNvPr id="56" name="Agrupar 55">
            <a:extLst>
              <a:ext uri="{FF2B5EF4-FFF2-40B4-BE49-F238E27FC236}">
                <a16:creationId xmlns:a16="http://schemas.microsoft.com/office/drawing/2014/main" id="{4EDC6570-4D73-EB37-060F-0AC5FBE1AA76}"/>
              </a:ext>
            </a:extLst>
          </p:cNvPr>
          <p:cNvGrpSpPr/>
          <p:nvPr/>
        </p:nvGrpSpPr>
        <p:grpSpPr>
          <a:xfrm>
            <a:off x="613362" y="1198178"/>
            <a:ext cx="216000" cy="216000"/>
            <a:chOff x="15772437" y="6696510"/>
            <a:chExt cx="414632" cy="394335"/>
          </a:xfrm>
        </p:grpSpPr>
        <p:sp>
          <p:nvSpPr>
            <p:cNvPr id="57" name="Forma Livre: Forma 56">
              <a:extLst>
                <a:ext uri="{FF2B5EF4-FFF2-40B4-BE49-F238E27FC236}">
                  <a16:creationId xmlns:a16="http://schemas.microsoft.com/office/drawing/2014/main" id="{D039F4D6-66A7-1799-7BC9-4A69482A1BDB}"/>
                </a:ext>
              </a:extLst>
            </p:cNvPr>
            <p:cNvSpPr/>
            <p:nvPr/>
          </p:nvSpPr>
          <p:spPr>
            <a:xfrm>
              <a:off x="15914939" y="6967020"/>
              <a:ext cx="28575" cy="47625"/>
            </a:xfrm>
            <a:custGeom>
              <a:avLst/>
              <a:gdLst>
                <a:gd name="connsiteX0" fmla="*/ 0 w 28575"/>
                <a:gd name="connsiteY0" fmla="*/ 56769 h 47625"/>
                <a:gd name="connsiteX1" fmla="*/ 24765 w 28575"/>
                <a:gd name="connsiteY1" fmla="*/ 42481 h 47625"/>
                <a:gd name="connsiteX2" fmla="*/ 31718 w 28575"/>
                <a:gd name="connsiteY2" fmla="*/ 16478 h 47625"/>
                <a:gd name="connsiteX3" fmla="*/ 22193 w 28575"/>
                <a:gd name="connsiteY3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47625">
                  <a:moveTo>
                    <a:pt x="0" y="56769"/>
                  </a:moveTo>
                  <a:lnTo>
                    <a:pt x="24765" y="42481"/>
                  </a:lnTo>
                  <a:cubicBezTo>
                    <a:pt x="33909" y="37243"/>
                    <a:pt x="36957" y="25527"/>
                    <a:pt x="31718" y="16478"/>
                  </a:cubicBezTo>
                  <a:lnTo>
                    <a:pt x="22193" y="0"/>
                  </a:lnTo>
                </a:path>
              </a:pathLst>
            </a:custGeom>
            <a:noFill/>
            <a:ln w="19050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orma Livre: Forma 57">
              <a:extLst>
                <a:ext uri="{FF2B5EF4-FFF2-40B4-BE49-F238E27FC236}">
                  <a16:creationId xmlns:a16="http://schemas.microsoft.com/office/drawing/2014/main" id="{6BE1E72E-228F-1672-2A84-CF4128BD44E8}"/>
                </a:ext>
              </a:extLst>
            </p:cNvPr>
            <p:cNvSpPr/>
            <p:nvPr/>
          </p:nvSpPr>
          <p:spPr>
            <a:xfrm>
              <a:off x="15838168" y="6995595"/>
              <a:ext cx="123825" cy="95250"/>
            </a:xfrm>
            <a:custGeom>
              <a:avLst/>
              <a:gdLst>
                <a:gd name="connsiteX0" fmla="*/ 49530 w 123825"/>
                <a:gd name="connsiteY0" fmla="*/ 0 h 95250"/>
                <a:gd name="connsiteX1" fmla="*/ 53054 w 123825"/>
                <a:gd name="connsiteY1" fmla="*/ 6001 h 95250"/>
                <a:gd name="connsiteX2" fmla="*/ 68389 w 123825"/>
                <a:gd name="connsiteY2" fmla="*/ 24194 h 95250"/>
                <a:gd name="connsiteX3" fmla="*/ 117157 w 123825"/>
                <a:gd name="connsiteY3" fmla="*/ 60008 h 95250"/>
                <a:gd name="connsiteX4" fmla="*/ 114967 w 123825"/>
                <a:gd name="connsiteY4" fmla="*/ 94298 h 95250"/>
                <a:gd name="connsiteX5" fmla="*/ 106680 w 123825"/>
                <a:gd name="connsiteY5" fmla="*/ 99060 h 95250"/>
                <a:gd name="connsiteX6" fmla="*/ 67628 w 123825"/>
                <a:gd name="connsiteY6" fmla="*/ 88583 h 95250"/>
                <a:gd name="connsiteX7" fmla="*/ 18860 w 123825"/>
                <a:gd name="connsiteY7" fmla="*/ 52769 h 95250"/>
                <a:gd name="connsiteX8" fmla="*/ 3524 w 123825"/>
                <a:gd name="connsiteY8" fmla="*/ 34576 h 95250"/>
                <a:gd name="connsiteX9" fmla="*/ 0 w 123825"/>
                <a:gd name="connsiteY9" fmla="*/ 28575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3825" h="95250">
                  <a:moveTo>
                    <a:pt x="49530" y="0"/>
                  </a:moveTo>
                  <a:lnTo>
                    <a:pt x="53054" y="6001"/>
                  </a:lnTo>
                  <a:cubicBezTo>
                    <a:pt x="57055" y="12954"/>
                    <a:pt x="62294" y="19050"/>
                    <a:pt x="68389" y="24194"/>
                  </a:cubicBezTo>
                  <a:cubicBezTo>
                    <a:pt x="68389" y="24194"/>
                    <a:pt x="105346" y="50292"/>
                    <a:pt x="117157" y="60008"/>
                  </a:cubicBezTo>
                  <a:cubicBezTo>
                    <a:pt x="135827" y="75343"/>
                    <a:pt x="124015" y="89059"/>
                    <a:pt x="114967" y="94298"/>
                  </a:cubicBezTo>
                  <a:lnTo>
                    <a:pt x="106680" y="99060"/>
                  </a:lnTo>
                  <a:cubicBezTo>
                    <a:pt x="90202" y="108585"/>
                    <a:pt x="75438" y="94869"/>
                    <a:pt x="67628" y="88583"/>
                  </a:cubicBezTo>
                  <a:cubicBezTo>
                    <a:pt x="59817" y="82296"/>
                    <a:pt x="18860" y="52769"/>
                    <a:pt x="18860" y="52769"/>
                  </a:cubicBezTo>
                  <a:cubicBezTo>
                    <a:pt x="12668" y="47720"/>
                    <a:pt x="7429" y="41529"/>
                    <a:pt x="3524" y="34576"/>
                  </a:cubicBezTo>
                  <a:lnTo>
                    <a:pt x="0" y="28575"/>
                  </a:lnTo>
                </a:path>
              </a:pathLst>
            </a:custGeom>
            <a:noFill/>
            <a:ln w="19050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orma Livre: Forma 58">
              <a:extLst>
                <a:ext uri="{FF2B5EF4-FFF2-40B4-BE49-F238E27FC236}">
                  <a16:creationId xmlns:a16="http://schemas.microsoft.com/office/drawing/2014/main" id="{B966AD7B-FCC3-1CFD-7E6F-CC5BE87748AD}"/>
                </a:ext>
              </a:extLst>
            </p:cNvPr>
            <p:cNvSpPr/>
            <p:nvPr/>
          </p:nvSpPr>
          <p:spPr>
            <a:xfrm>
              <a:off x="16029715" y="6798557"/>
              <a:ext cx="47625" cy="66675"/>
            </a:xfrm>
            <a:custGeom>
              <a:avLst/>
              <a:gdLst>
                <a:gd name="connsiteX0" fmla="*/ 0 w 47625"/>
                <a:gd name="connsiteY0" fmla="*/ 5014 h 66675"/>
                <a:gd name="connsiteX1" fmla="*/ 52007 w 47625"/>
                <a:gd name="connsiteY1" fmla="*/ 18921 h 66675"/>
                <a:gd name="connsiteX2" fmla="*/ 38100 w 47625"/>
                <a:gd name="connsiteY2" fmla="*/ 70927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625" h="66675">
                  <a:moveTo>
                    <a:pt x="0" y="5014"/>
                  </a:moveTo>
                  <a:cubicBezTo>
                    <a:pt x="18193" y="-5559"/>
                    <a:pt x="41815" y="1299"/>
                    <a:pt x="52007" y="18921"/>
                  </a:cubicBezTo>
                  <a:cubicBezTo>
                    <a:pt x="62198" y="36637"/>
                    <a:pt x="56293" y="60450"/>
                    <a:pt x="38100" y="70927"/>
                  </a:cubicBezTo>
                </a:path>
              </a:pathLst>
            </a:custGeom>
            <a:noFill/>
            <a:ln w="19050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orma Livre: Forma 59">
              <a:extLst>
                <a:ext uri="{FF2B5EF4-FFF2-40B4-BE49-F238E27FC236}">
                  <a16:creationId xmlns:a16="http://schemas.microsoft.com/office/drawing/2014/main" id="{347B4093-46FB-5DFF-B57D-96FAACE1FC47}"/>
                </a:ext>
              </a:extLst>
            </p:cNvPr>
            <p:cNvSpPr/>
            <p:nvPr/>
          </p:nvSpPr>
          <p:spPr>
            <a:xfrm>
              <a:off x="15772437" y="6719193"/>
              <a:ext cx="333375" cy="295275"/>
            </a:xfrm>
            <a:custGeom>
              <a:avLst/>
              <a:gdLst>
                <a:gd name="connsiteX0" fmla="*/ 194033 w 333375"/>
                <a:gd name="connsiteY0" fmla="*/ 6654 h 295275"/>
                <a:gd name="connsiteX1" fmla="*/ 127548 w 333375"/>
                <a:gd name="connsiteY1" fmla="*/ 126288 h 295275"/>
                <a:gd name="connsiteX2" fmla="*/ 28583 w 333375"/>
                <a:gd name="connsiteY2" fmla="*/ 183438 h 295275"/>
                <a:gd name="connsiteX3" fmla="*/ 7628 w 333375"/>
                <a:gd name="connsiteY3" fmla="*/ 261543 h 295275"/>
                <a:gd name="connsiteX4" fmla="*/ 12391 w 333375"/>
                <a:gd name="connsiteY4" fmla="*/ 269830 h 295275"/>
                <a:gd name="connsiteX5" fmla="*/ 90496 w 333375"/>
                <a:gd name="connsiteY5" fmla="*/ 290785 h 295275"/>
                <a:gd name="connsiteX6" fmla="*/ 189461 w 333375"/>
                <a:gd name="connsiteY6" fmla="*/ 233635 h 295275"/>
                <a:gd name="connsiteX7" fmla="*/ 326335 w 333375"/>
                <a:gd name="connsiteY7" fmla="*/ 235825 h 295275"/>
                <a:gd name="connsiteX8" fmla="*/ 336622 w 333375"/>
                <a:gd name="connsiteY8" fmla="*/ 221728 h 295275"/>
                <a:gd name="connsiteX9" fmla="*/ 211368 w 333375"/>
                <a:gd name="connsiteY9" fmla="*/ 4749 h 295275"/>
                <a:gd name="connsiteX10" fmla="*/ 194033 w 333375"/>
                <a:gd name="connsiteY10" fmla="*/ 6654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3375" h="295275">
                  <a:moveTo>
                    <a:pt x="194033" y="6654"/>
                  </a:moveTo>
                  <a:cubicBezTo>
                    <a:pt x="179174" y="54945"/>
                    <a:pt x="155552" y="110095"/>
                    <a:pt x="127548" y="126288"/>
                  </a:cubicBezTo>
                  <a:lnTo>
                    <a:pt x="28583" y="183438"/>
                  </a:lnTo>
                  <a:cubicBezTo>
                    <a:pt x="1247" y="199249"/>
                    <a:pt x="-8088" y="234206"/>
                    <a:pt x="7628" y="261543"/>
                  </a:cubicBezTo>
                  <a:lnTo>
                    <a:pt x="12391" y="269830"/>
                  </a:lnTo>
                  <a:cubicBezTo>
                    <a:pt x="28202" y="297166"/>
                    <a:pt x="63159" y="306501"/>
                    <a:pt x="90496" y="290785"/>
                  </a:cubicBezTo>
                  <a:lnTo>
                    <a:pt x="189461" y="233635"/>
                  </a:lnTo>
                  <a:cubicBezTo>
                    <a:pt x="217559" y="217442"/>
                    <a:pt x="277091" y="224586"/>
                    <a:pt x="326335" y="235825"/>
                  </a:cubicBezTo>
                  <a:cubicBezTo>
                    <a:pt x="334431" y="237635"/>
                    <a:pt x="340813" y="228967"/>
                    <a:pt x="336622" y="221728"/>
                  </a:cubicBezTo>
                  <a:lnTo>
                    <a:pt x="211368" y="4749"/>
                  </a:lnTo>
                  <a:cubicBezTo>
                    <a:pt x="207272" y="-2395"/>
                    <a:pt x="196509" y="-1252"/>
                    <a:pt x="194033" y="6654"/>
                  </a:cubicBezTo>
                  <a:close/>
                </a:path>
              </a:pathLst>
            </a:custGeom>
            <a:noFill/>
            <a:ln w="19050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orma Livre: Forma 60">
              <a:extLst>
                <a:ext uri="{FF2B5EF4-FFF2-40B4-BE49-F238E27FC236}">
                  <a16:creationId xmlns:a16="http://schemas.microsoft.com/office/drawing/2014/main" id="{0E2E3D85-97B1-9B70-305B-DE2C899CB5C6}"/>
                </a:ext>
              </a:extLst>
            </p:cNvPr>
            <p:cNvSpPr/>
            <p:nvPr/>
          </p:nvSpPr>
          <p:spPr>
            <a:xfrm>
              <a:off x="15899985" y="6845481"/>
              <a:ext cx="57150" cy="104775"/>
            </a:xfrm>
            <a:custGeom>
              <a:avLst/>
              <a:gdLst>
                <a:gd name="connsiteX0" fmla="*/ 0 w 57150"/>
                <a:gd name="connsiteY0" fmla="*/ 0 h 104775"/>
                <a:gd name="connsiteX1" fmla="*/ 61912 w 57150"/>
                <a:gd name="connsiteY1" fmla="*/ 107251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150" h="104775">
                  <a:moveTo>
                    <a:pt x="0" y="0"/>
                  </a:moveTo>
                  <a:lnTo>
                    <a:pt x="61912" y="107251"/>
                  </a:lnTo>
                </a:path>
              </a:pathLst>
            </a:custGeom>
            <a:ln w="19050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orma Livre: Forma 61">
              <a:extLst>
                <a:ext uri="{FF2B5EF4-FFF2-40B4-BE49-F238E27FC236}">
                  <a16:creationId xmlns:a16="http://schemas.microsoft.com/office/drawing/2014/main" id="{1604FECC-3DA1-B3B7-16A7-140ED5A0DF9E}"/>
                </a:ext>
              </a:extLst>
            </p:cNvPr>
            <p:cNvSpPr/>
            <p:nvPr/>
          </p:nvSpPr>
          <p:spPr>
            <a:xfrm>
              <a:off x="16076579" y="6696510"/>
              <a:ext cx="9525" cy="57150"/>
            </a:xfrm>
            <a:custGeom>
              <a:avLst/>
              <a:gdLst>
                <a:gd name="connsiteX0" fmla="*/ 0 w 9525"/>
                <a:gd name="connsiteY0" fmla="*/ 62389 h 57150"/>
                <a:gd name="connsiteX1" fmla="*/ 16764 w 9525"/>
                <a:gd name="connsiteY1" fmla="*/ 0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57150">
                  <a:moveTo>
                    <a:pt x="0" y="62389"/>
                  </a:moveTo>
                  <a:lnTo>
                    <a:pt x="16764" y="0"/>
                  </a:lnTo>
                </a:path>
              </a:pathLst>
            </a:custGeom>
            <a:ln w="19050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orma Livre: Forma 62">
              <a:extLst>
                <a:ext uri="{FF2B5EF4-FFF2-40B4-BE49-F238E27FC236}">
                  <a16:creationId xmlns:a16="http://schemas.microsoft.com/office/drawing/2014/main" id="{80C2B78A-CC3B-1299-75C2-56919B9E64F0}"/>
                </a:ext>
              </a:extLst>
            </p:cNvPr>
            <p:cNvSpPr/>
            <p:nvPr/>
          </p:nvSpPr>
          <p:spPr>
            <a:xfrm>
              <a:off x="16129919" y="6851291"/>
              <a:ext cx="57150" cy="9525"/>
            </a:xfrm>
            <a:custGeom>
              <a:avLst/>
              <a:gdLst>
                <a:gd name="connsiteX0" fmla="*/ 0 w 57150"/>
                <a:gd name="connsiteY0" fmla="*/ 0 h 9525"/>
                <a:gd name="connsiteX1" fmla="*/ 62484 w 57150"/>
                <a:gd name="connsiteY1" fmla="*/ 16764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150" h="9525">
                  <a:moveTo>
                    <a:pt x="0" y="0"/>
                  </a:moveTo>
                  <a:lnTo>
                    <a:pt x="62484" y="16764"/>
                  </a:lnTo>
                </a:path>
              </a:pathLst>
            </a:custGeom>
            <a:ln w="19050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orma Livre: Forma 63">
              <a:extLst>
                <a:ext uri="{FF2B5EF4-FFF2-40B4-BE49-F238E27FC236}">
                  <a16:creationId xmlns:a16="http://schemas.microsoft.com/office/drawing/2014/main" id="{1AF83073-C74E-48BC-90FC-000434DF516B}"/>
                </a:ext>
              </a:extLst>
            </p:cNvPr>
            <p:cNvSpPr/>
            <p:nvPr/>
          </p:nvSpPr>
          <p:spPr>
            <a:xfrm>
              <a:off x="16113155" y="6768900"/>
              <a:ext cx="47625" cy="28575"/>
            </a:xfrm>
            <a:custGeom>
              <a:avLst/>
              <a:gdLst>
                <a:gd name="connsiteX0" fmla="*/ 0 w 47625"/>
                <a:gd name="connsiteY0" fmla="*/ 30480 h 28575"/>
                <a:gd name="connsiteX1" fmla="*/ 52769 w 47625"/>
                <a:gd name="connsiteY1" fmla="*/ 0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5" h="28575">
                  <a:moveTo>
                    <a:pt x="0" y="30480"/>
                  </a:moveTo>
                  <a:lnTo>
                    <a:pt x="52769" y="0"/>
                  </a:lnTo>
                </a:path>
              </a:pathLst>
            </a:custGeom>
            <a:ln w="19050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6" name="Agrupar 75">
            <a:extLst>
              <a:ext uri="{FF2B5EF4-FFF2-40B4-BE49-F238E27FC236}">
                <a16:creationId xmlns:a16="http://schemas.microsoft.com/office/drawing/2014/main" id="{2D05D13E-FC4F-D458-21B4-20C2139EE2D2}"/>
              </a:ext>
            </a:extLst>
          </p:cNvPr>
          <p:cNvGrpSpPr/>
          <p:nvPr/>
        </p:nvGrpSpPr>
        <p:grpSpPr>
          <a:xfrm>
            <a:off x="5567101" y="1198178"/>
            <a:ext cx="215996" cy="216000"/>
            <a:chOff x="12705300" y="8256038"/>
            <a:chExt cx="441389" cy="342900"/>
          </a:xfrm>
        </p:grpSpPr>
        <p:sp>
          <p:nvSpPr>
            <p:cNvPr id="77" name="Forma Livre: Forma 76">
              <a:extLst>
                <a:ext uri="{FF2B5EF4-FFF2-40B4-BE49-F238E27FC236}">
                  <a16:creationId xmlns:a16="http://schemas.microsoft.com/office/drawing/2014/main" id="{66E8939A-D4D3-D638-6E29-ED22C8B973FD}"/>
                </a:ext>
              </a:extLst>
            </p:cNvPr>
            <p:cNvSpPr/>
            <p:nvPr/>
          </p:nvSpPr>
          <p:spPr>
            <a:xfrm>
              <a:off x="12962475" y="8322713"/>
              <a:ext cx="66675" cy="76200"/>
            </a:xfrm>
            <a:custGeom>
              <a:avLst/>
              <a:gdLst>
                <a:gd name="connsiteX0" fmla="*/ 66675 w 66675"/>
                <a:gd name="connsiteY0" fmla="*/ 76200 h 76200"/>
                <a:gd name="connsiteX1" fmla="*/ 66675 w 66675"/>
                <a:gd name="connsiteY1" fmla="*/ 0 h 76200"/>
                <a:gd name="connsiteX2" fmla="*/ 0 w 66675"/>
                <a:gd name="connsiteY2" fmla="*/ 0 h 76200"/>
                <a:gd name="connsiteX3" fmla="*/ 0 w 66675"/>
                <a:gd name="connsiteY3" fmla="*/ 7620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5" h="76200">
                  <a:moveTo>
                    <a:pt x="66675" y="76200"/>
                  </a:moveTo>
                  <a:lnTo>
                    <a:pt x="66675" y="0"/>
                  </a:lnTo>
                  <a:lnTo>
                    <a:pt x="0" y="0"/>
                  </a:lnTo>
                  <a:lnTo>
                    <a:pt x="0" y="76200"/>
                  </a:lnTo>
                </a:path>
              </a:pathLst>
            </a:custGeom>
            <a:noFill/>
            <a:ln w="19050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orma Livre: Forma 77">
              <a:extLst>
                <a:ext uri="{FF2B5EF4-FFF2-40B4-BE49-F238E27FC236}">
                  <a16:creationId xmlns:a16="http://schemas.microsoft.com/office/drawing/2014/main" id="{AC66A479-7DB1-C8C0-8E29-B14104449CD1}"/>
                </a:ext>
              </a:extLst>
            </p:cNvPr>
            <p:cNvSpPr/>
            <p:nvPr/>
          </p:nvSpPr>
          <p:spPr>
            <a:xfrm>
              <a:off x="12962475" y="8456063"/>
              <a:ext cx="9525" cy="114300"/>
            </a:xfrm>
            <a:custGeom>
              <a:avLst/>
              <a:gdLst>
                <a:gd name="connsiteX0" fmla="*/ 0 w 0"/>
                <a:gd name="connsiteY0" fmla="*/ 0 h 114300"/>
                <a:gd name="connsiteX1" fmla="*/ 0 w 0"/>
                <a:gd name="connsiteY1" fmla="*/ 11430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14300">
                  <a:moveTo>
                    <a:pt x="0" y="0"/>
                  </a:moveTo>
                  <a:lnTo>
                    <a:pt x="0" y="114300"/>
                  </a:lnTo>
                </a:path>
              </a:pathLst>
            </a:custGeom>
            <a:ln w="19050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Forma Livre: Forma 82">
              <a:extLst>
                <a:ext uri="{FF2B5EF4-FFF2-40B4-BE49-F238E27FC236}">
                  <a16:creationId xmlns:a16="http://schemas.microsoft.com/office/drawing/2014/main" id="{9D3A3BB8-0977-DE38-7FE5-48A945B7D9DE}"/>
                </a:ext>
              </a:extLst>
            </p:cNvPr>
            <p:cNvSpPr/>
            <p:nvPr/>
          </p:nvSpPr>
          <p:spPr>
            <a:xfrm>
              <a:off x="13029150" y="8456063"/>
              <a:ext cx="9525" cy="114300"/>
            </a:xfrm>
            <a:custGeom>
              <a:avLst/>
              <a:gdLst>
                <a:gd name="connsiteX0" fmla="*/ 0 w 0"/>
                <a:gd name="connsiteY0" fmla="*/ 114300 h 114300"/>
                <a:gd name="connsiteX1" fmla="*/ 0 w 0"/>
                <a:gd name="connsiteY1" fmla="*/ 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14300">
                  <a:moveTo>
                    <a:pt x="0" y="114300"/>
                  </a:moveTo>
                  <a:lnTo>
                    <a:pt x="0" y="0"/>
                  </a:lnTo>
                </a:path>
              </a:pathLst>
            </a:custGeom>
            <a:ln w="19050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orma Livre: Forma 83">
              <a:extLst>
                <a:ext uri="{FF2B5EF4-FFF2-40B4-BE49-F238E27FC236}">
                  <a16:creationId xmlns:a16="http://schemas.microsoft.com/office/drawing/2014/main" id="{8E260B7A-2D41-1793-53CF-04ABCE62E901}"/>
                </a:ext>
              </a:extLst>
            </p:cNvPr>
            <p:cNvSpPr/>
            <p:nvPr/>
          </p:nvSpPr>
          <p:spPr>
            <a:xfrm>
              <a:off x="12857700" y="8360813"/>
              <a:ext cx="28575" cy="209550"/>
            </a:xfrm>
            <a:custGeom>
              <a:avLst/>
              <a:gdLst>
                <a:gd name="connsiteX0" fmla="*/ 28575 w 28575"/>
                <a:gd name="connsiteY0" fmla="*/ 0 h 209550"/>
                <a:gd name="connsiteX1" fmla="*/ 0 w 28575"/>
                <a:gd name="connsiteY1" fmla="*/ 0 h 209550"/>
                <a:gd name="connsiteX2" fmla="*/ 0 w 28575"/>
                <a:gd name="connsiteY2" fmla="*/ 209550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575" h="209550">
                  <a:moveTo>
                    <a:pt x="28575" y="0"/>
                  </a:moveTo>
                  <a:lnTo>
                    <a:pt x="0" y="0"/>
                  </a:lnTo>
                  <a:lnTo>
                    <a:pt x="0" y="209550"/>
                  </a:lnTo>
                </a:path>
              </a:pathLst>
            </a:custGeom>
            <a:noFill/>
            <a:ln w="19050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Forma Livre: Forma 84">
              <a:extLst>
                <a:ext uri="{FF2B5EF4-FFF2-40B4-BE49-F238E27FC236}">
                  <a16:creationId xmlns:a16="http://schemas.microsoft.com/office/drawing/2014/main" id="{C27CB980-2839-0902-5B78-2AADF8508E8C}"/>
                </a:ext>
              </a:extLst>
            </p:cNvPr>
            <p:cNvSpPr/>
            <p:nvPr/>
          </p:nvSpPr>
          <p:spPr>
            <a:xfrm>
              <a:off x="12752925" y="8427488"/>
              <a:ext cx="66675" cy="142875"/>
            </a:xfrm>
            <a:custGeom>
              <a:avLst/>
              <a:gdLst>
                <a:gd name="connsiteX0" fmla="*/ 66675 w 66675"/>
                <a:gd name="connsiteY0" fmla="*/ 142875 h 142875"/>
                <a:gd name="connsiteX1" fmla="*/ 66675 w 66675"/>
                <a:gd name="connsiteY1" fmla="*/ 0 h 142875"/>
                <a:gd name="connsiteX2" fmla="*/ 0 w 66675"/>
                <a:gd name="connsiteY2" fmla="*/ 0 h 142875"/>
                <a:gd name="connsiteX3" fmla="*/ 0 w 66675"/>
                <a:gd name="connsiteY3" fmla="*/ 142875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5" h="142875">
                  <a:moveTo>
                    <a:pt x="66675" y="142875"/>
                  </a:moveTo>
                  <a:lnTo>
                    <a:pt x="66675" y="0"/>
                  </a:lnTo>
                  <a:lnTo>
                    <a:pt x="0" y="0"/>
                  </a:lnTo>
                  <a:lnTo>
                    <a:pt x="0" y="142875"/>
                  </a:lnTo>
                </a:path>
              </a:pathLst>
            </a:custGeom>
            <a:noFill/>
            <a:ln w="19050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Forma Livre: Forma 85">
              <a:extLst>
                <a:ext uri="{FF2B5EF4-FFF2-40B4-BE49-F238E27FC236}">
                  <a16:creationId xmlns:a16="http://schemas.microsoft.com/office/drawing/2014/main" id="{84468542-9604-8650-3611-A29802DA29D5}"/>
                </a:ext>
              </a:extLst>
            </p:cNvPr>
            <p:cNvSpPr/>
            <p:nvPr/>
          </p:nvSpPr>
          <p:spPr>
            <a:xfrm>
              <a:off x="12705300" y="8589413"/>
              <a:ext cx="428625" cy="9525"/>
            </a:xfrm>
            <a:custGeom>
              <a:avLst/>
              <a:gdLst>
                <a:gd name="connsiteX0" fmla="*/ 428625 w 428625"/>
                <a:gd name="connsiteY0" fmla="*/ 0 h 0"/>
                <a:gd name="connsiteX1" fmla="*/ 0 w 42862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625">
                  <a:moveTo>
                    <a:pt x="428625" y="0"/>
                  </a:moveTo>
                  <a:lnTo>
                    <a:pt x="0" y="0"/>
                  </a:lnTo>
                </a:path>
              </a:pathLst>
            </a:custGeom>
            <a:ln w="19050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Forma Livre: Forma 86">
              <a:extLst>
                <a:ext uri="{FF2B5EF4-FFF2-40B4-BE49-F238E27FC236}">
                  <a16:creationId xmlns:a16="http://schemas.microsoft.com/office/drawing/2014/main" id="{FE15E023-8980-CB12-B91E-6EB53BB8A473}"/>
                </a:ext>
              </a:extLst>
            </p:cNvPr>
            <p:cNvSpPr/>
            <p:nvPr/>
          </p:nvSpPr>
          <p:spPr>
            <a:xfrm>
              <a:off x="12905325" y="8256038"/>
              <a:ext cx="180975" cy="180975"/>
            </a:xfrm>
            <a:custGeom>
              <a:avLst/>
              <a:gdLst>
                <a:gd name="connsiteX0" fmla="*/ 180975 w 180975"/>
                <a:gd name="connsiteY0" fmla="*/ 90488 h 180975"/>
                <a:gd name="connsiteX1" fmla="*/ 90488 w 180975"/>
                <a:gd name="connsiteY1" fmla="*/ 180975 h 180975"/>
                <a:gd name="connsiteX2" fmla="*/ 0 w 180975"/>
                <a:gd name="connsiteY2" fmla="*/ 90488 h 180975"/>
                <a:gd name="connsiteX3" fmla="*/ 90488 w 180975"/>
                <a:gd name="connsiteY3" fmla="*/ 0 h 180975"/>
                <a:gd name="connsiteX4" fmla="*/ 180975 w 180975"/>
                <a:gd name="connsiteY4" fmla="*/ 90488 h 18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975" h="180975">
                  <a:moveTo>
                    <a:pt x="180975" y="90488"/>
                  </a:moveTo>
                  <a:cubicBezTo>
                    <a:pt x="180975" y="140462"/>
                    <a:pt x="140462" y="180975"/>
                    <a:pt x="90488" y="180975"/>
                  </a:cubicBezTo>
                  <a:cubicBezTo>
                    <a:pt x="40513" y="180975"/>
                    <a:pt x="0" y="140462"/>
                    <a:pt x="0" y="90488"/>
                  </a:cubicBezTo>
                  <a:cubicBezTo>
                    <a:pt x="0" y="40513"/>
                    <a:pt x="40513" y="0"/>
                    <a:pt x="90488" y="0"/>
                  </a:cubicBezTo>
                  <a:cubicBezTo>
                    <a:pt x="140462" y="0"/>
                    <a:pt x="180975" y="40513"/>
                    <a:pt x="180975" y="90488"/>
                  </a:cubicBezTo>
                  <a:close/>
                </a:path>
              </a:pathLst>
            </a:custGeom>
            <a:noFill/>
            <a:ln w="19050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Forma Livre: Forma 87">
              <a:extLst>
                <a:ext uri="{FF2B5EF4-FFF2-40B4-BE49-F238E27FC236}">
                  <a16:creationId xmlns:a16="http://schemas.microsoft.com/office/drawing/2014/main" id="{F493ABD1-AAEC-641A-C1D1-5C18B330A857}"/>
                </a:ext>
              </a:extLst>
            </p:cNvPr>
            <p:cNvSpPr/>
            <p:nvPr/>
          </p:nvSpPr>
          <p:spPr>
            <a:xfrm>
              <a:off x="12924375" y="8437013"/>
              <a:ext cx="9525" cy="133350"/>
            </a:xfrm>
            <a:custGeom>
              <a:avLst/>
              <a:gdLst>
                <a:gd name="connsiteX0" fmla="*/ 0 w 0"/>
                <a:gd name="connsiteY0" fmla="*/ 0 h 133350"/>
                <a:gd name="connsiteX1" fmla="*/ 0 w 0"/>
                <a:gd name="connsiteY1" fmla="*/ 13335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3350">
                  <a:moveTo>
                    <a:pt x="0" y="0"/>
                  </a:moveTo>
                  <a:lnTo>
                    <a:pt x="0" y="133350"/>
                  </a:lnTo>
                </a:path>
              </a:pathLst>
            </a:custGeom>
            <a:ln w="19050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Forma Livre: Forma 88">
              <a:extLst>
                <a:ext uri="{FF2B5EF4-FFF2-40B4-BE49-F238E27FC236}">
                  <a16:creationId xmlns:a16="http://schemas.microsoft.com/office/drawing/2014/main" id="{E1297073-DF75-98B0-544A-D639921E9139}"/>
                </a:ext>
              </a:extLst>
            </p:cNvPr>
            <p:cNvSpPr/>
            <p:nvPr/>
          </p:nvSpPr>
          <p:spPr>
            <a:xfrm>
              <a:off x="13041914" y="8398437"/>
              <a:ext cx="104775" cy="104775"/>
            </a:xfrm>
            <a:custGeom>
              <a:avLst/>
              <a:gdLst>
                <a:gd name="connsiteX0" fmla="*/ 28003 w 104775"/>
                <a:gd name="connsiteY0" fmla="*/ 0 h 104775"/>
                <a:gd name="connsiteX1" fmla="*/ 100489 w 104775"/>
                <a:gd name="connsiteY1" fmla="*/ 72485 h 104775"/>
                <a:gd name="connsiteX2" fmla="*/ 100489 w 104775"/>
                <a:gd name="connsiteY2" fmla="*/ 99441 h 104775"/>
                <a:gd name="connsiteX3" fmla="*/ 100489 w 104775"/>
                <a:gd name="connsiteY3" fmla="*/ 99441 h 104775"/>
                <a:gd name="connsiteX4" fmla="*/ 73533 w 104775"/>
                <a:gd name="connsiteY4" fmla="*/ 99441 h 104775"/>
                <a:gd name="connsiteX5" fmla="*/ 0 w 104775"/>
                <a:gd name="connsiteY5" fmla="*/ 25908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4775" h="104775">
                  <a:moveTo>
                    <a:pt x="28003" y="0"/>
                  </a:moveTo>
                  <a:lnTo>
                    <a:pt x="100489" y="72485"/>
                  </a:lnTo>
                  <a:cubicBezTo>
                    <a:pt x="107918" y="79915"/>
                    <a:pt x="107918" y="92011"/>
                    <a:pt x="100489" y="99441"/>
                  </a:cubicBezTo>
                  <a:lnTo>
                    <a:pt x="100489" y="99441"/>
                  </a:lnTo>
                  <a:cubicBezTo>
                    <a:pt x="93059" y="106871"/>
                    <a:pt x="80963" y="106871"/>
                    <a:pt x="73533" y="99441"/>
                  </a:cubicBezTo>
                  <a:lnTo>
                    <a:pt x="0" y="25908"/>
                  </a:lnTo>
                </a:path>
              </a:pathLst>
            </a:custGeom>
            <a:noFill/>
            <a:ln w="19050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90" name="CaixaDeTexto 89">
            <a:extLst>
              <a:ext uri="{FF2B5EF4-FFF2-40B4-BE49-F238E27FC236}">
                <a16:creationId xmlns:a16="http://schemas.microsoft.com/office/drawing/2014/main" id="{23F03AEE-5795-BF0D-EDA1-3FB65D5C7613}"/>
              </a:ext>
            </a:extLst>
          </p:cNvPr>
          <p:cNvSpPr txBox="1"/>
          <p:nvPr/>
        </p:nvSpPr>
        <p:spPr>
          <a:xfrm>
            <a:off x="11016598" y="6499977"/>
            <a:ext cx="1059645" cy="2178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Fonte: FQ / HQ / BP4</a:t>
            </a:r>
          </a:p>
        </p:txBody>
      </p:sp>
      <p:graphicFrame>
        <p:nvGraphicFramePr>
          <p:cNvPr id="15" name="Gráfico 14">
            <a:extLst>
              <a:ext uri="{FF2B5EF4-FFF2-40B4-BE49-F238E27FC236}">
                <a16:creationId xmlns:a16="http://schemas.microsoft.com/office/drawing/2014/main" id="{2B78C55F-6693-5C54-2BEB-8F1580EB8793}"/>
              </a:ext>
            </a:extLst>
          </p:cNvPr>
          <p:cNvGraphicFramePr/>
          <p:nvPr/>
        </p:nvGraphicFramePr>
        <p:xfrm>
          <a:off x="314544" y="1457627"/>
          <a:ext cx="4915939" cy="25117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CaixaDeTexto 6">
            <a:extLst>
              <a:ext uri="{FF2B5EF4-FFF2-40B4-BE49-F238E27FC236}">
                <a16:creationId xmlns:a16="http://schemas.microsoft.com/office/drawing/2014/main" id="{04F5A716-6FDF-5F11-D291-69CEB6F1E02B}"/>
              </a:ext>
            </a:extLst>
          </p:cNvPr>
          <p:cNvSpPr txBox="1"/>
          <p:nvPr/>
        </p:nvSpPr>
        <p:spPr>
          <a:xfrm rot="16200000">
            <a:off x="5081430" y="3803726"/>
            <a:ext cx="10078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err="1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  <a:cs typeface="Itau Display Heavy" panose="020B0803020204020204" pitchFamily="34" charset="0"/>
              </a:rPr>
              <a:t>Consig</a:t>
            </a: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  <a:cs typeface="Itau Display Heavy" panose="020B0803020204020204" pitchFamily="34" charset="0"/>
              </a:rPr>
              <a:t> Externo</a:t>
            </a:r>
            <a:endParaRPr kumimoji="0" lang="pt-BR" sz="1100" b="0" i="0" u="none" strike="noStrike" kern="1200" cap="none" spc="0" normalizeH="0" baseline="0" noProof="0">
              <a:ln>
                <a:noFill/>
              </a:ln>
              <a:solidFill>
                <a:srgbClr val="5F6062"/>
              </a:solidFill>
              <a:effectLst/>
              <a:uLnTx/>
              <a:uFillTx/>
              <a:latin typeface="Itau Display Heavy" panose="020B0803020204020204" pitchFamily="34" charset="0"/>
              <a:ea typeface="+mn-ea"/>
              <a:cs typeface="Itau Display Heavy" panose="020B0803020204020204" pitchFamily="34" charset="0"/>
            </a:endParaRPr>
          </a:p>
        </p:txBody>
      </p:sp>
      <p:sp>
        <p:nvSpPr>
          <p:cNvPr id="8" name="TextBox 67">
            <a:extLst>
              <a:ext uri="{FF2B5EF4-FFF2-40B4-BE49-F238E27FC236}">
                <a16:creationId xmlns:a16="http://schemas.microsoft.com/office/drawing/2014/main" id="{4902F7F4-E6BA-D89A-22F4-05D2716F56B3}"/>
              </a:ext>
            </a:extLst>
          </p:cNvPr>
          <p:cNvSpPr txBox="1"/>
          <p:nvPr/>
        </p:nvSpPr>
        <p:spPr>
          <a:xfrm>
            <a:off x="5860802" y="3693614"/>
            <a:ext cx="2610354" cy="2308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" panose="020B0503020204020204" pitchFamily="34" charset="0"/>
                <a:ea typeface="+mn-ea"/>
                <a:cs typeface="Itau Display Pro App" panose="020B0503020204020204" pitchFamily="34" charset="0"/>
              </a:rPr>
              <a:t>Não recebimento do boleto</a:t>
            </a:r>
          </a:p>
        </p:txBody>
      </p:sp>
      <p:sp>
        <p:nvSpPr>
          <p:cNvPr id="9" name="TextBox 67">
            <a:extLst>
              <a:ext uri="{FF2B5EF4-FFF2-40B4-BE49-F238E27FC236}">
                <a16:creationId xmlns:a16="http://schemas.microsoft.com/office/drawing/2014/main" id="{F316436D-762F-A5AC-C21C-56D47E99F5DE}"/>
              </a:ext>
            </a:extLst>
          </p:cNvPr>
          <p:cNvSpPr txBox="1"/>
          <p:nvPr/>
        </p:nvSpPr>
        <p:spPr>
          <a:xfrm>
            <a:off x="5860802" y="3873668"/>
            <a:ext cx="2610354" cy="2308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" panose="020B0503020204020204" pitchFamily="34" charset="0"/>
                <a:ea typeface="+mn-ea"/>
                <a:cs typeface="Itau Display Pro App" panose="020B0503020204020204" pitchFamily="34" charset="0"/>
              </a:rPr>
              <a:t>Não recebeu o contrato</a:t>
            </a:r>
          </a:p>
        </p:txBody>
      </p:sp>
      <p:sp>
        <p:nvSpPr>
          <p:cNvPr id="10" name="TextBox 67">
            <a:extLst>
              <a:ext uri="{FF2B5EF4-FFF2-40B4-BE49-F238E27FC236}">
                <a16:creationId xmlns:a16="http://schemas.microsoft.com/office/drawing/2014/main" id="{BE751E62-F007-1B28-8F19-D414D620FFA5}"/>
              </a:ext>
            </a:extLst>
          </p:cNvPr>
          <p:cNvSpPr txBox="1"/>
          <p:nvPr/>
        </p:nvSpPr>
        <p:spPr>
          <a:xfrm>
            <a:off x="5860802" y="4077204"/>
            <a:ext cx="2836580" cy="2308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" panose="020B0503020204020204" pitchFamily="34" charset="0"/>
                <a:ea typeface="+mn-ea"/>
                <a:cs typeface="Itau Display Pro App" panose="020B0503020204020204" pitchFamily="34" charset="0"/>
              </a:rPr>
              <a:t>Discorda do recebimento da carta de cobrança</a:t>
            </a:r>
          </a:p>
        </p:txBody>
      </p:sp>
      <p:sp>
        <p:nvSpPr>
          <p:cNvPr id="12" name="TextBox 67">
            <a:extLst>
              <a:ext uri="{FF2B5EF4-FFF2-40B4-BE49-F238E27FC236}">
                <a16:creationId xmlns:a16="http://schemas.microsoft.com/office/drawing/2014/main" id="{7F7BD8BE-535F-483E-2C4E-99C8A1252541}"/>
              </a:ext>
            </a:extLst>
          </p:cNvPr>
          <p:cNvSpPr txBox="1"/>
          <p:nvPr/>
        </p:nvSpPr>
        <p:spPr>
          <a:xfrm>
            <a:off x="5860801" y="4257258"/>
            <a:ext cx="2976575" cy="2308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" panose="020B0503020204020204" pitchFamily="34" charset="0"/>
                <a:ea typeface="+mn-ea"/>
                <a:cs typeface="Itau Display Pro App" panose="020B0503020204020204" pitchFamily="34" charset="0"/>
              </a:rPr>
              <a:t>Solicita acordo do contrato em atraso</a:t>
            </a:r>
          </a:p>
        </p:txBody>
      </p:sp>
    </p:spTree>
    <p:extLst>
      <p:ext uri="{BB962C8B-B14F-4D97-AF65-F5344CB8AC3E}">
        <p14:creationId xmlns:p14="http://schemas.microsoft.com/office/powerpoint/2010/main" val="18659011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tfpLayoutConfig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overall_0_131946389286620444 columns_2_131958315496844581 5_1_131946392477160517 6_1_131948933837806367 7_1_131946392840171368 4_1_131947350769463712 </a:t>
            </a:r>
          </a:p>
        </p:txBody>
      </p:sp>
      <p:grpSp>
        <p:nvGrpSpPr>
          <p:cNvPr id="4" name="Agrupar 3">
            <a:extLst>
              <a:ext uri="{FF2B5EF4-FFF2-40B4-BE49-F238E27FC236}">
                <a16:creationId xmlns:a16="http://schemas.microsoft.com/office/drawing/2014/main" id="{CD254644-B504-42B0-9A72-56542D7B2049}"/>
              </a:ext>
            </a:extLst>
          </p:cNvPr>
          <p:cNvGrpSpPr/>
          <p:nvPr/>
        </p:nvGrpSpPr>
        <p:grpSpPr>
          <a:xfrm>
            <a:off x="0" y="6370320"/>
            <a:ext cx="11993879" cy="311122"/>
            <a:chOff x="0" y="6370320"/>
            <a:chExt cx="11993879" cy="311122"/>
          </a:xfrm>
        </p:grpSpPr>
        <p:sp>
          <p:nvSpPr>
            <p:cNvPr id="5" name="Retângulo 4">
              <a:extLst>
                <a:ext uri="{FF2B5EF4-FFF2-40B4-BE49-F238E27FC236}">
                  <a16:creationId xmlns:a16="http://schemas.microsoft.com/office/drawing/2014/main" id="{319EE6BE-D327-484F-A58B-53E8EAF191D4}"/>
                </a:ext>
              </a:extLst>
            </p:cNvPr>
            <p:cNvSpPr/>
            <p:nvPr/>
          </p:nvSpPr>
          <p:spPr>
            <a:xfrm>
              <a:off x="0" y="6388768"/>
              <a:ext cx="368710" cy="19250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grpSp>
          <p:nvGrpSpPr>
            <p:cNvPr id="97" name="Agrupar 96">
              <a:extLst>
                <a:ext uri="{FF2B5EF4-FFF2-40B4-BE49-F238E27FC236}">
                  <a16:creationId xmlns:a16="http://schemas.microsoft.com/office/drawing/2014/main" id="{93C23FDD-1C8A-4BEF-B3CB-A91C38AD3291}"/>
                </a:ext>
              </a:extLst>
            </p:cNvPr>
            <p:cNvGrpSpPr/>
            <p:nvPr/>
          </p:nvGrpSpPr>
          <p:grpSpPr>
            <a:xfrm>
              <a:off x="11062491" y="6370320"/>
              <a:ext cx="931388" cy="311122"/>
              <a:chOff x="11062491" y="6370320"/>
              <a:chExt cx="931388" cy="311122"/>
            </a:xfrm>
          </p:grpSpPr>
          <p:pic>
            <p:nvPicPr>
              <p:cNvPr id="98" name="Imagem 97">
                <a:extLst>
                  <a:ext uri="{FF2B5EF4-FFF2-40B4-BE49-F238E27FC236}">
                    <a16:creationId xmlns:a16="http://schemas.microsoft.com/office/drawing/2014/main" id="{8F0BFDAD-584A-493D-BFE0-F2A2240054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1682757" y="6370320"/>
                <a:ext cx="311122" cy="311122"/>
              </a:xfrm>
              <a:prstGeom prst="rect">
                <a:avLst/>
              </a:prstGeom>
            </p:spPr>
          </p:pic>
          <p:sp>
            <p:nvSpPr>
              <p:cNvPr id="100" name="CaixaDeTexto 99">
                <a:extLst>
                  <a:ext uri="{FF2B5EF4-FFF2-40B4-BE49-F238E27FC236}">
                    <a16:creationId xmlns:a16="http://schemas.microsoft.com/office/drawing/2014/main" id="{58AF7888-6BAA-4EC6-8F9D-2532663F40CC}"/>
                  </a:ext>
                </a:extLst>
              </p:cNvPr>
              <p:cNvSpPr txBox="1"/>
              <p:nvPr/>
            </p:nvSpPr>
            <p:spPr>
              <a:xfrm>
                <a:off x="11062491" y="6438616"/>
                <a:ext cx="502626" cy="230832"/>
              </a:xfrm>
              <a:prstGeom prst="rect">
                <a:avLst/>
              </a:prstGeom>
            </p:spPr>
            <p:txBody>
              <a:bodyPr vert="horz" wrap="square" lIns="68580" tIns="34290" rIns="68580" bIns="3429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pt-BR"/>
                </a:defPPr>
                <a:lvl1pPr algn="r">
                  <a:defRPr sz="900" b="1">
                    <a:solidFill>
                      <a:srgbClr val="606163"/>
                    </a:solidFill>
                  </a:defRPr>
                </a:lvl1pPr>
              </a:lstStyle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fld id="{9B9BAEC2-C893-4510-BAEC-A634F6DBFF95}" type="slidenum">
                  <a:rPr kumimoji="0" lang="en-US" altLang="pt-BR" sz="1000" b="0" i="0" u="none" strike="noStrike" kern="1200" cap="none" spc="0" normalizeH="0" baseline="0" noProof="0" smtClean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Itau Text" panose="020B0503020204020203" pitchFamily="34" charset="0"/>
                    <a:ea typeface="+mn-ea"/>
                    <a:cs typeface="Itau Text" panose="020B0503020204020203" pitchFamily="34" charset="0"/>
                  </a:rPr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32</a:t>
                </a:fld>
                <a:endParaRPr kumimoji="0" lang="en-US" altLang="pt-BR" sz="10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Text" panose="020B0503020204020203" pitchFamily="34" charset="0"/>
                  <a:ea typeface="+mn-ea"/>
                  <a:cs typeface="Itau Text" panose="020B0503020204020203" pitchFamily="34" charset="0"/>
                </a:endParaRPr>
              </a:p>
            </p:txBody>
          </p:sp>
        </p:grpSp>
      </p:grpSp>
      <p:sp>
        <p:nvSpPr>
          <p:cNvPr id="60" name="CaixaDeTexto 59">
            <a:extLst>
              <a:ext uri="{FF2B5EF4-FFF2-40B4-BE49-F238E27FC236}">
                <a16:creationId xmlns:a16="http://schemas.microsoft.com/office/drawing/2014/main" id="{6DEE3BED-3410-4B32-8DAE-3192DC2CDB91}"/>
              </a:ext>
            </a:extLst>
          </p:cNvPr>
          <p:cNvSpPr txBox="1"/>
          <p:nvPr/>
        </p:nvSpPr>
        <p:spPr>
          <a:xfrm>
            <a:off x="213129" y="355370"/>
            <a:ext cx="11397846" cy="4347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pt-BR"/>
            </a:defPPr>
            <a:lvl1pPr defTabSz="914411">
              <a:lnSpc>
                <a:spcPct val="75000"/>
              </a:lnSpc>
              <a:spcBef>
                <a:spcPts val="0"/>
              </a:spcBef>
              <a:buNone/>
              <a:defRPr kumimoji="0" sz="2800" b="0" i="0" u="none" strike="noStrike" cap="none" spc="0" normalizeH="0" baseline="0">
                <a:ln>
                  <a:noFill/>
                </a:ln>
                <a:solidFill>
                  <a:srgbClr val="FE9600"/>
                </a:solidFill>
                <a:effectLst/>
                <a:uLnTx/>
                <a:uFillTx/>
                <a:latin typeface="Itau Display Heavy" panose="020B0803020204020204" pitchFamily="34" charset="0"/>
                <a:cs typeface="Itau Display Heavy" panose="020B0803020204020204" pitchFamily="34" charset="0"/>
              </a:defRPr>
            </a:lvl1pPr>
            <a:lvl2pPr marL="539756" indent="-182566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>
                <a:solidFill>
                  <a:schemeClr val="accent6"/>
                </a:solidFill>
              </a:defRPr>
            </a:lvl2pPr>
            <a:lvl3pPr marL="898536" indent="-184152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accent6"/>
                </a:solidFill>
              </a:defRPr>
            </a:lvl3pPr>
            <a:lvl4pPr marL="1255729" indent="-184152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>
                <a:solidFill>
                  <a:schemeClr val="accent6"/>
                </a:solidFill>
              </a:defRPr>
            </a:lvl4pPr>
            <a:lvl5pPr marL="1612920" indent="-174628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>
                <a:solidFill>
                  <a:schemeClr val="accent6"/>
                </a:solidFill>
              </a:defRPr>
            </a:lvl5pPr>
            <a:lvl6pPr marL="2514632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6pPr>
            <a:lvl7pPr marL="2971838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7pPr>
            <a:lvl8pPr marL="3429044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8pPr>
            <a:lvl9pPr marL="3886249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9pPr>
          </a:lstStyle>
          <a:p>
            <a:pPr marL="0" marR="0" lvl="0" indent="0" algn="l" defTabSz="914411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0" i="0" u="none" strike="noStrike" kern="1200" cap="none" spc="0" normalizeH="0" baseline="0" noProof="0">
                <a:ln>
                  <a:noFill/>
                </a:ln>
                <a:solidFill>
                  <a:srgbClr val="FE9600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</a:rPr>
              <a:t>_o que nossos clientes dizem</a:t>
            </a:r>
          </a:p>
        </p:txBody>
      </p:sp>
      <p:sp>
        <p:nvSpPr>
          <p:cNvPr id="62" name="CaixaDeTexto 61">
            <a:extLst>
              <a:ext uri="{FF2B5EF4-FFF2-40B4-BE49-F238E27FC236}">
                <a16:creationId xmlns:a16="http://schemas.microsoft.com/office/drawing/2014/main" id="{B98DACF1-BB9D-4DE4-B4F7-407113013036}"/>
              </a:ext>
            </a:extLst>
          </p:cNvPr>
          <p:cNvSpPr txBox="1"/>
          <p:nvPr/>
        </p:nvSpPr>
        <p:spPr>
          <a:xfrm>
            <a:off x="198121" y="720377"/>
            <a:ext cx="597407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Análise de comentários das ligações das centrais, </a:t>
            </a:r>
            <a:r>
              <a:rPr kumimoji="0" lang="pt-BR" sz="1050" b="0" i="0" u="none" strike="noStrike" kern="1200" cap="none" spc="0" normalizeH="0" baseline="0" noProof="0" err="1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Likert</a:t>
            </a:r>
            <a:r>
              <a:rPr kumimoji="0" lang="pt-BR" sz="105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 do Portal de Correspondências e Desk </a:t>
            </a:r>
            <a:r>
              <a:rPr kumimoji="0" lang="pt-BR" sz="1050" b="0" i="0" u="none" strike="noStrike" kern="1200" cap="none" spc="0" normalizeH="0" baseline="0" noProof="0" err="1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Research</a:t>
            </a:r>
            <a:r>
              <a:rPr kumimoji="0" lang="pt-BR" sz="105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  </a:t>
            </a: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ADEC4664-6DB9-ACD5-BE52-B7D8D6F55B9E}"/>
              </a:ext>
            </a:extLst>
          </p:cNvPr>
          <p:cNvSpPr/>
          <p:nvPr/>
        </p:nvSpPr>
        <p:spPr>
          <a:xfrm>
            <a:off x="0" y="6160957"/>
            <a:ext cx="12192000" cy="7096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3" name="Tabela 4">
            <a:extLst>
              <a:ext uri="{FF2B5EF4-FFF2-40B4-BE49-F238E27FC236}">
                <a16:creationId xmlns:a16="http://schemas.microsoft.com/office/drawing/2014/main" id="{5C074A38-D937-4BAE-85DC-CD2FC8F6C6A7}"/>
              </a:ext>
            </a:extLst>
          </p:cNvPr>
          <p:cNvGraphicFramePr>
            <a:graphicFrameLocks noGrp="1"/>
          </p:cNvGraphicFramePr>
          <p:nvPr/>
        </p:nvGraphicFramePr>
        <p:xfrm>
          <a:off x="221633" y="1021724"/>
          <a:ext cx="11776884" cy="59611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78849">
                  <a:extLst>
                    <a:ext uri="{9D8B030D-6E8A-4147-A177-3AD203B41FA5}">
                      <a16:colId xmlns:a16="http://schemas.microsoft.com/office/drawing/2014/main" val="140994653"/>
                    </a:ext>
                  </a:extLst>
                </a:gridCol>
                <a:gridCol w="2481771">
                  <a:extLst>
                    <a:ext uri="{9D8B030D-6E8A-4147-A177-3AD203B41FA5}">
                      <a16:colId xmlns:a16="http://schemas.microsoft.com/office/drawing/2014/main" val="2636915324"/>
                    </a:ext>
                  </a:extLst>
                </a:gridCol>
                <a:gridCol w="7716264">
                  <a:extLst>
                    <a:ext uri="{9D8B030D-6E8A-4147-A177-3AD203B41FA5}">
                      <a16:colId xmlns:a16="http://schemas.microsoft.com/office/drawing/2014/main" val="3547683562"/>
                    </a:ext>
                  </a:extLst>
                </a:gridCol>
              </a:tblGrid>
              <a:tr h="256646">
                <a:tc rowSpan="3">
                  <a:txBody>
                    <a:bodyPr/>
                    <a:lstStyle/>
                    <a:p>
                      <a:pPr marL="432000"/>
                      <a:endParaRPr lang="pt-BR" sz="1000">
                        <a:solidFill>
                          <a:srgbClr val="5F6062"/>
                        </a:solidFill>
                        <a:latin typeface="Itau Display XBold" panose="020B0803020204020204" pitchFamily="34" charset="0"/>
                        <a:cs typeface="Itau Display XBold" panose="020B0803020204020204" pitchFamily="34" charset="0"/>
                      </a:endParaRPr>
                    </a:p>
                    <a:p>
                      <a:pPr marL="432000" algn="ctr"/>
                      <a:r>
                        <a:rPr lang="pt-BR" sz="1000">
                          <a:solidFill>
                            <a:srgbClr val="5F6062"/>
                          </a:solidFill>
                          <a:latin typeface="Itau Display XBold" panose="020B0803020204020204" pitchFamily="34" charset="0"/>
                          <a:cs typeface="Itau Display XBold" panose="020B0803020204020204" pitchFamily="34" charset="0"/>
                        </a:rPr>
                        <a:t>USABILIDAD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ea typeface="+mn-ea"/>
                          <a:cs typeface="Itau Display" panose="020B0503020204020204" pitchFamily="34" charset="0"/>
                        </a:rPr>
                        <a:t>Não encontra o que procura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78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“Aplicativo muito complicado. Torna o simples em complexo."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78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“Acho bastante complicado não consigo encontrar o que preciso"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78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"Não consigo identificar com clareza qual a quantidade de ações livres e qual a quantidade bloqueada. O  extrato é confuso."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78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"Estou tentando pagar, mas não gera o boleto para o pagamento, já liguei várias vezes falei com um monte de pessoas que não me ajuda Fiz um acordo com o Itaú para regularizar a dívida, mas tá complicado ter uma solução amigável. Quem sabe isso chegue até"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78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"Confuso e não tem se é do cartão  , acidentes pessoais,  residência  ou vida mulher.  Péssimo!"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81833568"/>
                  </a:ext>
                </a:extLst>
              </a:tr>
              <a:tr h="256646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ea typeface="+mn-ea"/>
                          <a:cs typeface="Itau Display" panose="020B0503020204020204" pitchFamily="34" charset="0"/>
                        </a:rPr>
                        <a:t>Acha as informações confusa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78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pt-BR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5F6062"/>
                        </a:solidFill>
                        <a:effectLst/>
                        <a:uLnTx/>
                        <a:uFillTx/>
                        <a:latin typeface="Itau Display" panose="020B0503020204020204" pitchFamily="34" charset="0"/>
                        <a:cs typeface="Itau Display" panose="020B0503020204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0108113"/>
                  </a:ext>
                </a:extLst>
              </a:tr>
              <a:tr h="855753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ea typeface="+mn-ea"/>
                          <a:cs typeface="Itau Display" panose="020B0503020204020204" pitchFamily="34" charset="0"/>
                        </a:rPr>
                        <a:t>Não consegue concluir o que precisa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78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Lorem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ipsum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dolor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si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ame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,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consectetuer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adipiscing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eli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.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Maecenas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port</a:t>
                      </a:r>
                      <a:endParaRPr kumimoji="0" lang="pt-BR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5F6062"/>
                        </a:solidFill>
                        <a:effectLst/>
                        <a:uLnTx/>
                        <a:uFillTx/>
                        <a:latin typeface="Itau Display" panose="020B0503020204020204" pitchFamily="34" charset="0"/>
                        <a:cs typeface="Itau Display" panose="020B0503020204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78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Lorem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ipsum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dolor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si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ame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,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consectetuer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adipiscing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eli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.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Maecenas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port</a:t>
                      </a:r>
                      <a:endParaRPr kumimoji="0" lang="pt-BR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5F6062"/>
                        </a:solidFill>
                        <a:effectLst/>
                        <a:uLnTx/>
                        <a:uFillTx/>
                        <a:latin typeface="Itau Display" panose="020B0503020204020204" pitchFamily="34" charset="0"/>
                        <a:cs typeface="Itau Display" panose="020B0503020204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1684020"/>
                  </a:ext>
                </a:extLst>
              </a:tr>
              <a:tr h="256646">
                <a:tc rowSpan="3">
                  <a:txBody>
                    <a:bodyPr/>
                    <a:lstStyle/>
                    <a:p>
                      <a:pPr marL="432000"/>
                      <a:endParaRPr lang="pt-BR" sz="1000">
                        <a:solidFill>
                          <a:srgbClr val="5F6062"/>
                        </a:solidFill>
                        <a:latin typeface="Itau Display XBold" panose="020B0803020204020204" pitchFamily="34" charset="0"/>
                        <a:cs typeface="Itau Display XBold" panose="020B0803020204020204" pitchFamily="34" charset="0"/>
                      </a:endParaRPr>
                    </a:p>
                    <a:p>
                      <a:pPr marL="432000" algn="ctr"/>
                      <a:r>
                        <a:rPr lang="pt-BR" sz="1000">
                          <a:solidFill>
                            <a:srgbClr val="5F6062"/>
                          </a:solidFill>
                          <a:latin typeface="Itau Display XBold" panose="020B0803020204020204" pitchFamily="34" charset="0"/>
                          <a:cs typeface="Itau Display XBold" panose="020B0803020204020204" pitchFamily="34" charset="0"/>
                        </a:rPr>
                        <a:t>SEGURANÇA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ea typeface="+mn-ea"/>
                          <a:cs typeface="Itau Display" panose="020B0503020204020204" pitchFamily="34" charset="0"/>
                        </a:rPr>
                        <a:t>Cliente se sente inseguro ao acessa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78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“tentei enviar pro meu e-mail o carne, e o site caiu!  voltando pra página inicial.  Nestes tempos de  fraudes digitais, este tipo de instabilidade, vindo de um site oficial do banco é muito preocupante.”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78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“As mensagens enviadas parecem fake, golpe... para acreditar no serviço tive que ir a página do banco e verificar.”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78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“parece site de fraude, de golpe. não temos acesso às informações dos boletos já pagos o que nos traz insegurança se de fato está tudo certo.”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1214051"/>
                  </a:ext>
                </a:extLst>
              </a:tr>
              <a:tr h="422711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ea typeface="+mn-ea"/>
                          <a:cs typeface="Itau Display" panose="020B0503020204020204" pitchFamily="34" charset="0"/>
                        </a:rPr>
                        <a:t>Não confia nos links de direcionamento que receb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78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Lorem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ipsum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dolor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si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ame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,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consectetuer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adipiscing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eli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.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Maecenas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port</a:t>
                      </a:r>
                      <a:endParaRPr kumimoji="0" lang="pt-BR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5F6062"/>
                        </a:solidFill>
                        <a:effectLst/>
                        <a:uLnTx/>
                        <a:uFillTx/>
                        <a:latin typeface="Itau Display" panose="020B0503020204020204" pitchFamily="34" charset="0"/>
                        <a:cs typeface="Itau Display" panose="020B0503020204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78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Lorem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ipsum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dolor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si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ame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,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consectetuer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adipiscing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eli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.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Maecenas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port</a:t>
                      </a:r>
                      <a:endParaRPr kumimoji="0" lang="pt-BR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5F6062"/>
                        </a:solidFill>
                        <a:effectLst/>
                        <a:uLnTx/>
                        <a:uFillTx/>
                        <a:latin typeface="Itau Display" panose="020B0503020204020204" pitchFamily="34" charset="0"/>
                        <a:cs typeface="Itau Display" panose="020B0503020204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4260"/>
                  </a:ext>
                </a:extLst>
              </a:tr>
              <a:tr h="422711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ea typeface="+mn-ea"/>
                          <a:cs typeface="Itau Display" panose="020B0503020204020204" pitchFamily="34" charset="0"/>
                        </a:rPr>
                        <a:t>Não sabe como ter certeza que é confiável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78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Lorem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ipsum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dolor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si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ame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,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consectetuer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adipiscing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eli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.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Maecenas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port</a:t>
                      </a:r>
                      <a:endParaRPr kumimoji="0" lang="pt-BR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5F6062"/>
                        </a:solidFill>
                        <a:effectLst/>
                        <a:uLnTx/>
                        <a:uFillTx/>
                        <a:latin typeface="Itau Display" panose="020B0503020204020204" pitchFamily="34" charset="0"/>
                        <a:cs typeface="Itau Display" panose="020B0503020204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78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Lorem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ipsum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dolor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si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ame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,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consectetuer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adipiscing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eli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.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Maecenas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port</a:t>
                      </a:r>
                      <a:endParaRPr kumimoji="0" lang="pt-BR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5F6062"/>
                        </a:solidFill>
                        <a:effectLst/>
                        <a:uLnTx/>
                        <a:uFillTx/>
                        <a:latin typeface="Itau Display" panose="020B0503020204020204" pitchFamily="34" charset="0"/>
                        <a:cs typeface="Itau Display" panose="020B0503020204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0971579"/>
                  </a:ext>
                </a:extLst>
              </a:tr>
              <a:tr h="256646">
                <a:tc rowSpan="3">
                  <a:txBody>
                    <a:bodyPr/>
                    <a:lstStyle/>
                    <a:p>
                      <a:pPr marL="432000"/>
                      <a:endParaRPr lang="pt-BR" sz="1000">
                        <a:solidFill>
                          <a:srgbClr val="5F6062"/>
                        </a:solidFill>
                        <a:latin typeface="Itau Display XBold" panose="020B0803020204020204" pitchFamily="34" charset="0"/>
                        <a:cs typeface="Itau Display XBold" panose="020B0803020204020204" pitchFamily="34" charset="0"/>
                      </a:endParaRPr>
                    </a:p>
                    <a:p>
                      <a:pPr marL="432000" algn="ctr"/>
                      <a:r>
                        <a:rPr lang="pt-BR" sz="1000">
                          <a:solidFill>
                            <a:srgbClr val="5F6062"/>
                          </a:solidFill>
                          <a:latin typeface="Itau Display XBold" panose="020B0803020204020204" pitchFamily="34" charset="0"/>
                          <a:cs typeface="Itau Display XBold" panose="020B0803020204020204" pitchFamily="34" charset="0"/>
                        </a:rPr>
                        <a:t>ACESSO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ea typeface="+mn-ea"/>
                          <a:cs typeface="Itau Display" panose="020B0503020204020204" pitchFamily="34" charset="0"/>
                        </a:rPr>
                        <a:t>Não sabe qual login usa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78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"muito ruim ter tantas senhas diferentes em uma instituição apenas. na amazon ou na apple eu tenho uma senha para absolutamente tudo."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78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"fui direcionada para o site com o aviso de consultar documento sobre seguro. Um trabalho mais ou menos, senha, token e etc.. E não encontrei o documento."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78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"eu cadastrei a senha na primeira etapa, deu tudo certo e agora a mesma não entra mais ????"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8895053"/>
                  </a:ext>
                </a:extLst>
              </a:tr>
              <a:tr h="256646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ea typeface="+mn-ea"/>
                          <a:cs typeface="Itau Display" panose="020B0503020204020204" pitchFamily="34" charset="0"/>
                        </a:rPr>
                        <a:t>Não recebe o e-mail para acessa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78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Lorem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ipsum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dolor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si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ame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,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consectetuer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adipiscing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eli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.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Maecenas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port</a:t>
                      </a:r>
                      <a:endParaRPr kumimoji="0" lang="pt-BR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5F6062"/>
                        </a:solidFill>
                        <a:effectLst/>
                        <a:uLnTx/>
                        <a:uFillTx/>
                        <a:latin typeface="Itau Display" panose="020B0503020204020204" pitchFamily="34" charset="0"/>
                        <a:cs typeface="Itau Display" panose="020B0503020204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78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Lorem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ipsum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dolor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si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ame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,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consectetuer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adipiscing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eli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.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Maecenas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port</a:t>
                      </a:r>
                      <a:endParaRPr kumimoji="0" lang="pt-BR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5F6062"/>
                        </a:solidFill>
                        <a:effectLst/>
                        <a:uLnTx/>
                        <a:uFillTx/>
                        <a:latin typeface="Itau Display" panose="020B0503020204020204" pitchFamily="34" charset="0"/>
                        <a:cs typeface="Itau Display" panose="020B0503020204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7411317"/>
                  </a:ext>
                </a:extLst>
              </a:tr>
              <a:tr h="40761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ea typeface="+mn-ea"/>
                          <a:cs typeface="Itau Display" panose="020B0503020204020204" pitchFamily="34" charset="0"/>
                        </a:rPr>
                        <a:t>Tem problemas para entrar no sit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78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Lorem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ipsum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dolor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si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ame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,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consectetuer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adipiscing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eli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.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Maecenas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port</a:t>
                      </a:r>
                      <a:endParaRPr kumimoji="0" lang="pt-BR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5F6062"/>
                        </a:solidFill>
                        <a:effectLst/>
                        <a:uLnTx/>
                        <a:uFillTx/>
                        <a:latin typeface="Itau Display" panose="020B0503020204020204" pitchFamily="34" charset="0"/>
                        <a:cs typeface="Itau Display" panose="020B0503020204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78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Lorem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ipsum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dolor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si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ame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,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consectetuer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adipiscing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eli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.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Maecenas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port</a:t>
                      </a:r>
                      <a:endParaRPr kumimoji="0" lang="pt-BR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5F6062"/>
                        </a:solidFill>
                        <a:effectLst/>
                        <a:uLnTx/>
                        <a:uFillTx/>
                        <a:latin typeface="Itau Display" panose="020B0503020204020204" pitchFamily="34" charset="0"/>
                        <a:cs typeface="Itau Display" panose="020B0503020204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9065287"/>
                  </a:ext>
                </a:extLst>
              </a:tr>
              <a:tr h="422711">
                <a:tc rowSpan="3">
                  <a:txBody>
                    <a:bodyPr/>
                    <a:lstStyle/>
                    <a:p>
                      <a:pPr marL="432000" algn="ctr"/>
                      <a:endParaRPr lang="pt-BR" sz="1000">
                        <a:solidFill>
                          <a:srgbClr val="5F6062"/>
                        </a:solidFill>
                        <a:latin typeface="Itau Display XBold" panose="020B0803020204020204" pitchFamily="34" charset="0"/>
                        <a:cs typeface="Itau Display XBold" panose="020B0803020204020204" pitchFamily="34" charset="0"/>
                      </a:endParaRPr>
                    </a:p>
                    <a:p>
                      <a:pPr marL="432000" algn="ctr"/>
                      <a:r>
                        <a:rPr lang="pt-BR" sz="1000">
                          <a:solidFill>
                            <a:srgbClr val="5F6062"/>
                          </a:solidFill>
                          <a:latin typeface="Itau Display XBold" panose="020B0803020204020204" pitchFamily="34" charset="0"/>
                          <a:cs typeface="Itau Display XBold" panose="020B0803020204020204" pitchFamily="34" charset="0"/>
                        </a:rPr>
                        <a:t>CANAL</a:t>
                      </a:r>
                    </a:p>
                    <a:p>
                      <a:pPr marL="432000" algn="ctr"/>
                      <a:r>
                        <a:rPr lang="pt-BR" sz="1000">
                          <a:solidFill>
                            <a:srgbClr val="5F6062"/>
                          </a:solidFill>
                          <a:latin typeface="Itau Display XBold" panose="020B0803020204020204" pitchFamily="34" charset="0"/>
                          <a:cs typeface="Itau Display XBold" panose="020B0803020204020204" pitchFamily="34" charset="0"/>
                        </a:rPr>
                        <a:t>FAVORIT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ea typeface="+mn-ea"/>
                          <a:cs typeface="Itau Display" panose="020B0503020204020204" pitchFamily="34" charset="0"/>
                        </a:rPr>
                        <a:t>Prefere outro canal ao invés do disponibilizad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78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“É só mandar o boleto pra minha casa”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78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"Fazem 15 dias que tento conseguir minha apolice de seguro residencial e não consigo,o chat é horrivel,telefone idem"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78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"Não encontro o que preciso. Tentei pelo chat no app e pelo whatsapp. Mas sem sucesso. Dificuldade para conseguir PAGAR uma conta."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78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"Não consigo visualizar, encaminhar e pagar o o boleto, com o whatsapp era bem mais prático, ficou uma porcaria"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78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"Ser mais claro e objetivo, pelo telefone mandaram fazer pelo site mas chega aqui não tem o que preciso. Falta de respeito pelo cliente."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5110646"/>
                  </a:ext>
                </a:extLst>
              </a:tr>
              <a:tr h="256646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ea typeface="+mn-ea"/>
                          <a:cs typeface="Itau Display" panose="020B0503020204020204" pitchFamily="34" charset="0"/>
                        </a:rPr>
                        <a:t>Gostaria de ter um app ao invés do sit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78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Lorem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ipsum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dolor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si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ame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,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consectetuer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adipiscing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eli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.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Maecenas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port</a:t>
                      </a:r>
                      <a:endParaRPr kumimoji="0" lang="pt-BR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5F6062"/>
                        </a:solidFill>
                        <a:effectLst/>
                        <a:uLnTx/>
                        <a:uFillTx/>
                        <a:latin typeface="Itau Display" panose="020B0503020204020204" pitchFamily="34" charset="0"/>
                        <a:cs typeface="Itau Display" panose="020B0503020204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78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Lorem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ipsum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dolor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si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ame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,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consectetuer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adipiscing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eli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.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Maecenas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port</a:t>
                      </a:r>
                      <a:endParaRPr kumimoji="0" lang="pt-BR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5F6062"/>
                        </a:solidFill>
                        <a:effectLst/>
                        <a:uLnTx/>
                        <a:uFillTx/>
                        <a:latin typeface="Itau Display" panose="020B0503020204020204" pitchFamily="34" charset="0"/>
                        <a:cs typeface="Itau Display" panose="020B0503020204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6232419"/>
                  </a:ext>
                </a:extLst>
              </a:tr>
              <a:tr h="57368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ea typeface="+mn-ea"/>
                          <a:cs typeface="Itau Display" panose="020B0503020204020204" pitchFamily="34" charset="0"/>
                        </a:rPr>
                        <a:t>Não consegue realizar atividades cross canal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78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Lorem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ipsum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dolor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si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ame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,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consectetuer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adipiscing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eli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.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Maecenas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port</a:t>
                      </a:r>
                      <a:endParaRPr kumimoji="0" lang="pt-BR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5F6062"/>
                        </a:solidFill>
                        <a:effectLst/>
                        <a:uLnTx/>
                        <a:uFillTx/>
                        <a:latin typeface="Itau Display" panose="020B0503020204020204" pitchFamily="34" charset="0"/>
                        <a:cs typeface="Itau Display" panose="020B0503020204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78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Lorem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ipsum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dolor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si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ame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,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consectetuer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adipiscing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eli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.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Maecenas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port</a:t>
                      </a:r>
                      <a:endParaRPr kumimoji="0" lang="pt-BR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5F6062"/>
                        </a:solidFill>
                        <a:effectLst/>
                        <a:uLnTx/>
                        <a:uFillTx/>
                        <a:latin typeface="Itau Display" panose="020B0503020204020204" pitchFamily="34" charset="0"/>
                        <a:cs typeface="Itau Display" panose="020B0503020204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3148703"/>
                  </a:ext>
                </a:extLst>
              </a:tr>
              <a:tr h="422711">
                <a:tc rowSpan="3">
                  <a:txBody>
                    <a:bodyPr/>
                    <a:lstStyle/>
                    <a:p>
                      <a:pPr marL="432000" algn="ctr"/>
                      <a:endParaRPr lang="pt-BR" sz="1000">
                        <a:solidFill>
                          <a:srgbClr val="5F6062"/>
                        </a:solidFill>
                        <a:latin typeface="Itau Display XBold" panose="020B0803020204020204" pitchFamily="34" charset="0"/>
                        <a:cs typeface="Itau Display XBold" panose="020B0803020204020204" pitchFamily="34" charset="0"/>
                      </a:endParaRPr>
                    </a:p>
                    <a:p>
                      <a:pPr marL="432000" algn="ctr"/>
                      <a:r>
                        <a:rPr lang="pt-BR" sz="1000">
                          <a:solidFill>
                            <a:srgbClr val="5F6062"/>
                          </a:solidFill>
                          <a:latin typeface="Itau Display XBold" panose="020B0803020204020204" pitchFamily="34" charset="0"/>
                          <a:cs typeface="Itau Display XBold" panose="020B0803020204020204" pitchFamily="34" charset="0"/>
                        </a:rPr>
                        <a:t>PROBLEMAS DO PRODUT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ea typeface="+mn-ea"/>
                          <a:cs typeface="Itau Display" panose="020B0503020204020204" pitchFamily="34" charset="0"/>
                        </a:rPr>
                        <a:t>Não consegue acompanhar o status de pagamento do bolet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78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“...estou precisando de uma segunda via do comprovante de pagamento desse boleto e os atendentes me informam que não é possível...”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78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"Deveriam colocar todas as apólices, pois só colocaram do Credicard e do cartão Itaú não, o que vou gastar meu tempo ao telefone para solicitar o envio por e-mail."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78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"Preciso dos boletos dos contratos que renegociei em julho 2023, porém não estou recebendo conforme combinado (por e-mail) e também não está disponível nesta plataforma, conforme e-mail recebido com orientações para acessá-los e imprimir. Vergonhoso!"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7133816"/>
                  </a:ext>
                </a:extLst>
              </a:tr>
              <a:tr h="422711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ea typeface="+mn-ea"/>
                          <a:cs typeface="Itau Display" panose="020B0503020204020204" pitchFamily="34" charset="0"/>
                        </a:rPr>
                        <a:t>Não encontra as atas de assembléia para assinatura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78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Lorem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ipsum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dolor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si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ame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,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consectetuer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adipiscing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eli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.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Maecenas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port</a:t>
                      </a:r>
                      <a:endParaRPr kumimoji="0" lang="pt-BR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5F6062"/>
                        </a:solidFill>
                        <a:effectLst/>
                        <a:uLnTx/>
                        <a:uFillTx/>
                        <a:latin typeface="Itau Display" panose="020B0503020204020204" pitchFamily="34" charset="0"/>
                        <a:cs typeface="Itau Display" panose="020B0503020204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78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Lorem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ipsum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dolor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si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ame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,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consectetuer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adipiscing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eli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.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Maecenas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port</a:t>
                      </a:r>
                      <a:endParaRPr kumimoji="0" lang="pt-BR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5F6062"/>
                        </a:solidFill>
                        <a:effectLst/>
                        <a:uLnTx/>
                        <a:uFillTx/>
                        <a:latin typeface="Itau Display" panose="020B0503020204020204" pitchFamily="34" charset="0"/>
                        <a:cs typeface="Itau Display" panose="020B0503020204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7515064"/>
                  </a:ext>
                </a:extLst>
              </a:tr>
              <a:tr h="422711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ea typeface="+mn-ea"/>
                          <a:cs typeface="Itau Display" panose="020B0503020204020204" pitchFamily="34" charset="0"/>
                        </a:rPr>
                        <a:t>Não consegue encontrar a segunda via do produto desejad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78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Lorem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ipsum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dolor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si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ame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,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consectetuer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adipiscing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eli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.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Maecenas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port</a:t>
                      </a:r>
                      <a:endParaRPr kumimoji="0" lang="pt-BR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5F6062"/>
                        </a:solidFill>
                        <a:effectLst/>
                        <a:uLnTx/>
                        <a:uFillTx/>
                        <a:latin typeface="Itau Display" panose="020B0503020204020204" pitchFamily="34" charset="0"/>
                        <a:cs typeface="Itau Display" panose="020B0503020204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78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Lorem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ipsum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dolor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si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ame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,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consectetuer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adipiscing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elit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.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Maecenas</a:t>
                      </a:r>
                      <a:r>
                        <a:rPr kumimoji="0" lang="pt-B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5F6062"/>
                          </a:solidFill>
                          <a:effectLst/>
                          <a:uLnTx/>
                          <a:uFillTx/>
                          <a:latin typeface="Itau Display" panose="020B0503020204020204" pitchFamily="34" charset="0"/>
                          <a:cs typeface="Itau Display" panose="020B0503020204020204" pitchFamily="34" charset="0"/>
                        </a:rPr>
                        <a:t>port</a:t>
                      </a:r>
                      <a:endParaRPr kumimoji="0" lang="pt-BR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5F6062"/>
                        </a:solidFill>
                        <a:effectLst/>
                        <a:uLnTx/>
                        <a:uFillTx/>
                        <a:latin typeface="Itau Display" panose="020B0503020204020204" pitchFamily="34" charset="0"/>
                        <a:cs typeface="Itau Display" panose="020B0503020204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4542444"/>
                  </a:ext>
                </a:extLst>
              </a:tr>
            </a:tbl>
          </a:graphicData>
        </a:graphic>
      </p:graphicFrame>
      <p:grpSp>
        <p:nvGrpSpPr>
          <p:cNvPr id="51" name="Agrupar 50">
            <a:extLst>
              <a:ext uri="{FF2B5EF4-FFF2-40B4-BE49-F238E27FC236}">
                <a16:creationId xmlns:a16="http://schemas.microsoft.com/office/drawing/2014/main" id="{1EB0E7F4-266C-4412-895D-125753617420}"/>
              </a:ext>
            </a:extLst>
          </p:cNvPr>
          <p:cNvGrpSpPr/>
          <p:nvPr/>
        </p:nvGrpSpPr>
        <p:grpSpPr>
          <a:xfrm>
            <a:off x="1152699" y="2559706"/>
            <a:ext cx="212913" cy="256563"/>
            <a:chOff x="1370374" y="6684013"/>
            <a:chExt cx="342900" cy="413195"/>
          </a:xfrm>
        </p:grpSpPr>
        <p:sp>
          <p:nvSpPr>
            <p:cNvPr id="52" name="Forma Livre: Forma 51">
              <a:extLst>
                <a:ext uri="{FF2B5EF4-FFF2-40B4-BE49-F238E27FC236}">
                  <a16:creationId xmlns:a16="http://schemas.microsoft.com/office/drawing/2014/main" id="{7AEB3520-3F55-4B9B-860A-F763F7BA84EE}"/>
                </a:ext>
              </a:extLst>
            </p:cNvPr>
            <p:cNvSpPr/>
            <p:nvPr/>
          </p:nvSpPr>
          <p:spPr>
            <a:xfrm>
              <a:off x="1427524" y="6878133"/>
              <a:ext cx="285750" cy="219075"/>
            </a:xfrm>
            <a:custGeom>
              <a:avLst/>
              <a:gdLst>
                <a:gd name="connsiteX0" fmla="*/ 285750 w 285750"/>
                <a:gd name="connsiteY0" fmla="*/ 200025 h 219075"/>
                <a:gd name="connsiteX1" fmla="*/ 266700 w 285750"/>
                <a:gd name="connsiteY1" fmla="*/ 219075 h 219075"/>
                <a:gd name="connsiteX2" fmla="*/ 19050 w 285750"/>
                <a:gd name="connsiteY2" fmla="*/ 219075 h 219075"/>
                <a:gd name="connsiteX3" fmla="*/ 0 w 285750"/>
                <a:gd name="connsiteY3" fmla="*/ 200025 h 219075"/>
                <a:gd name="connsiteX4" fmla="*/ 0 w 285750"/>
                <a:gd name="connsiteY4" fmla="*/ 19050 h 219075"/>
                <a:gd name="connsiteX5" fmla="*/ 19050 w 285750"/>
                <a:gd name="connsiteY5" fmla="*/ 0 h 219075"/>
                <a:gd name="connsiteX6" fmla="*/ 266700 w 285750"/>
                <a:gd name="connsiteY6" fmla="*/ 0 h 219075"/>
                <a:gd name="connsiteX7" fmla="*/ 285750 w 285750"/>
                <a:gd name="connsiteY7" fmla="*/ 19050 h 219075"/>
                <a:gd name="connsiteX8" fmla="*/ 285750 w 285750"/>
                <a:gd name="connsiteY8" fmla="*/ 200025 h 219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5750" h="219075">
                  <a:moveTo>
                    <a:pt x="285750" y="200025"/>
                  </a:moveTo>
                  <a:cubicBezTo>
                    <a:pt x="285750" y="210502"/>
                    <a:pt x="277178" y="219075"/>
                    <a:pt x="266700" y="219075"/>
                  </a:cubicBezTo>
                  <a:lnTo>
                    <a:pt x="19050" y="219075"/>
                  </a:lnTo>
                  <a:cubicBezTo>
                    <a:pt x="8572" y="219075"/>
                    <a:pt x="0" y="210502"/>
                    <a:pt x="0" y="200025"/>
                  </a:cubicBezTo>
                  <a:lnTo>
                    <a:pt x="0" y="19050"/>
                  </a:lnTo>
                  <a:cubicBezTo>
                    <a:pt x="0" y="8573"/>
                    <a:pt x="8572" y="0"/>
                    <a:pt x="19050" y="0"/>
                  </a:cubicBezTo>
                  <a:lnTo>
                    <a:pt x="266700" y="0"/>
                  </a:lnTo>
                  <a:cubicBezTo>
                    <a:pt x="277178" y="0"/>
                    <a:pt x="285750" y="8573"/>
                    <a:pt x="285750" y="19050"/>
                  </a:cubicBezTo>
                  <a:lnTo>
                    <a:pt x="285750" y="200025"/>
                  </a:lnTo>
                  <a:close/>
                </a:path>
              </a:pathLst>
            </a:custGeom>
            <a:noFill/>
            <a:ln w="9525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3" name="Forma Livre: Forma 52">
              <a:extLst>
                <a:ext uri="{FF2B5EF4-FFF2-40B4-BE49-F238E27FC236}">
                  <a16:creationId xmlns:a16="http://schemas.microsoft.com/office/drawing/2014/main" id="{0E68E756-62B0-4D64-AE23-E8E2999B2A38}"/>
                </a:ext>
              </a:extLst>
            </p:cNvPr>
            <p:cNvSpPr/>
            <p:nvPr/>
          </p:nvSpPr>
          <p:spPr>
            <a:xfrm>
              <a:off x="1487913" y="6697158"/>
              <a:ext cx="171450" cy="180975"/>
            </a:xfrm>
            <a:custGeom>
              <a:avLst/>
              <a:gdLst>
                <a:gd name="connsiteX0" fmla="*/ 0 w 171450"/>
                <a:gd name="connsiteY0" fmla="*/ 47625 h 180975"/>
                <a:gd name="connsiteX1" fmla="*/ 82487 w 171450"/>
                <a:gd name="connsiteY1" fmla="*/ 0 h 180975"/>
                <a:gd name="connsiteX2" fmla="*/ 82487 w 171450"/>
                <a:gd name="connsiteY2" fmla="*/ 0 h 180975"/>
                <a:gd name="connsiteX3" fmla="*/ 82487 w 171450"/>
                <a:gd name="connsiteY3" fmla="*/ 0 h 180975"/>
                <a:gd name="connsiteX4" fmla="*/ 177737 w 171450"/>
                <a:gd name="connsiteY4" fmla="*/ 95250 h 180975"/>
                <a:gd name="connsiteX5" fmla="*/ 177737 w 171450"/>
                <a:gd name="connsiteY5" fmla="*/ 180975 h 18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1450" h="180975">
                  <a:moveTo>
                    <a:pt x="0" y="47625"/>
                  </a:moveTo>
                  <a:cubicBezTo>
                    <a:pt x="16478" y="19145"/>
                    <a:pt x="47244" y="0"/>
                    <a:pt x="82487" y="0"/>
                  </a:cubicBezTo>
                  <a:lnTo>
                    <a:pt x="82487" y="0"/>
                  </a:lnTo>
                  <a:lnTo>
                    <a:pt x="82487" y="0"/>
                  </a:lnTo>
                  <a:cubicBezTo>
                    <a:pt x="135065" y="0"/>
                    <a:pt x="177737" y="42672"/>
                    <a:pt x="177737" y="95250"/>
                  </a:cubicBezTo>
                  <a:lnTo>
                    <a:pt x="177737" y="180975"/>
                  </a:lnTo>
                </a:path>
              </a:pathLst>
            </a:custGeom>
            <a:noFill/>
            <a:ln w="9525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4" name="Forma Livre: Forma 53">
              <a:extLst>
                <a:ext uri="{FF2B5EF4-FFF2-40B4-BE49-F238E27FC236}">
                  <a16:creationId xmlns:a16="http://schemas.microsoft.com/office/drawing/2014/main" id="{C5A0EBD6-D19B-47AC-A037-48951446A2A5}"/>
                </a:ext>
              </a:extLst>
            </p:cNvPr>
            <p:cNvSpPr/>
            <p:nvPr/>
          </p:nvSpPr>
          <p:spPr>
            <a:xfrm>
              <a:off x="1475149" y="6792408"/>
              <a:ext cx="9525" cy="85725"/>
            </a:xfrm>
            <a:custGeom>
              <a:avLst/>
              <a:gdLst>
                <a:gd name="connsiteX0" fmla="*/ 0 w 0"/>
                <a:gd name="connsiteY0" fmla="*/ 85725 h 85725"/>
                <a:gd name="connsiteX1" fmla="*/ 0 w 0"/>
                <a:gd name="connsiteY1" fmla="*/ 0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85725">
                  <a:moveTo>
                    <a:pt x="0" y="85725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5" name="Forma Livre: Forma 54">
              <a:extLst>
                <a:ext uri="{FF2B5EF4-FFF2-40B4-BE49-F238E27FC236}">
                  <a16:creationId xmlns:a16="http://schemas.microsoft.com/office/drawing/2014/main" id="{6E7A3F87-3F86-488B-A7D5-1C057DEFF92B}"/>
                </a:ext>
              </a:extLst>
            </p:cNvPr>
            <p:cNvSpPr/>
            <p:nvPr/>
          </p:nvSpPr>
          <p:spPr>
            <a:xfrm>
              <a:off x="1532274" y="6925741"/>
              <a:ext cx="76200" cy="114300"/>
            </a:xfrm>
            <a:custGeom>
              <a:avLst/>
              <a:gdLst>
                <a:gd name="connsiteX0" fmla="*/ 28981 w 76200"/>
                <a:gd name="connsiteY0" fmla="*/ 1065 h 114300"/>
                <a:gd name="connsiteX1" fmla="*/ 1168 w 76200"/>
                <a:gd name="connsiteY1" fmla="*/ 28497 h 114300"/>
                <a:gd name="connsiteX2" fmla="*/ 19075 w 76200"/>
                <a:gd name="connsiteY2" fmla="*/ 70883 h 114300"/>
                <a:gd name="connsiteX3" fmla="*/ 19075 w 76200"/>
                <a:gd name="connsiteY3" fmla="*/ 104697 h 114300"/>
                <a:gd name="connsiteX4" fmla="*/ 38125 w 76200"/>
                <a:gd name="connsiteY4" fmla="*/ 123747 h 114300"/>
                <a:gd name="connsiteX5" fmla="*/ 38125 w 76200"/>
                <a:gd name="connsiteY5" fmla="*/ 123747 h 114300"/>
                <a:gd name="connsiteX6" fmla="*/ 57175 w 76200"/>
                <a:gd name="connsiteY6" fmla="*/ 104697 h 114300"/>
                <a:gd name="connsiteX7" fmla="*/ 57175 w 76200"/>
                <a:gd name="connsiteY7" fmla="*/ 70883 h 114300"/>
                <a:gd name="connsiteX8" fmla="*/ 76225 w 76200"/>
                <a:gd name="connsiteY8" fmla="*/ 38022 h 114300"/>
                <a:gd name="connsiteX9" fmla="*/ 28981 w 76200"/>
                <a:gd name="connsiteY9" fmla="*/ 1065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6200" h="114300">
                  <a:moveTo>
                    <a:pt x="28981" y="1065"/>
                  </a:moveTo>
                  <a:cubicBezTo>
                    <a:pt x="15455" y="4208"/>
                    <a:pt x="4501" y="15066"/>
                    <a:pt x="1168" y="28497"/>
                  </a:cubicBezTo>
                  <a:cubicBezTo>
                    <a:pt x="-3214" y="46499"/>
                    <a:pt x="5168" y="62787"/>
                    <a:pt x="19075" y="70883"/>
                  </a:cubicBezTo>
                  <a:lnTo>
                    <a:pt x="19075" y="104697"/>
                  </a:lnTo>
                  <a:cubicBezTo>
                    <a:pt x="19075" y="115174"/>
                    <a:pt x="27647" y="123747"/>
                    <a:pt x="38125" y="123747"/>
                  </a:cubicBezTo>
                  <a:lnTo>
                    <a:pt x="38125" y="123747"/>
                  </a:lnTo>
                  <a:cubicBezTo>
                    <a:pt x="48602" y="123747"/>
                    <a:pt x="57175" y="115174"/>
                    <a:pt x="57175" y="104697"/>
                  </a:cubicBezTo>
                  <a:lnTo>
                    <a:pt x="57175" y="70883"/>
                  </a:lnTo>
                  <a:cubicBezTo>
                    <a:pt x="68509" y="64311"/>
                    <a:pt x="76225" y="52119"/>
                    <a:pt x="76225" y="38022"/>
                  </a:cubicBezTo>
                  <a:cubicBezTo>
                    <a:pt x="76225" y="14019"/>
                    <a:pt x="54031" y="-4746"/>
                    <a:pt x="28981" y="1065"/>
                  </a:cubicBezTo>
                  <a:close/>
                </a:path>
              </a:pathLst>
            </a:custGeom>
            <a:noFill/>
            <a:ln w="9525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6" name="Forma Livre: Forma 55">
              <a:extLst>
                <a:ext uri="{FF2B5EF4-FFF2-40B4-BE49-F238E27FC236}">
                  <a16:creationId xmlns:a16="http://schemas.microsoft.com/office/drawing/2014/main" id="{BE30A1B8-7476-447D-8253-3755AC722DFF}"/>
                </a:ext>
              </a:extLst>
            </p:cNvPr>
            <p:cNvSpPr/>
            <p:nvPr/>
          </p:nvSpPr>
          <p:spPr>
            <a:xfrm>
              <a:off x="1418571" y="6684013"/>
              <a:ext cx="28575" cy="47625"/>
            </a:xfrm>
            <a:custGeom>
              <a:avLst/>
              <a:gdLst>
                <a:gd name="connsiteX0" fmla="*/ 0 w 28575"/>
                <a:gd name="connsiteY0" fmla="*/ 0 h 47625"/>
                <a:gd name="connsiteX1" fmla="*/ 28861 w 28575"/>
                <a:gd name="connsiteY1" fmla="*/ 49911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" h="47625">
                  <a:moveTo>
                    <a:pt x="0" y="0"/>
                  </a:moveTo>
                  <a:lnTo>
                    <a:pt x="28861" y="49911"/>
                  </a:lnTo>
                </a:path>
              </a:pathLst>
            </a:custGeom>
            <a:ln w="9525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7" name="Forma Livre: Forma 56">
              <a:extLst>
                <a:ext uri="{FF2B5EF4-FFF2-40B4-BE49-F238E27FC236}">
                  <a16:creationId xmlns:a16="http://schemas.microsoft.com/office/drawing/2014/main" id="{132A74C8-C0C6-421A-B35B-B1FBB67224F9}"/>
                </a:ext>
              </a:extLst>
            </p:cNvPr>
            <p:cNvSpPr/>
            <p:nvPr/>
          </p:nvSpPr>
          <p:spPr>
            <a:xfrm>
              <a:off x="1380566" y="6721923"/>
              <a:ext cx="47625" cy="28575"/>
            </a:xfrm>
            <a:custGeom>
              <a:avLst/>
              <a:gdLst>
                <a:gd name="connsiteX0" fmla="*/ 0 w 47625"/>
                <a:gd name="connsiteY0" fmla="*/ 0 h 28575"/>
                <a:gd name="connsiteX1" fmla="*/ 49911 w 47625"/>
                <a:gd name="connsiteY1" fmla="*/ 28861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5" h="28575">
                  <a:moveTo>
                    <a:pt x="0" y="0"/>
                  </a:moveTo>
                  <a:lnTo>
                    <a:pt x="49911" y="28861"/>
                  </a:lnTo>
                </a:path>
              </a:pathLst>
            </a:custGeom>
            <a:ln w="9525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8" name="Forma Livre: Forma 57">
              <a:extLst>
                <a:ext uri="{FF2B5EF4-FFF2-40B4-BE49-F238E27FC236}">
                  <a16:creationId xmlns:a16="http://schemas.microsoft.com/office/drawing/2014/main" id="{D2F10AFD-B1A9-4AB9-9117-D298D466D827}"/>
                </a:ext>
              </a:extLst>
            </p:cNvPr>
            <p:cNvSpPr/>
            <p:nvPr/>
          </p:nvSpPr>
          <p:spPr>
            <a:xfrm>
              <a:off x="1370374" y="6773358"/>
              <a:ext cx="57150" cy="9525"/>
            </a:xfrm>
            <a:custGeom>
              <a:avLst/>
              <a:gdLst>
                <a:gd name="connsiteX0" fmla="*/ 0 w 57150"/>
                <a:gd name="connsiteY0" fmla="*/ 0 h 0"/>
                <a:gd name="connsiteX1" fmla="*/ 57150 w 5715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150">
                  <a:moveTo>
                    <a:pt x="0" y="0"/>
                  </a:moveTo>
                  <a:lnTo>
                    <a:pt x="57150" y="0"/>
                  </a:lnTo>
                </a:path>
              </a:pathLst>
            </a:custGeom>
            <a:ln w="9525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9" name="Forma Livre: Forma 58">
              <a:extLst>
                <a:ext uri="{FF2B5EF4-FFF2-40B4-BE49-F238E27FC236}">
                  <a16:creationId xmlns:a16="http://schemas.microsoft.com/office/drawing/2014/main" id="{B92F6506-5351-42B4-83E0-63E7CE43E984}"/>
                </a:ext>
              </a:extLst>
            </p:cNvPr>
            <p:cNvSpPr/>
            <p:nvPr/>
          </p:nvSpPr>
          <p:spPr>
            <a:xfrm>
              <a:off x="1380566" y="6796885"/>
              <a:ext cx="47625" cy="28575"/>
            </a:xfrm>
            <a:custGeom>
              <a:avLst/>
              <a:gdLst>
                <a:gd name="connsiteX0" fmla="*/ 0 w 47625"/>
                <a:gd name="connsiteY0" fmla="*/ 28766 h 28575"/>
                <a:gd name="connsiteX1" fmla="*/ 49911 w 47625"/>
                <a:gd name="connsiteY1" fmla="*/ 0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5" h="28575">
                  <a:moveTo>
                    <a:pt x="0" y="28766"/>
                  </a:moveTo>
                  <a:lnTo>
                    <a:pt x="49911" y="0"/>
                  </a:lnTo>
                </a:path>
              </a:pathLst>
            </a:custGeom>
            <a:ln w="9525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sp>
        <p:nvSpPr>
          <p:cNvPr id="9" name="Forma">
            <a:extLst>
              <a:ext uri="{FF2B5EF4-FFF2-40B4-BE49-F238E27FC236}">
                <a16:creationId xmlns:a16="http://schemas.microsoft.com/office/drawing/2014/main" id="{9D2A4A83-AB52-1579-F30D-85B2C1594385}"/>
              </a:ext>
            </a:extLst>
          </p:cNvPr>
          <p:cNvSpPr>
            <a:spLocks noChangeAspect="1"/>
          </p:cNvSpPr>
          <p:nvPr/>
        </p:nvSpPr>
        <p:spPr>
          <a:xfrm>
            <a:off x="1089836" y="4653855"/>
            <a:ext cx="255613" cy="2556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2" h="21600" extrusionOk="0">
                <a:moveTo>
                  <a:pt x="3063" y="2939"/>
                </a:moveTo>
                <a:cubicBezTo>
                  <a:pt x="2707" y="2592"/>
                  <a:pt x="2286" y="2419"/>
                  <a:pt x="1798" y="2419"/>
                </a:cubicBezTo>
                <a:cubicBezTo>
                  <a:pt x="1311" y="2419"/>
                  <a:pt x="890" y="2592"/>
                  <a:pt x="534" y="2939"/>
                </a:cubicBezTo>
                <a:cubicBezTo>
                  <a:pt x="178" y="3286"/>
                  <a:pt x="0" y="3713"/>
                  <a:pt x="0" y="4219"/>
                </a:cubicBezTo>
                <a:cubicBezTo>
                  <a:pt x="0" y="4707"/>
                  <a:pt x="178" y="5128"/>
                  <a:pt x="534" y="5484"/>
                </a:cubicBezTo>
                <a:cubicBezTo>
                  <a:pt x="890" y="5841"/>
                  <a:pt x="1311" y="6019"/>
                  <a:pt x="1798" y="6019"/>
                </a:cubicBezTo>
                <a:cubicBezTo>
                  <a:pt x="2286" y="6019"/>
                  <a:pt x="2707" y="5841"/>
                  <a:pt x="3063" y="5484"/>
                </a:cubicBezTo>
                <a:cubicBezTo>
                  <a:pt x="3419" y="5128"/>
                  <a:pt x="3597" y="4707"/>
                  <a:pt x="3597" y="4219"/>
                </a:cubicBezTo>
                <a:cubicBezTo>
                  <a:pt x="3597" y="3713"/>
                  <a:pt x="3419" y="3286"/>
                  <a:pt x="3063" y="2939"/>
                </a:cubicBezTo>
                <a:lnTo>
                  <a:pt x="3063" y="2939"/>
                </a:lnTo>
                <a:close/>
                <a:moveTo>
                  <a:pt x="10706" y="0"/>
                </a:moveTo>
                <a:cubicBezTo>
                  <a:pt x="12205" y="0"/>
                  <a:pt x="13619" y="291"/>
                  <a:pt x="14950" y="872"/>
                </a:cubicBezTo>
                <a:cubicBezTo>
                  <a:pt x="16261" y="1434"/>
                  <a:pt x="17413" y="2208"/>
                  <a:pt x="18406" y="3192"/>
                </a:cubicBezTo>
                <a:cubicBezTo>
                  <a:pt x="19399" y="4177"/>
                  <a:pt x="20177" y="5334"/>
                  <a:pt x="20739" y="6666"/>
                </a:cubicBezTo>
                <a:cubicBezTo>
                  <a:pt x="21319" y="7978"/>
                  <a:pt x="21600" y="9384"/>
                  <a:pt x="21582" y="10884"/>
                </a:cubicBezTo>
                <a:cubicBezTo>
                  <a:pt x="21563" y="12366"/>
                  <a:pt x="21272" y="13753"/>
                  <a:pt x="20710" y="15047"/>
                </a:cubicBezTo>
                <a:cubicBezTo>
                  <a:pt x="20148" y="16359"/>
                  <a:pt x="19380" y="17498"/>
                  <a:pt x="18406" y="18464"/>
                </a:cubicBezTo>
                <a:cubicBezTo>
                  <a:pt x="17432" y="19430"/>
                  <a:pt x="16289" y="20194"/>
                  <a:pt x="14978" y="20756"/>
                </a:cubicBezTo>
                <a:cubicBezTo>
                  <a:pt x="13666" y="21319"/>
                  <a:pt x="12270" y="21600"/>
                  <a:pt x="10791" y="21600"/>
                </a:cubicBezTo>
                <a:lnTo>
                  <a:pt x="9582" y="21600"/>
                </a:lnTo>
                <a:cubicBezTo>
                  <a:pt x="9264" y="21600"/>
                  <a:pt x="8988" y="21483"/>
                  <a:pt x="8753" y="21248"/>
                </a:cubicBezTo>
                <a:cubicBezTo>
                  <a:pt x="8519" y="21014"/>
                  <a:pt x="8402" y="20738"/>
                  <a:pt x="8402" y="20419"/>
                </a:cubicBezTo>
                <a:lnTo>
                  <a:pt x="8402" y="1209"/>
                </a:lnTo>
                <a:cubicBezTo>
                  <a:pt x="8402" y="872"/>
                  <a:pt x="8519" y="586"/>
                  <a:pt x="8753" y="352"/>
                </a:cubicBezTo>
                <a:cubicBezTo>
                  <a:pt x="8988" y="117"/>
                  <a:pt x="9264" y="0"/>
                  <a:pt x="9582" y="0"/>
                </a:cubicBezTo>
                <a:lnTo>
                  <a:pt x="10706" y="0"/>
                </a:lnTo>
                <a:lnTo>
                  <a:pt x="10706" y="0"/>
                </a:lnTo>
                <a:lnTo>
                  <a:pt x="10706" y="0"/>
                </a:lnTo>
                <a:close/>
                <a:moveTo>
                  <a:pt x="10791" y="20419"/>
                </a:moveTo>
                <a:cubicBezTo>
                  <a:pt x="12121" y="20419"/>
                  <a:pt x="13366" y="20166"/>
                  <a:pt x="14528" y="19659"/>
                </a:cubicBezTo>
                <a:cubicBezTo>
                  <a:pt x="15690" y="19153"/>
                  <a:pt x="16706" y="18464"/>
                  <a:pt x="17577" y="17592"/>
                </a:cubicBezTo>
                <a:cubicBezTo>
                  <a:pt x="18448" y="16720"/>
                  <a:pt x="19137" y="15703"/>
                  <a:pt x="19643" y="14541"/>
                </a:cubicBezTo>
                <a:cubicBezTo>
                  <a:pt x="20130" y="13378"/>
                  <a:pt x="20373" y="12132"/>
                  <a:pt x="20373" y="10800"/>
                </a:cubicBezTo>
                <a:cubicBezTo>
                  <a:pt x="20373" y="9488"/>
                  <a:pt x="20130" y="8241"/>
                  <a:pt x="19643" y="7059"/>
                </a:cubicBezTo>
                <a:cubicBezTo>
                  <a:pt x="19137" y="5897"/>
                  <a:pt x="18448" y="4884"/>
                  <a:pt x="17577" y="4022"/>
                </a:cubicBezTo>
                <a:cubicBezTo>
                  <a:pt x="16706" y="3160"/>
                  <a:pt x="15690" y="2475"/>
                  <a:pt x="14528" y="1969"/>
                </a:cubicBezTo>
                <a:cubicBezTo>
                  <a:pt x="13366" y="1463"/>
                  <a:pt x="12121" y="1209"/>
                  <a:pt x="10791" y="1209"/>
                </a:cubicBezTo>
                <a:cubicBezTo>
                  <a:pt x="10584" y="1209"/>
                  <a:pt x="10383" y="1214"/>
                  <a:pt x="10187" y="1223"/>
                </a:cubicBezTo>
                <a:cubicBezTo>
                  <a:pt x="9990" y="1233"/>
                  <a:pt x="9789" y="1256"/>
                  <a:pt x="9582" y="1294"/>
                </a:cubicBezTo>
                <a:lnTo>
                  <a:pt x="9582" y="20334"/>
                </a:lnTo>
                <a:cubicBezTo>
                  <a:pt x="9789" y="20353"/>
                  <a:pt x="9990" y="20372"/>
                  <a:pt x="10187" y="20391"/>
                </a:cubicBezTo>
                <a:cubicBezTo>
                  <a:pt x="10383" y="20409"/>
                  <a:pt x="10584" y="20419"/>
                  <a:pt x="10791" y="20419"/>
                </a:cubicBezTo>
                <a:lnTo>
                  <a:pt x="10791" y="20419"/>
                </a:lnTo>
                <a:lnTo>
                  <a:pt x="10791" y="20419"/>
                </a:lnTo>
                <a:close/>
                <a:moveTo>
                  <a:pt x="3063" y="16144"/>
                </a:moveTo>
                <a:cubicBezTo>
                  <a:pt x="2707" y="15788"/>
                  <a:pt x="2286" y="15609"/>
                  <a:pt x="1798" y="15609"/>
                </a:cubicBezTo>
                <a:cubicBezTo>
                  <a:pt x="1311" y="15609"/>
                  <a:pt x="890" y="15788"/>
                  <a:pt x="534" y="16144"/>
                </a:cubicBezTo>
                <a:cubicBezTo>
                  <a:pt x="178" y="16500"/>
                  <a:pt x="0" y="16922"/>
                  <a:pt x="0" y="17409"/>
                </a:cubicBezTo>
                <a:cubicBezTo>
                  <a:pt x="0" y="17897"/>
                  <a:pt x="178" y="18319"/>
                  <a:pt x="534" y="18675"/>
                </a:cubicBezTo>
                <a:cubicBezTo>
                  <a:pt x="890" y="19031"/>
                  <a:pt x="1311" y="19209"/>
                  <a:pt x="1798" y="19209"/>
                </a:cubicBezTo>
                <a:cubicBezTo>
                  <a:pt x="2286" y="19209"/>
                  <a:pt x="2707" y="19031"/>
                  <a:pt x="3063" y="18675"/>
                </a:cubicBezTo>
                <a:cubicBezTo>
                  <a:pt x="3419" y="18319"/>
                  <a:pt x="3597" y="17897"/>
                  <a:pt x="3597" y="17409"/>
                </a:cubicBezTo>
                <a:cubicBezTo>
                  <a:pt x="3597" y="16922"/>
                  <a:pt x="3419" y="16500"/>
                  <a:pt x="3063" y="16144"/>
                </a:cubicBezTo>
                <a:lnTo>
                  <a:pt x="3063" y="16144"/>
                </a:lnTo>
                <a:close/>
              </a:path>
            </a:pathLst>
          </a:custGeom>
          <a:solidFill>
            <a:srgbClr val="FE9600"/>
          </a:solidFill>
          <a:ln w="12700">
            <a:miter lim="400000"/>
          </a:ln>
        </p:spPr>
        <p:txBody>
          <a:bodyPr lIns="27428" tIns="27428" rIns="27428" bIns="27428" anchor="ctr"/>
          <a:lstStyle/>
          <a:p>
            <a:pPr marL="0" marR="0" lvl="0" indent="0" algn="l" defTabSz="3291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29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grpSp>
        <p:nvGrpSpPr>
          <p:cNvPr id="10" name="Agrupar 9">
            <a:extLst>
              <a:ext uri="{FF2B5EF4-FFF2-40B4-BE49-F238E27FC236}">
                <a16:creationId xmlns:a16="http://schemas.microsoft.com/office/drawing/2014/main" id="{20D6F0B1-D2E0-2089-2E41-29B662E174FC}"/>
              </a:ext>
            </a:extLst>
          </p:cNvPr>
          <p:cNvGrpSpPr>
            <a:grpSpLocks noChangeAspect="1"/>
          </p:cNvGrpSpPr>
          <p:nvPr/>
        </p:nvGrpSpPr>
        <p:grpSpPr>
          <a:xfrm>
            <a:off x="1091500" y="1314689"/>
            <a:ext cx="292778" cy="255599"/>
            <a:chOff x="12714825" y="5941463"/>
            <a:chExt cx="432435" cy="377523"/>
          </a:xfrm>
        </p:grpSpPr>
        <p:sp>
          <p:nvSpPr>
            <p:cNvPr id="11" name="Forma Livre: Forma 10">
              <a:extLst>
                <a:ext uri="{FF2B5EF4-FFF2-40B4-BE49-F238E27FC236}">
                  <a16:creationId xmlns:a16="http://schemas.microsoft.com/office/drawing/2014/main" id="{B379B67B-66BF-B37C-5856-242DA0E83395}"/>
                </a:ext>
              </a:extLst>
            </p:cNvPr>
            <p:cNvSpPr/>
            <p:nvPr/>
          </p:nvSpPr>
          <p:spPr>
            <a:xfrm>
              <a:off x="12937710" y="6084159"/>
              <a:ext cx="209550" cy="123825"/>
            </a:xfrm>
            <a:custGeom>
              <a:avLst/>
              <a:gdLst>
                <a:gd name="connsiteX0" fmla="*/ 0 w 209550"/>
                <a:gd name="connsiteY0" fmla="*/ 52280 h 123825"/>
                <a:gd name="connsiteX1" fmla="*/ 13430 w 209550"/>
                <a:gd name="connsiteY1" fmla="*/ 38850 h 123825"/>
                <a:gd name="connsiteX2" fmla="*/ 33623 w 209550"/>
                <a:gd name="connsiteY2" fmla="*/ 32087 h 123825"/>
                <a:gd name="connsiteX3" fmla="*/ 47054 w 209550"/>
                <a:gd name="connsiteY3" fmla="*/ 18657 h 123825"/>
                <a:gd name="connsiteX4" fmla="*/ 74009 w 209550"/>
                <a:gd name="connsiteY4" fmla="*/ 18657 h 123825"/>
                <a:gd name="connsiteX5" fmla="*/ 87440 w 209550"/>
                <a:gd name="connsiteY5" fmla="*/ 5227 h 123825"/>
                <a:gd name="connsiteX6" fmla="*/ 114395 w 209550"/>
                <a:gd name="connsiteY6" fmla="*/ 5227 h 123825"/>
                <a:gd name="connsiteX7" fmla="*/ 174974 w 209550"/>
                <a:gd name="connsiteY7" fmla="*/ 65806 h 123825"/>
                <a:gd name="connsiteX8" fmla="*/ 195167 w 209550"/>
                <a:gd name="connsiteY8" fmla="*/ 112955 h 123825"/>
                <a:gd name="connsiteX9" fmla="*/ 209836 w 209550"/>
                <a:gd name="connsiteY9" fmla="*/ 127623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550" h="123825">
                  <a:moveTo>
                    <a:pt x="0" y="52280"/>
                  </a:moveTo>
                  <a:lnTo>
                    <a:pt x="13430" y="38850"/>
                  </a:lnTo>
                  <a:cubicBezTo>
                    <a:pt x="17717" y="34564"/>
                    <a:pt x="27051" y="30659"/>
                    <a:pt x="33623" y="32087"/>
                  </a:cubicBezTo>
                  <a:lnTo>
                    <a:pt x="47054" y="18657"/>
                  </a:lnTo>
                  <a:cubicBezTo>
                    <a:pt x="53340" y="12371"/>
                    <a:pt x="66389" y="11037"/>
                    <a:pt x="74009" y="18657"/>
                  </a:cubicBezTo>
                  <a:lnTo>
                    <a:pt x="87440" y="5227"/>
                  </a:lnTo>
                  <a:cubicBezTo>
                    <a:pt x="93726" y="-1060"/>
                    <a:pt x="106775" y="-2393"/>
                    <a:pt x="114395" y="5227"/>
                  </a:cubicBezTo>
                  <a:lnTo>
                    <a:pt x="174974" y="65806"/>
                  </a:lnTo>
                  <a:cubicBezTo>
                    <a:pt x="188595" y="79427"/>
                    <a:pt x="186118" y="103906"/>
                    <a:pt x="195167" y="112955"/>
                  </a:cubicBezTo>
                  <a:lnTo>
                    <a:pt x="209836" y="127623"/>
                  </a:lnTo>
                </a:path>
              </a:pathLst>
            </a:custGeom>
            <a:noFill/>
            <a:ln w="9525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orma Livre: Forma 11">
              <a:extLst>
                <a:ext uri="{FF2B5EF4-FFF2-40B4-BE49-F238E27FC236}">
                  <a16:creationId xmlns:a16="http://schemas.microsoft.com/office/drawing/2014/main" id="{B0906087-3DBC-B071-F517-EF910E459CCE}"/>
                </a:ext>
              </a:extLst>
            </p:cNvPr>
            <p:cNvSpPr/>
            <p:nvPr/>
          </p:nvSpPr>
          <p:spPr>
            <a:xfrm>
              <a:off x="12971333" y="6116247"/>
              <a:ext cx="28575" cy="28575"/>
            </a:xfrm>
            <a:custGeom>
              <a:avLst/>
              <a:gdLst>
                <a:gd name="connsiteX0" fmla="*/ 0 w 28575"/>
                <a:gd name="connsiteY0" fmla="*/ 0 h 28575"/>
                <a:gd name="connsiteX1" fmla="*/ 33718 w 28575"/>
                <a:gd name="connsiteY1" fmla="*/ 33623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" h="28575">
                  <a:moveTo>
                    <a:pt x="0" y="0"/>
                  </a:moveTo>
                  <a:lnTo>
                    <a:pt x="33718" y="33623"/>
                  </a:lnTo>
                </a:path>
              </a:pathLst>
            </a:custGeom>
            <a:ln w="9525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orma Livre: Forma 12">
              <a:extLst>
                <a:ext uri="{FF2B5EF4-FFF2-40B4-BE49-F238E27FC236}">
                  <a16:creationId xmlns:a16="http://schemas.microsoft.com/office/drawing/2014/main" id="{9098894C-C65D-11A0-76E4-9DF4D5EACE46}"/>
                </a:ext>
              </a:extLst>
            </p:cNvPr>
            <p:cNvSpPr/>
            <p:nvPr/>
          </p:nvSpPr>
          <p:spPr>
            <a:xfrm>
              <a:off x="13011719" y="6102721"/>
              <a:ext cx="19050" cy="19050"/>
            </a:xfrm>
            <a:custGeom>
              <a:avLst/>
              <a:gdLst>
                <a:gd name="connsiteX0" fmla="*/ 0 w 19050"/>
                <a:gd name="connsiteY0" fmla="*/ 0 h 19050"/>
                <a:gd name="connsiteX1" fmla="*/ 26956 w 19050"/>
                <a:gd name="connsiteY1" fmla="*/ 26956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050" h="19050">
                  <a:moveTo>
                    <a:pt x="0" y="0"/>
                  </a:moveTo>
                  <a:lnTo>
                    <a:pt x="26956" y="26956"/>
                  </a:lnTo>
                </a:path>
              </a:pathLst>
            </a:custGeom>
            <a:ln w="9525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orma Livre: Forma 13">
              <a:extLst>
                <a:ext uri="{FF2B5EF4-FFF2-40B4-BE49-F238E27FC236}">
                  <a16:creationId xmlns:a16="http://schemas.microsoft.com/office/drawing/2014/main" id="{C2A99416-F569-05CC-C41D-DE86C42A5FE8}"/>
                </a:ext>
              </a:extLst>
            </p:cNvPr>
            <p:cNvSpPr/>
            <p:nvPr/>
          </p:nvSpPr>
          <p:spPr>
            <a:xfrm>
              <a:off x="12864569" y="6090386"/>
              <a:ext cx="200025" cy="228600"/>
            </a:xfrm>
            <a:custGeom>
              <a:avLst/>
              <a:gdLst>
                <a:gd name="connsiteX0" fmla="*/ 113527 w 200025"/>
                <a:gd name="connsiteY0" fmla="*/ 86440 h 228600"/>
                <a:gd name="connsiteX1" fmla="*/ 32659 w 200025"/>
                <a:gd name="connsiteY1" fmla="*/ 5572 h 228600"/>
                <a:gd name="connsiteX2" fmla="*/ 5704 w 200025"/>
                <a:gd name="connsiteY2" fmla="*/ 5572 h 228600"/>
                <a:gd name="connsiteX3" fmla="*/ 5513 w 200025"/>
                <a:gd name="connsiteY3" fmla="*/ 32338 h 228600"/>
                <a:gd name="connsiteX4" fmla="*/ 108383 w 200025"/>
                <a:gd name="connsiteY4" fmla="*/ 135208 h 228600"/>
                <a:gd name="connsiteX5" fmla="*/ 106192 w 200025"/>
                <a:gd name="connsiteY5" fmla="*/ 140065 h 228600"/>
                <a:gd name="connsiteX6" fmla="*/ 59615 w 200025"/>
                <a:gd name="connsiteY6" fmla="*/ 140351 h 228600"/>
                <a:gd name="connsiteX7" fmla="*/ 41041 w 200025"/>
                <a:gd name="connsiteY7" fmla="*/ 156639 h 228600"/>
                <a:gd name="connsiteX8" fmla="*/ 57901 w 200025"/>
                <a:gd name="connsiteY8" fmla="*/ 180737 h 228600"/>
                <a:gd name="connsiteX9" fmla="*/ 153913 w 200025"/>
                <a:gd name="connsiteY9" fmla="*/ 194263 h 228600"/>
                <a:gd name="connsiteX10" fmla="*/ 174106 w 200025"/>
                <a:gd name="connsiteY10" fmla="*/ 201025 h 228600"/>
                <a:gd name="connsiteX11" fmla="*/ 207824 w 200025"/>
                <a:gd name="connsiteY11" fmla="*/ 234744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0025" h="228600">
                  <a:moveTo>
                    <a:pt x="113527" y="86440"/>
                  </a:moveTo>
                  <a:lnTo>
                    <a:pt x="32659" y="5572"/>
                  </a:lnTo>
                  <a:cubicBezTo>
                    <a:pt x="25325" y="-1952"/>
                    <a:pt x="13228" y="-1762"/>
                    <a:pt x="5704" y="5572"/>
                  </a:cubicBezTo>
                  <a:cubicBezTo>
                    <a:pt x="-1821" y="12907"/>
                    <a:pt x="-1916" y="24813"/>
                    <a:pt x="5513" y="32338"/>
                  </a:cubicBezTo>
                  <a:cubicBezTo>
                    <a:pt x="5513" y="32338"/>
                    <a:pt x="86476" y="113300"/>
                    <a:pt x="108383" y="135208"/>
                  </a:cubicBezTo>
                  <a:cubicBezTo>
                    <a:pt x="110193" y="137017"/>
                    <a:pt x="108764" y="140161"/>
                    <a:pt x="106192" y="140065"/>
                  </a:cubicBezTo>
                  <a:cubicBezTo>
                    <a:pt x="95905" y="139399"/>
                    <a:pt x="72950" y="137875"/>
                    <a:pt x="59615" y="140351"/>
                  </a:cubicBezTo>
                  <a:cubicBezTo>
                    <a:pt x="51138" y="141875"/>
                    <a:pt x="43994" y="148447"/>
                    <a:pt x="41041" y="156639"/>
                  </a:cubicBezTo>
                  <a:cubicBezTo>
                    <a:pt x="36946" y="168164"/>
                    <a:pt x="45709" y="180166"/>
                    <a:pt x="57901" y="180737"/>
                  </a:cubicBezTo>
                  <a:cubicBezTo>
                    <a:pt x="94572" y="182642"/>
                    <a:pt x="119908" y="195596"/>
                    <a:pt x="153913" y="194263"/>
                  </a:cubicBezTo>
                  <a:cubicBezTo>
                    <a:pt x="168105" y="194263"/>
                    <a:pt x="170296" y="197215"/>
                    <a:pt x="174106" y="201025"/>
                  </a:cubicBezTo>
                  <a:cubicBezTo>
                    <a:pt x="177916" y="204835"/>
                    <a:pt x="207824" y="234744"/>
                    <a:pt x="207824" y="234744"/>
                  </a:cubicBezTo>
                </a:path>
              </a:pathLst>
            </a:custGeom>
            <a:noFill/>
            <a:ln w="9525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orma Livre: Forma 14">
              <a:extLst>
                <a:ext uri="{FF2B5EF4-FFF2-40B4-BE49-F238E27FC236}">
                  <a16:creationId xmlns:a16="http://schemas.microsoft.com/office/drawing/2014/main" id="{01BDBB96-60E6-B63C-B0F0-84F7809F86C4}"/>
                </a:ext>
              </a:extLst>
            </p:cNvPr>
            <p:cNvSpPr/>
            <p:nvPr/>
          </p:nvSpPr>
          <p:spPr>
            <a:xfrm>
              <a:off x="12810075" y="6036713"/>
              <a:ext cx="123825" cy="133350"/>
            </a:xfrm>
            <a:custGeom>
              <a:avLst/>
              <a:gdLst>
                <a:gd name="connsiteX0" fmla="*/ 66675 w 123825"/>
                <a:gd name="connsiteY0" fmla="*/ 133350 h 133350"/>
                <a:gd name="connsiteX1" fmla="*/ 0 w 123825"/>
                <a:gd name="connsiteY1" fmla="*/ 66675 h 133350"/>
                <a:gd name="connsiteX2" fmla="*/ 66675 w 123825"/>
                <a:gd name="connsiteY2" fmla="*/ 0 h 133350"/>
                <a:gd name="connsiteX3" fmla="*/ 130493 w 123825"/>
                <a:gd name="connsiteY3" fmla="*/ 47339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825" h="133350">
                  <a:moveTo>
                    <a:pt x="66675" y="133350"/>
                  </a:moveTo>
                  <a:cubicBezTo>
                    <a:pt x="29813" y="133350"/>
                    <a:pt x="0" y="103537"/>
                    <a:pt x="0" y="66675"/>
                  </a:cubicBezTo>
                  <a:cubicBezTo>
                    <a:pt x="0" y="29813"/>
                    <a:pt x="29813" y="0"/>
                    <a:pt x="66675" y="0"/>
                  </a:cubicBezTo>
                  <a:cubicBezTo>
                    <a:pt x="96774" y="0"/>
                    <a:pt x="122206" y="19907"/>
                    <a:pt x="130493" y="47339"/>
                  </a:cubicBezTo>
                </a:path>
              </a:pathLst>
            </a:custGeom>
            <a:noFill/>
            <a:ln w="9525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orma Livre: Forma 62">
              <a:extLst>
                <a:ext uri="{FF2B5EF4-FFF2-40B4-BE49-F238E27FC236}">
                  <a16:creationId xmlns:a16="http://schemas.microsoft.com/office/drawing/2014/main" id="{3DA0C7F6-95DB-A765-0F36-995EC51B6A75}"/>
                </a:ext>
              </a:extLst>
            </p:cNvPr>
            <p:cNvSpPr/>
            <p:nvPr/>
          </p:nvSpPr>
          <p:spPr>
            <a:xfrm>
              <a:off x="12762450" y="5989088"/>
              <a:ext cx="219075" cy="228600"/>
            </a:xfrm>
            <a:custGeom>
              <a:avLst/>
              <a:gdLst>
                <a:gd name="connsiteX0" fmla="*/ 114300 w 219075"/>
                <a:gd name="connsiteY0" fmla="*/ 228600 h 228600"/>
                <a:gd name="connsiteX1" fmla="*/ 0 w 219075"/>
                <a:gd name="connsiteY1" fmla="*/ 114300 h 228600"/>
                <a:gd name="connsiteX2" fmla="*/ 114300 w 219075"/>
                <a:gd name="connsiteY2" fmla="*/ 0 h 228600"/>
                <a:gd name="connsiteX3" fmla="*/ 222314 w 219075"/>
                <a:gd name="connsiteY3" fmla="*/ 76962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075" h="228600">
                  <a:moveTo>
                    <a:pt x="114300" y="228600"/>
                  </a:moveTo>
                  <a:cubicBezTo>
                    <a:pt x="51149" y="228600"/>
                    <a:pt x="0" y="177451"/>
                    <a:pt x="0" y="114300"/>
                  </a:cubicBezTo>
                  <a:cubicBezTo>
                    <a:pt x="0" y="51149"/>
                    <a:pt x="51149" y="0"/>
                    <a:pt x="114300" y="0"/>
                  </a:cubicBezTo>
                  <a:cubicBezTo>
                    <a:pt x="164306" y="0"/>
                    <a:pt x="206883" y="32195"/>
                    <a:pt x="222314" y="76962"/>
                  </a:cubicBezTo>
                </a:path>
              </a:pathLst>
            </a:custGeom>
            <a:noFill/>
            <a:ln w="9525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orma Livre: Forma 63">
              <a:extLst>
                <a:ext uri="{FF2B5EF4-FFF2-40B4-BE49-F238E27FC236}">
                  <a16:creationId xmlns:a16="http://schemas.microsoft.com/office/drawing/2014/main" id="{889957F5-6AD4-584B-942B-9F8685030CC7}"/>
                </a:ext>
              </a:extLst>
            </p:cNvPr>
            <p:cNvSpPr/>
            <p:nvPr/>
          </p:nvSpPr>
          <p:spPr>
            <a:xfrm>
              <a:off x="12714825" y="5941463"/>
              <a:ext cx="314325" cy="323850"/>
            </a:xfrm>
            <a:custGeom>
              <a:avLst/>
              <a:gdLst>
                <a:gd name="connsiteX0" fmla="*/ 161925 w 314325"/>
                <a:gd name="connsiteY0" fmla="*/ 323850 h 323850"/>
                <a:gd name="connsiteX1" fmla="*/ 0 w 314325"/>
                <a:gd name="connsiteY1" fmla="*/ 161925 h 323850"/>
                <a:gd name="connsiteX2" fmla="*/ 161925 w 314325"/>
                <a:gd name="connsiteY2" fmla="*/ 0 h 323850"/>
                <a:gd name="connsiteX3" fmla="*/ 314325 w 314325"/>
                <a:gd name="connsiteY3" fmla="*/ 107156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323850">
                  <a:moveTo>
                    <a:pt x="161925" y="323850"/>
                  </a:moveTo>
                  <a:cubicBezTo>
                    <a:pt x="72485" y="323850"/>
                    <a:pt x="0" y="251365"/>
                    <a:pt x="0" y="161925"/>
                  </a:cubicBezTo>
                  <a:cubicBezTo>
                    <a:pt x="0" y="72485"/>
                    <a:pt x="72485" y="0"/>
                    <a:pt x="161925" y="0"/>
                  </a:cubicBezTo>
                  <a:cubicBezTo>
                    <a:pt x="232124" y="0"/>
                    <a:pt x="291941" y="44672"/>
                    <a:pt x="314325" y="107156"/>
                  </a:cubicBezTo>
                </a:path>
              </a:pathLst>
            </a:custGeom>
            <a:noFill/>
            <a:ln w="9525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5" name="Agrupar 64">
            <a:extLst>
              <a:ext uri="{FF2B5EF4-FFF2-40B4-BE49-F238E27FC236}">
                <a16:creationId xmlns:a16="http://schemas.microsoft.com/office/drawing/2014/main" id="{C7B28C50-AC94-6A31-4A52-50334309CC07}"/>
              </a:ext>
            </a:extLst>
          </p:cNvPr>
          <p:cNvGrpSpPr>
            <a:grpSpLocks noChangeAspect="1"/>
          </p:cNvGrpSpPr>
          <p:nvPr/>
        </p:nvGrpSpPr>
        <p:grpSpPr>
          <a:xfrm>
            <a:off x="1073238" y="5868328"/>
            <a:ext cx="286771" cy="255600"/>
            <a:chOff x="7790938" y="6751995"/>
            <a:chExt cx="438150" cy="390525"/>
          </a:xfrm>
        </p:grpSpPr>
        <p:sp>
          <p:nvSpPr>
            <p:cNvPr id="66" name="Forma Livre: Forma 65">
              <a:extLst>
                <a:ext uri="{FF2B5EF4-FFF2-40B4-BE49-F238E27FC236}">
                  <a16:creationId xmlns:a16="http://schemas.microsoft.com/office/drawing/2014/main" id="{3E48DDD1-9FD1-4E17-A855-D0971949C80F}"/>
                </a:ext>
              </a:extLst>
            </p:cNvPr>
            <p:cNvSpPr/>
            <p:nvPr/>
          </p:nvSpPr>
          <p:spPr>
            <a:xfrm>
              <a:off x="7790938" y="6751995"/>
              <a:ext cx="438150" cy="95250"/>
            </a:xfrm>
            <a:custGeom>
              <a:avLst/>
              <a:gdLst>
                <a:gd name="connsiteX0" fmla="*/ 438150 w 438150"/>
                <a:gd name="connsiteY0" fmla="*/ 95250 h 95250"/>
                <a:gd name="connsiteX1" fmla="*/ 219075 w 438150"/>
                <a:gd name="connsiteY1" fmla="*/ 0 h 95250"/>
                <a:gd name="connsiteX2" fmla="*/ 0 w 438150"/>
                <a:gd name="connsiteY2" fmla="*/ 95250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38150" h="95250">
                  <a:moveTo>
                    <a:pt x="438150" y="95250"/>
                  </a:moveTo>
                  <a:lnTo>
                    <a:pt x="219075" y="0"/>
                  </a:lnTo>
                  <a:lnTo>
                    <a:pt x="0" y="95250"/>
                  </a:lnTo>
                </a:path>
              </a:pathLst>
            </a:custGeom>
            <a:noFill/>
            <a:ln w="9525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orma Livre: Forma 66">
              <a:extLst>
                <a:ext uri="{FF2B5EF4-FFF2-40B4-BE49-F238E27FC236}">
                  <a16:creationId xmlns:a16="http://schemas.microsoft.com/office/drawing/2014/main" id="{C0DB06C8-E6A5-3946-F61A-641601450E54}"/>
                </a:ext>
              </a:extLst>
            </p:cNvPr>
            <p:cNvSpPr/>
            <p:nvPr/>
          </p:nvSpPr>
          <p:spPr>
            <a:xfrm>
              <a:off x="7800463" y="6885345"/>
              <a:ext cx="419100" cy="9525"/>
            </a:xfrm>
            <a:custGeom>
              <a:avLst/>
              <a:gdLst>
                <a:gd name="connsiteX0" fmla="*/ 419100 w 419100"/>
                <a:gd name="connsiteY0" fmla="*/ 0 h 0"/>
                <a:gd name="connsiteX1" fmla="*/ 0 w 4191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9100">
                  <a:moveTo>
                    <a:pt x="419100" y="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orma Livre: Forma 67">
              <a:extLst>
                <a:ext uri="{FF2B5EF4-FFF2-40B4-BE49-F238E27FC236}">
                  <a16:creationId xmlns:a16="http://schemas.microsoft.com/office/drawing/2014/main" id="{1FF5411F-0FBD-BE3B-9C34-AB369F9AC0EA}"/>
                </a:ext>
              </a:extLst>
            </p:cNvPr>
            <p:cNvSpPr/>
            <p:nvPr/>
          </p:nvSpPr>
          <p:spPr>
            <a:xfrm>
              <a:off x="7809988" y="6923445"/>
              <a:ext cx="57150" cy="180975"/>
            </a:xfrm>
            <a:custGeom>
              <a:avLst/>
              <a:gdLst>
                <a:gd name="connsiteX0" fmla="*/ 57150 w 57150"/>
                <a:gd name="connsiteY0" fmla="*/ 142875 h 180975"/>
                <a:gd name="connsiteX1" fmla="*/ 57150 w 57150"/>
                <a:gd name="connsiteY1" fmla="*/ 0 h 180975"/>
                <a:gd name="connsiteX2" fmla="*/ 0 w 57150"/>
                <a:gd name="connsiteY2" fmla="*/ 0 h 180975"/>
                <a:gd name="connsiteX3" fmla="*/ 0 w 57150"/>
                <a:gd name="connsiteY3" fmla="*/ 180975 h 18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" h="180975">
                  <a:moveTo>
                    <a:pt x="57150" y="142875"/>
                  </a:moveTo>
                  <a:lnTo>
                    <a:pt x="57150" y="0"/>
                  </a:lnTo>
                  <a:lnTo>
                    <a:pt x="0" y="0"/>
                  </a:lnTo>
                  <a:lnTo>
                    <a:pt x="0" y="180975"/>
                  </a:lnTo>
                </a:path>
              </a:pathLst>
            </a:custGeom>
            <a:noFill/>
            <a:ln w="9525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orma Livre: Forma 68">
              <a:extLst>
                <a:ext uri="{FF2B5EF4-FFF2-40B4-BE49-F238E27FC236}">
                  <a16:creationId xmlns:a16="http://schemas.microsoft.com/office/drawing/2014/main" id="{EFB561D1-0D5C-D1B6-C588-F3515953E707}"/>
                </a:ext>
              </a:extLst>
            </p:cNvPr>
            <p:cNvSpPr/>
            <p:nvPr/>
          </p:nvSpPr>
          <p:spPr>
            <a:xfrm>
              <a:off x="7848088" y="7094895"/>
              <a:ext cx="323850" cy="9525"/>
            </a:xfrm>
            <a:custGeom>
              <a:avLst/>
              <a:gdLst>
                <a:gd name="connsiteX0" fmla="*/ 0 w 323850"/>
                <a:gd name="connsiteY0" fmla="*/ 0 h 0"/>
                <a:gd name="connsiteX1" fmla="*/ 323850 w 32385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3850">
                  <a:moveTo>
                    <a:pt x="0" y="0"/>
                  </a:moveTo>
                  <a:lnTo>
                    <a:pt x="323850" y="0"/>
                  </a:lnTo>
                </a:path>
              </a:pathLst>
            </a:custGeom>
            <a:ln w="9525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orma Livre: Forma 69">
              <a:extLst>
                <a:ext uri="{FF2B5EF4-FFF2-40B4-BE49-F238E27FC236}">
                  <a16:creationId xmlns:a16="http://schemas.microsoft.com/office/drawing/2014/main" id="{7A9012AD-88EC-4621-70A0-C266F2A10353}"/>
                </a:ext>
              </a:extLst>
            </p:cNvPr>
            <p:cNvSpPr/>
            <p:nvPr/>
          </p:nvSpPr>
          <p:spPr>
            <a:xfrm>
              <a:off x="7800463" y="7132995"/>
              <a:ext cx="419100" cy="9525"/>
            </a:xfrm>
            <a:custGeom>
              <a:avLst/>
              <a:gdLst>
                <a:gd name="connsiteX0" fmla="*/ 0 w 419100"/>
                <a:gd name="connsiteY0" fmla="*/ 0 h 0"/>
                <a:gd name="connsiteX1" fmla="*/ 419100 w 4191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9100">
                  <a:moveTo>
                    <a:pt x="0" y="0"/>
                  </a:moveTo>
                  <a:lnTo>
                    <a:pt x="419100" y="0"/>
                  </a:lnTo>
                </a:path>
              </a:pathLst>
            </a:custGeom>
            <a:ln w="9525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orma Livre: Forma 70">
              <a:extLst>
                <a:ext uri="{FF2B5EF4-FFF2-40B4-BE49-F238E27FC236}">
                  <a16:creationId xmlns:a16="http://schemas.microsoft.com/office/drawing/2014/main" id="{5F5E94F9-8320-7F8F-12EC-F5D215601F57}"/>
                </a:ext>
              </a:extLst>
            </p:cNvPr>
            <p:cNvSpPr/>
            <p:nvPr/>
          </p:nvSpPr>
          <p:spPr>
            <a:xfrm>
              <a:off x="7981438" y="6799620"/>
              <a:ext cx="57150" cy="57150"/>
            </a:xfrm>
            <a:custGeom>
              <a:avLst/>
              <a:gdLst>
                <a:gd name="connsiteX0" fmla="*/ 57150 w 57150"/>
                <a:gd name="connsiteY0" fmla="*/ 28575 h 57150"/>
                <a:gd name="connsiteX1" fmla="*/ 28575 w 57150"/>
                <a:gd name="connsiteY1" fmla="*/ 57150 h 57150"/>
                <a:gd name="connsiteX2" fmla="*/ 0 w 57150"/>
                <a:gd name="connsiteY2" fmla="*/ 28575 h 57150"/>
                <a:gd name="connsiteX3" fmla="*/ 28575 w 57150"/>
                <a:gd name="connsiteY3" fmla="*/ 0 h 57150"/>
                <a:gd name="connsiteX4" fmla="*/ 57150 w 57150"/>
                <a:gd name="connsiteY4" fmla="*/ 28575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57150">
                  <a:moveTo>
                    <a:pt x="57150" y="28575"/>
                  </a:moveTo>
                  <a:cubicBezTo>
                    <a:pt x="57150" y="44357"/>
                    <a:pt x="44357" y="57150"/>
                    <a:pt x="28575" y="57150"/>
                  </a:cubicBezTo>
                  <a:cubicBezTo>
                    <a:pt x="12793" y="57150"/>
                    <a:pt x="0" y="44357"/>
                    <a:pt x="0" y="28575"/>
                  </a:cubicBezTo>
                  <a:cubicBezTo>
                    <a:pt x="0" y="12793"/>
                    <a:pt x="12793" y="0"/>
                    <a:pt x="28575" y="0"/>
                  </a:cubicBezTo>
                  <a:cubicBezTo>
                    <a:pt x="44357" y="0"/>
                    <a:pt x="57150" y="12793"/>
                    <a:pt x="57150" y="28575"/>
                  </a:cubicBezTo>
                  <a:close/>
                </a:path>
              </a:pathLst>
            </a:custGeom>
            <a:noFill/>
            <a:ln w="9525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orma Livre: Forma 71">
              <a:extLst>
                <a:ext uri="{FF2B5EF4-FFF2-40B4-BE49-F238E27FC236}">
                  <a16:creationId xmlns:a16="http://schemas.microsoft.com/office/drawing/2014/main" id="{3985CD0D-609B-F58F-9FC9-962FE7AA89D7}"/>
                </a:ext>
              </a:extLst>
            </p:cNvPr>
            <p:cNvSpPr/>
            <p:nvPr/>
          </p:nvSpPr>
          <p:spPr>
            <a:xfrm>
              <a:off x="7809988" y="6971070"/>
              <a:ext cx="28575" cy="9525"/>
            </a:xfrm>
            <a:custGeom>
              <a:avLst/>
              <a:gdLst>
                <a:gd name="connsiteX0" fmla="*/ 0 w 28575"/>
                <a:gd name="connsiteY0" fmla="*/ 0 h 0"/>
                <a:gd name="connsiteX1" fmla="*/ 28575 w 2857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">
                  <a:moveTo>
                    <a:pt x="0" y="0"/>
                  </a:moveTo>
                  <a:lnTo>
                    <a:pt x="28575" y="0"/>
                  </a:lnTo>
                </a:path>
              </a:pathLst>
            </a:custGeom>
            <a:ln w="9525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orma Livre: Forma 72">
              <a:extLst>
                <a:ext uri="{FF2B5EF4-FFF2-40B4-BE49-F238E27FC236}">
                  <a16:creationId xmlns:a16="http://schemas.microsoft.com/office/drawing/2014/main" id="{0B48C9AB-FA16-E3DE-F3C2-8561FD61A075}"/>
                </a:ext>
              </a:extLst>
            </p:cNvPr>
            <p:cNvSpPr/>
            <p:nvPr/>
          </p:nvSpPr>
          <p:spPr>
            <a:xfrm>
              <a:off x="7809988" y="7018695"/>
              <a:ext cx="28575" cy="9525"/>
            </a:xfrm>
            <a:custGeom>
              <a:avLst/>
              <a:gdLst>
                <a:gd name="connsiteX0" fmla="*/ 0 w 28575"/>
                <a:gd name="connsiteY0" fmla="*/ 0 h 0"/>
                <a:gd name="connsiteX1" fmla="*/ 28575 w 2857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">
                  <a:moveTo>
                    <a:pt x="0" y="0"/>
                  </a:moveTo>
                  <a:lnTo>
                    <a:pt x="28575" y="0"/>
                  </a:lnTo>
                </a:path>
              </a:pathLst>
            </a:custGeom>
            <a:ln w="9525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orma Livre: Forma 73">
              <a:extLst>
                <a:ext uri="{FF2B5EF4-FFF2-40B4-BE49-F238E27FC236}">
                  <a16:creationId xmlns:a16="http://schemas.microsoft.com/office/drawing/2014/main" id="{A8C9B121-117D-B7FF-FA97-DE76C91811CB}"/>
                </a:ext>
              </a:extLst>
            </p:cNvPr>
            <p:cNvSpPr/>
            <p:nvPr/>
          </p:nvSpPr>
          <p:spPr>
            <a:xfrm>
              <a:off x="7809988" y="7066320"/>
              <a:ext cx="28575" cy="9525"/>
            </a:xfrm>
            <a:custGeom>
              <a:avLst/>
              <a:gdLst>
                <a:gd name="connsiteX0" fmla="*/ 0 w 28575"/>
                <a:gd name="connsiteY0" fmla="*/ 0 h 0"/>
                <a:gd name="connsiteX1" fmla="*/ 28575 w 2857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">
                  <a:moveTo>
                    <a:pt x="0" y="0"/>
                  </a:moveTo>
                  <a:lnTo>
                    <a:pt x="28575" y="0"/>
                  </a:lnTo>
                </a:path>
              </a:pathLst>
            </a:custGeom>
            <a:ln w="9525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orma Livre: Forma 74">
              <a:extLst>
                <a:ext uri="{FF2B5EF4-FFF2-40B4-BE49-F238E27FC236}">
                  <a16:creationId xmlns:a16="http://schemas.microsoft.com/office/drawing/2014/main" id="{1DA0F9D2-8308-FB6C-625A-6B8A879FB0D6}"/>
                </a:ext>
              </a:extLst>
            </p:cNvPr>
            <p:cNvSpPr/>
            <p:nvPr/>
          </p:nvSpPr>
          <p:spPr>
            <a:xfrm>
              <a:off x="8152888" y="6923445"/>
              <a:ext cx="57150" cy="180975"/>
            </a:xfrm>
            <a:custGeom>
              <a:avLst/>
              <a:gdLst>
                <a:gd name="connsiteX0" fmla="*/ 0 w 57150"/>
                <a:gd name="connsiteY0" fmla="*/ 142875 h 180975"/>
                <a:gd name="connsiteX1" fmla="*/ 0 w 57150"/>
                <a:gd name="connsiteY1" fmla="*/ 0 h 180975"/>
                <a:gd name="connsiteX2" fmla="*/ 57150 w 57150"/>
                <a:gd name="connsiteY2" fmla="*/ 0 h 180975"/>
                <a:gd name="connsiteX3" fmla="*/ 57150 w 57150"/>
                <a:gd name="connsiteY3" fmla="*/ 180975 h 18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" h="180975">
                  <a:moveTo>
                    <a:pt x="0" y="142875"/>
                  </a:moveTo>
                  <a:lnTo>
                    <a:pt x="0" y="0"/>
                  </a:lnTo>
                  <a:lnTo>
                    <a:pt x="57150" y="0"/>
                  </a:lnTo>
                  <a:lnTo>
                    <a:pt x="57150" y="180975"/>
                  </a:lnTo>
                </a:path>
              </a:pathLst>
            </a:custGeom>
            <a:noFill/>
            <a:ln w="9525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orma Livre: Forma 75">
              <a:extLst>
                <a:ext uri="{FF2B5EF4-FFF2-40B4-BE49-F238E27FC236}">
                  <a16:creationId xmlns:a16="http://schemas.microsoft.com/office/drawing/2014/main" id="{68BE0FBF-242B-FEB6-2192-AF9A6D85ED64}"/>
                </a:ext>
              </a:extLst>
            </p:cNvPr>
            <p:cNvSpPr/>
            <p:nvPr/>
          </p:nvSpPr>
          <p:spPr>
            <a:xfrm>
              <a:off x="8181463" y="6971070"/>
              <a:ext cx="28575" cy="9525"/>
            </a:xfrm>
            <a:custGeom>
              <a:avLst/>
              <a:gdLst>
                <a:gd name="connsiteX0" fmla="*/ 28575 w 28575"/>
                <a:gd name="connsiteY0" fmla="*/ 0 h 0"/>
                <a:gd name="connsiteX1" fmla="*/ 0 w 2857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">
                  <a:moveTo>
                    <a:pt x="28575" y="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orma Livre: Forma 76">
              <a:extLst>
                <a:ext uri="{FF2B5EF4-FFF2-40B4-BE49-F238E27FC236}">
                  <a16:creationId xmlns:a16="http://schemas.microsoft.com/office/drawing/2014/main" id="{D0BC18E9-8781-3D48-64DD-502BD36D9B29}"/>
                </a:ext>
              </a:extLst>
            </p:cNvPr>
            <p:cNvSpPr/>
            <p:nvPr/>
          </p:nvSpPr>
          <p:spPr>
            <a:xfrm>
              <a:off x="8181463" y="7018695"/>
              <a:ext cx="28575" cy="9525"/>
            </a:xfrm>
            <a:custGeom>
              <a:avLst/>
              <a:gdLst>
                <a:gd name="connsiteX0" fmla="*/ 28575 w 28575"/>
                <a:gd name="connsiteY0" fmla="*/ 0 h 0"/>
                <a:gd name="connsiteX1" fmla="*/ 0 w 2857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">
                  <a:moveTo>
                    <a:pt x="28575" y="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orma Livre: Forma 77">
              <a:extLst>
                <a:ext uri="{FF2B5EF4-FFF2-40B4-BE49-F238E27FC236}">
                  <a16:creationId xmlns:a16="http://schemas.microsoft.com/office/drawing/2014/main" id="{C21A345D-E512-627E-C5DF-B6AFB84C0113}"/>
                </a:ext>
              </a:extLst>
            </p:cNvPr>
            <p:cNvSpPr/>
            <p:nvPr/>
          </p:nvSpPr>
          <p:spPr>
            <a:xfrm>
              <a:off x="8181463" y="7066320"/>
              <a:ext cx="28575" cy="9525"/>
            </a:xfrm>
            <a:custGeom>
              <a:avLst/>
              <a:gdLst>
                <a:gd name="connsiteX0" fmla="*/ 28575 w 28575"/>
                <a:gd name="connsiteY0" fmla="*/ 0 h 0"/>
                <a:gd name="connsiteX1" fmla="*/ 0 w 2857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">
                  <a:moveTo>
                    <a:pt x="28575" y="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orma Livre: Forma 78">
              <a:extLst>
                <a:ext uri="{FF2B5EF4-FFF2-40B4-BE49-F238E27FC236}">
                  <a16:creationId xmlns:a16="http://schemas.microsoft.com/office/drawing/2014/main" id="{1BEB2C5F-B8F9-03C4-158B-EE2F2635A738}"/>
                </a:ext>
              </a:extLst>
            </p:cNvPr>
            <p:cNvSpPr/>
            <p:nvPr/>
          </p:nvSpPr>
          <p:spPr>
            <a:xfrm>
              <a:off x="7905238" y="6923445"/>
              <a:ext cx="38100" cy="142875"/>
            </a:xfrm>
            <a:custGeom>
              <a:avLst/>
              <a:gdLst>
                <a:gd name="connsiteX0" fmla="*/ 0 w 38100"/>
                <a:gd name="connsiteY0" fmla="*/ 142875 h 142875"/>
                <a:gd name="connsiteX1" fmla="*/ 0 w 38100"/>
                <a:gd name="connsiteY1" fmla="*/ 19050 h 142875"/>
                <a:gd name="connsiteX2" fmla="*/ 19050 w 38100"/>
                <a:gd name="connsiteY2" fmla="*/ 0 h 142875"/>
                <a:gd name="connsiteX3" fmla="*/ 38100 w 38100"/>
                <a:gd name="connsiteY3" fmla="*/ 19050 h 142875"/>
                <a:gd name="connsiteX4" fmla="*/ 38100 w 38100"/>
                <a:gd name="connsiteY4" fmla="*/ 142875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142875">
                  <a:moveTo>
                    <a:pt x="0" y="142875"/>
                  </a:moveTo>
                  <a:lnTo>
                    <a:pt x="0" y="19050"/>
                  </a:lnTo>
                  <a:cubicBezTo>
                    <a:pt x="0" y="8573"/>
                    <a:pt x="8573" y="0"/>
                    <a:pt x="19050" y="0"/>
                  </a:cubicBezTo>
                  <a:cubicBezTo>
                    <a:pt x="29527" y="0"/>
                    <a:pt x="38100" y="8573"/>
                    <a:pt x="38100" y="19050"/>
                  </a:cubicBezTo>
                  <a:lnTo>
                    <a:pt x="38100" y="142875"/>
                  </a:lnTo>
                </a:path>
              </a:pathLst>
            </a:custGeom>
            <a:noFill/>
            <a:ln w="9525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orma Livre: Forma 79">
              <a:extLst>
                <a:ext uri="{FF2B5EF4-FFF2-40B4-BE49-F238E27FC236}">
                  <a16:creationId xmlns:a16="http://schemas.microsoft.com/office/drawing/2014/main" id="{587D9DED-70C1-F693-1823-38961E2F4DBD}"/>
                </a:ext>
              </a:extLst>
            </p:cNvPr>
            <p:cNvSpPr/>
            <p:nvPr/>
          </p:nvSpPr>
          <p:spPr>
            <a:xfrm>
              <a:off x="7990963" y="6923445"/>
              <a:ext cx="38100" cy="142875"/>
            </a:xfrm>
            <a:custGeom>
              <a:avLst/>
              <a:gdLst>
                <a:gd name="connsiteX0" fmla="*/ 0 w 38100"/>
                <a:gd name="connsiteY0" fmla="*/ 142875 h 142875"/>
                <a:gd name="connsiteX1" fmla="*/ 0 w 38100"/>
                <a:gd name="connsiteY1" fmla="*/ 19050 h 142875"/>
                <a:gd name="connsiteX2" fmla="*/ 19050 w 38100"/>
                <a:gd name="connsiteY2" fmla="*/ 0 h 142875"/>
                <a:gd name="connsiteX3" fmla="*/ 38100 w 38100"/>
                <a:gd name="connsiteY3" fmla="*/ 19050 h 142875"/>
                <a:gd name="connsiteX4" fmla="*/ 38100 w 38100"/>
                <a:gd name="connsiteY4" fmla="*/ 142875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142875">
                  <a:moveTo>
                    <a:pt x="0" y="142875"/>
                  </a:moveTo>
                  <a:lnTo>
                    <a:pt x="0" y="19050"/>
                  </a:lnTo>
                  <a:cubicBezTo>
                    <a:pt x="0" y="8573"/>
                    <a:pt x="8573" y="0"/>
                    <a:pt x="19050" y="0"/>
                  </a:cubicBezTo>
                  <a:cubicBezTo>
                    <a:pt x="29527" y="0"/>
                    <a:pt x="38100" y="8573"/>
                    <a:pt x="38100" y="19050"/>
                  </a:cubicBezTo>
                  <a:lnTo>
                    <a:pt x="38100" y="142875"/>
                  </a:lnTo>
                </a:path>
              </a:pathLst>
            </a:custGeom>
            <a:noFill/>
            <a:ln w="9525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orma Livre: Forma 80">
              <a:extLst>
                <a:ext uri="{FF2B5EF4-FFF2-40B4-BE49-F238E27FC236}">
                  <a16:creationId xmlns:a16="http://schemas.microsoft.com/office/drawing/2014/main" id="{AAA50857-DF85-781B-C58F-3E4D70F0AE1D}"/>
                </a:ext>
              </a:extLst>
            </p:cNvPr>
            <p:cNvSpPr/>
            <p:nvPr/>
          </p:nvSpPr>
          <p:spPr>
            <a:xfrm>
              <a:off x="8076688" y="6923445"/>
              <a:ext cx="38100" cy="142875"/>
            </a:xfrm>
            <a:custGeom>
              <a:avLst/>
              <a:gdLst>
                <a:gd name="connsiteX0" fmla="*/ 0 w 38100"/>
                <a:gd name="connsiteY0" fmla="*/ 142875 h 142875"/>
                <a:gd name="connsiteX1" fmla="*/ 0 w 38100"/>
                <a:gd name="connsiteY1" fmla="*/ 19050 h 142875"/>
                <a:gd name="connsiteX2" fmla="*/ 19050 w 38100"/>
                <a:gd name="connsiteY2" fmla="*/ 0 h 142875"/>
                <a:gd name="connsiteX3" fmla="*/ 38100 w 38100"/>
                <a:gd name="connsiteY3" fmla="*/ 19050 h 142875"/>
                <a:gd name="connsiteX4" fmla="*/ 38100 w 38100"/>
                <a:gd name="connsiteY4" fmla="*/ 142875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142875">
                  <a:moveTo>
                    <a:pt x="0" y="142875"/>
                  </a:moveTo>
                  <a:lnTo>
                    <a:pt x="0" y="19050"/>
                  </a:lnTo>
                  <a:cubicBezTo>
                    <a:pt x="0" y="8573"/>
                    <a:pt x="8573" y="0"/>
                    <a:pt x="19050" y="0"/>
                  </a:cubicBezTo>
                  <a:cubicBezTo>
                    <a:pt x="29527" y="0"/>
                    <a:pt x="38100" y="8573"/>
                    <a:pt x="38100" y="19050"/>
                  </a:cubicBezTo>
                  <a:lnTo>
                    <a:pt x="38100" y="142875"/>
                  </a:lnTo>
                </a:path>
              </a:pathLst>
            </a:custGeom>
            <a:noFill/>
            <a:ln w="9525" cap="rnd">
              <a:solidFill>
                <a:srgbClr val="FE96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2" name="Forma">
            <a:extLst>
              <a:ext uri="{FF2B5EF4-FFF2-40B4-BE49-F238E27FC236}">
                <a16:creationId xmlns:a16="http://schemas.microsoft.com/office/drawing/2014/main" id="{F8CC0115-7DF1-08C6-BE43-50826DA78DDE}"/>
              </a:ext>
            </a:extLst>
          </p:cNvPr>
          <p:cNvSpPr>
            <a:spLocks noChangeAspect="1"/>
          </p:cNvSpPr>
          <p:nvPr/>
        </p:nvSpPr>
        <p:spPr>
          <a:xfrm>
            <a:off x="1120572" y="3626847"/>
            <a:ext cx="255900" cy="2556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43" y="4938"/>
                </a:moveTo>
                <a:cubicBezTo>
                  <a:pt x="17064" y="5360"/>
                  <a:pt x="17275" y="5875"/>
                  <a:pt x="17275" y="6483"/>
                </a:cubicBezTo>
                <a:cubicBezTo>
                  <a:pt x="17275" y="7074"/>
                  <a:pt x="17064" y="7580"/>
                  <a:pt x="16643" y="8002"/>
                </a:cubicBezTo>
                <a:cubicBezTo>
                  <a:pt x="16221" y="8424"/>
                  <a:pt x="15715" y="8635"/>
                  <a:pt x="15125" y="8635"/>
                </a:cubicBezTo>
                <a:cubicBezTo>
                  <a:pt x="14518" y="8635"/>
                  <a:pt x="14003" y="8424"/>
                  <a:pt x="13582" y="8002"/>
                </a:cubicBezTo>
                <a:cubicBezTo>
                  <a:pt x="13161" y="7580"/>
                  <a:pt x="12950" y="7074"/>
                  <a:pt x="12950" y="6483"/>
                </a:cubicBezTo>
                <a:cubicBezTo>
                  <a:pt x="12950" y="5875"/>
                  <a:pt x="13161" y="5360"/>
                  <a:pt x="13582" y="4938"/>
                </a:cubicBezTo>
                <a:cubicBezTo>
                  <a:pt x="14003" y="4516"/>
                  <a:pt x="14518" y="4305"/>
                  <a:pt x="15125" y="4305"/>
                </a:cubicBezTo>
                <a:cubicBezTo>
                  <a:pt x="15715" y="4305"/>
                  <a:pt x="16221" y="4516"/>
                  <a:pt x="16643" y="4938"/>
                </a:cubicBezTo>
                <a:lnTo>
                  <a:pt x="16643" y="4938"/>
                </a:lnTo>
                <a:close/>
                <a:moveTo>
                  <a:pt x="15871" y="7230"/>
                </a:moveTo>
                <a:cubicBezTo>
                  <a:pt x="16082" y="7019"/>
                  <a:pt x="16187" y="6770"/>
                  <a:pt x="16187" y="6483"/>
                </a:cubicBezTo>
                <a:cubicBezTo>
                  <a:pt x="16187" y="6179"/>
                  <a:pt x="16082" y="5921"/>
                  <a:pt x="15871" y="5710"/>
                </a:cubicBezTo>
                <a:cubicBezTo>
                  <a:pt x="15660" y="5499"/>
                  <a:pt x="15412" y="5394"/>
                  <a:pt x="15125" y="5394"/>
                </a:cubicBezTo>
                <a:cubicBezTo>
                  <a:pt x="14822" y="5394"/>
                  <a:pt x="14564" y="5499"/>
                  <a:pt x="14354" y="5710"/>
                </a:cubicBezTo>
                <a:cubicBezTo>
                  <a:pt x="14143" y="5921"/>
                  <a:pt x="14037" y="6179"/>
                  <a:pt x="14037" y="6483"/>
                </a:cubicBezTo>
                <a:cubicBezTo>
                  <a:pt x="14037" y="6770"/>
                  <a:pt x="14143" y="7019"/>
                  <a:pt x="14354" y="7230"/>
                </a:cubicBezTo>
                <a:cubicBezTo>
                  <a:pt x="14564" y="7441"/>
                  <a:pt x="14822" y="7546"/>
                  <a:pt x="15125" y="7546"/>
                </a:cubicBezTo>
                <a:cubicBezTo>
                  <a:pt x="15412" y="7546"/>
                  <a:pt x="15660" y="7441"/>
                  <a:pt x="15871" y="7230"/>
                </a:cubicBezTo>
                <a:lnTo>
                  <a:pt x="15871" y="7230"/>
                </a:lnTo>
                <a:close/>
                <a:moveTo>
                  <a:pt x="21094" y="3950"/>
                </a:moveTo>
                <a:cubicBezTo>
                  <a:pt x="21262" y="4355"/>
                  <a:pt x="21389" y="4769"/>
                  <a:pt x="21474" y="5191"/>
                </a:cubicBezTo>
                <a:cubicBezTo>
                  <a:pt x="21558" y="5613"/>
                  <a:pt x="21600" y="6044"/>
                  <a:pt x="21600" y="6483"/>
                </a:cubicBezTo>
                <a:cubicBezTo>
                  <a:pt x="21600" y="6922"/>
                  <a:pt x="21558" y="7352"/>
                  <a:pt x="21474" y="7774"/>
                </a:cubicBezTo>
                <a:cubicBezTo>
                  <a:pt x="21389" y="8196"/>
                  <a:pt x="21262" y="8601"/>
                  <a:pt x="21094" y="8989"/>
                </a:cubicBezTo>
                <a:cubicBezTo>
                  <a:pt x="20925" y="9378"/>
                  <a:pt x="20723" y="9745"/>
                  <a:pt x="20487" y="10091"/>
                </a:cubicBezTo>
                <a:cubicBezTo>
                  <a:pt x="20251" y="10437"/>
                  <a:pt x="19990" y="10762"/>
                  <a:pt x="19703" y="11066"/>
                </a:cubicBezTo>
                <a:cubicBezTo>
                  <a:pt x="19400" y="11353"/>
                  <a:pt x="19075" y="11615"/>
                  <a:pt x="18729" y="11851"/>
                </a:cubicBezTo>
                <a:cubicBezTo>
                  <a:pt x="18383" y="12087"/>
                  <a:pt x="18017" y="12290"/>
                  <a:pt x="17629" y="12459"/>
                </a:cubicBezTo>
                <a:cubicBezTo>
                  <a:pt x="17241" y="12628"/>
                  <a:pt x="16836" y="12754"/>
                  <a:pt x="16415" y="12838"/>
                </a:cubicBezTo>
                <a:cubicBezTo>
                  <a:pt x="15993" y="12923"/>
                  <a:pt x="15563" y="12965"/>
                  <a:pt x="15125" y="12965"/>
                </a:cubicBezTo>
                <a:cubicBezTo>
                  <a:pt x="14720" y="12965"/>
                  <a:pt x="14320" y="12927"/>
                  <a:pt x="13924" y="12851"/>
                </a:cubicBezTo>
                <a:cubicBezTo>
                  <a:pt x="13527" y="12775"/>
                  <a:pt x="13144" y="12661"/>
                  <a:pt x="12773" y="12509"/>
                </a:cubicBezTo>
                <a:lnTo>
                  <a:pt x="10496" y="14814"/>
                </a:lnTo>
                <a:cubicBezTo>
                  <a:pt x="10395" y="14915"/>
                  <a:pt x="10277" y="14991"/>
                  <a:pt x="10142" y="15042"/>
                </a:cubicBezTo>
                <a:cubicBezTo>
                  <a:pt x="10007" y="15092"/>
                  <a:pt x="9864" y="15117"/>
                  <a:pt x="9712" y="15117"/>
                </a:cubicBezTo>
                <a:lnTo>
                  <a:pt x="8650" y="15117"/>
                </a:lnTo>
                <a:lnTo>
                  <a:pt x="8650" y="16206"/>
                </a:lnTo>
                <a:cubicBezTo>
                  <a:pt x="8650" y="16494"/>
                  <a:pt x="8545" y="16742"/>
                  <a:pt x="8334" y="16953"/>
                </a:cubicBezTo>
                <a:cubicBezTo>
                  <a:pt x="8123" y="17165"/>
                  <a:pt x="7866" y="17270"/>
                  <a:pt x="7563" y="17270"/>
                </a:cubicBezTo>
                <a:lnTo>
                  <a:pt x="6475" y="17270"/>
                </a:lnTo>
                <a:lnTo>
                  <a:pt x="6475" y="18359"/>
                </a:lnTo>
                <a:cubicBezTo>
                  <a:pt x="6475" y="18561"/>
                  <a:pt x="6424" y="18751"/>
                  <a:pt x="6323" y="18928"/>
                </a:cubicBezTo>
                <a:cubicBezTo>
                  <a:pt x="6222" y="19106"/>
                  <a:pt x="6079" y="19237"/>
                  <a:pt x="5893" y="19321"/>
                </a:cubicBezTo>
                <a:lnTo>
                  <a:pt x="1568" y="21499"/>
                </a:lnTo>
                <a:cubicBezTo>
                  <a:pt x="1501" y="21533"/>
                  <a:pt x="1425" y="21558"/>
                  <a:pt x="1341" y="21575"/>
                </a:cubicBezTo>
                <a:cubicBezTo>
                  <a:pt x="1256" y="21592"/>
                  <a:pt x="1172" y="21600"/>
                  <a:pt x="1088" y="21600"/>
                </a:cubicBezTo>
                <a:cubicBezTo>
                  <a:pt x="986" y="21600"/>
                  <a:pt x="889" y="21587"/>
                  <a:pt x="797" y="21562"/>
                </a:cubicBezTo>
                <a:cubicBezTo>
                  <a:pt x="704" y="21537"/>
                  <a:pt x="615" y="21499"/>
                  <a:pt x="531" y="21448"/>
                </a:cubicBezTo>
                <a:cubicBezTo>
                  <a:pt x="362" y="21347"/>
                  <a:pt x="232" y="21212"/>
                  <a:pt x="139" y="21043"/>
                </a:cubicBezTo>
                <a:cubicBezTo>
                  <a:pt x="46" y="20874"/>
                  <a:pt x="0" y="20697"/>
                  <a:pt x="0" y="20511"/>
                </a:cubicBezTo>
                <a:lnTo>
                  <a:pt x="0" y="17270"/>
                </a:lnTo>
                <a:cubicBezTo>
                  <a:pt x="0" y="17118"/>
                  <a:pt x="34" y="16975"/>
                  <a:pt x="101" y="16839"/>
                </a:cubicBezTo>
                <a:cubicBezTo>
                  <a:pt x="168" y="16704"/>
                  <a:pt x="261" y="16578"/>
                  <a:pt x="379" y="16460"/>
                </a:cubicBezTo>
                <a:lnTo>
                  <a:pt x="9055" y="8736"/>
                </a:lnTo>
                <a:cubicBezTo>
                  <a:pt x="8920" y="8382"/>
                  <a:pt x="8818" y="8015"/>
                  <a:pt x="8751" y="7635"/>
                </a:cubicBezTo>
                <a:cubicBezTo>
                  <a:pt x="8684" y="7255"/>
                  <a:pt x="8650" y="6871"/>
                  <a:pt x="8650" y="6483"/>
                </a:cubicBezTo>
                <a:cubicBezTo>
                  <a:pt x="8650" y="6044"/>
                  <a:pt x="8692" y="5613"/>
                  <a:pt x="8777" y="5191"/>
                </a:cubicBezTo>
                <a:cubicBezTo>
                  <a:pt x="8861" y="4769"/>
                  <a:pt x="8987" y="4355"/>
                  <a:pt x="9156" y="3950"/>
                </a:cubicBezTo>
                <a:cubicBezTo>
                  <a:pt x="9324" y="3562"/>
                  <a:pt x="9523" y="3195"/>
                  <a:pt x="9750" y="2849"/>
                </a:cubicBezTo>
                <a:cubicBezTo>
                  <a:pt x="9978" y="2503"/>
                  <a:pt x="10244" y="2186"/>
                  <a:pt x="10547" y="1899"/>
                </a:cubicBezTo>
                <a:cubicBezTo>
                  <a:pt x="10834" y="1595"/>
                  <a:pt x="11150" y="1329"/>
                  <a:pt x="11496" y="1102"/>
                </a:cubicBezTo>
                <a:cubicBezTo>
                  <a:pt x="11841" y="874"/>
                  <a:pt x="12208" y="675"/>
                  <a:pt x="12596" y="506"/>
                </a:cubicBezTo>
                <a:cubicBezTo>
                  <a:pt x="13000" y="338"/>
                  <a:pt x="13413" y="211"/>
                  <a:pt x="13835" y="127"/>
                </a:cubicBezTo>
                <a:cubicBezTo>
                  <a:pt x="14256" y="42"/>
                  <a:pt x="14686" y="0"/>
                  <a:pt x="15125" y="0"/>
                </a:cubicBezTo>
                <a:cubicBezTo>
                  <a:pt x="15563" y="0"/>
                  <a:pt x="15993" y="42"/>
                  <a:pt x="16415" y="127"/>
                </a:cubicBezTo>
                <a:cubicBezTo>
                  <a:pt x="16836" y="211"/>
                  <a:pt x="17241" y="338"/>
                  <a:pt x="17629" y="506"/>
                </a:cubicBezTo>
                <a:cubicBezTo>
                  <a:pt x="18017" y="675"/>
                  <a:pt x="18383" y="874"/>
                  <a:pt x="18729" y="1102"/>
                </a:cubicBezTo>
                <a:cubicBezTo>
                  <a:pt x="19075" y="1329"/>
                  <a:pt x="19400" y="1595"/>
                  <a:pt x="19703" y="1899"/>
                </a:cubicBezTo>
                <a:cubicBezTo>
                  <a:pt x="19990" y="2186"/>
                  <a:pt x="20251" y="2503"/>
                  <a:pt x="20487" y="2849"/>
                </a:cubicBezTo>
                <a:cubicBezTo>
                  <a:pt x="20723" y="3195"/>
                  <a:pt x="20925" y="3562"/>
                  <a:pt x="21094" y="3950"/>
                </a:cubicBezTo>
                <a:lnTo>
                  <a:pt x="21094" y="3950"/>
                </a:lnTo>
                <a:lnTo>
                  <a:pt x="21094" y="3950"/>
                </a:lnTo>
                <a:close/>
                <a:moveTo>
                  <a:pt x="15125" y="11876"/>
                </a:moveTo>
                <a:cubicBezTo>
                  <a:pt x="15867" y="11876"/>
                  <a:pt x="16567" y="11733"/>
                  <a:pt x="17224" y="11446"/>
                </a:cubicBezTo>
                <a:cubicBezTo>
                  <a:pt x="17882" y="11159"/>
                  <a:pt x="18451" y="10775"/>
                  <a:pt x="18932" y="10294"/>
                </a:cubicBezTo>
                <a:cubicBezTo>
                  <a:pt x="19412" y="9812"/>
                  <a:pt x="19796" y="9243"/>
                  <a:pt x="20082" y="8584"/>
                </a:cubicBezTo>
                <a:cubicBezTo>
                  <a:pt x="20369" y="7926"/>
                  <a:pt x="20512" y="7226"/>
                  <a:pt x="20512" y="6483"/>
                </a:cubicBezTo>
                <a:cubicBezTo>
                  <a:pt x="20512" y="5723"/>
                  <a:pt x="20369" y="5023"/>
                  <a:pt x="20082" y="4381"/>
                </a:cubicBezTo>
                <a:cubicBezTo>
                  <a:pt x="19796" y="3722"/>
                  <a:pt x="19412" y="3149"/>
                  <a:pt x="18932" y="2659"/>
                </a:cubicBezTo>
                <a:cubicBezTo>
                  <a:pt x="18451" y="2169"/>
                  <a:pt x="17882" y="1781"/>
                  <a:pt x="17224" y="1494"/>
                </a:cubicBezTo>
                <a:cubicBezTo>
                  <a:pt x="16567" y="1207"/>
                  <a:pt x="15867" y="1064"/>
                  <a:pt x="15125" y="1064"/>
                </a:cubicBezTo>
                <a:cubicBezTo>
                  <a:pt x="14366" y="1064"/>
                  <a:pt x="13666" y="1207"/>
                  <a:pt x="13026" y="1494"/>
                </a:cubicBezTo>
                <a:cubicBezTo>
                  <a:pt x="12368" y="1781"/>
                  <a:pt x="11795" y="2169"/>
                  <a:pt x="11306" y="2659"/>
                </a:cubicBezTo>
                <a:cubicBezTo>
                  <a:pt x="10817" y="3149"/>
                  <a:pt x="10429" y="3722"/>
                  <a:pt x="10142" y="4381"/>
                </a:cubicBezTo>
                <a:cubicBezTo>
                  <a:pt x="9855" y="5023"/>
                  <a:pt x="9712" y="5723"/>
                  <a:pt x="9712" y="6483"/>
                </a:cubicBezTo>
                <a:cubicBezTo>
                  <a:pt x="9712" y="6938"/>
                  <a:pt x="9771" y="7381"/>
                  <a:pt x="9889" y="7812"/>
                </a:cubicBezTo>
                <a:cubicBezTo>
                  <a:pt x="10007" y="8242"/>
                  <a:pt x="10168" y="8644"/>
                  <a:pt x="10370" y="9015"/>
                </a:cubicBezTo>
                <a:lnTo>
                  <a:pt x="1088" y="17270"/>
                </a:lnTo>
                <a:lnTo>
                  <a:pt x="1088" y="20511"/>
                </a:lnTo>
                <a:lnTo>
                  <a:pt x="5413" y="18359"/>
                </a:lnTo>
                <a:lnTo>
                  <a:pt x="5413" y="16206"/>
                </a:lnTo>
                <a:lnTo>
                  <a:pt x="7563" y="16206"/>
                </a:lnTo>
                <a:lnTo>
                  <a:pt x="7563" y="14029"/>
                </a:lnTo>
                <a:lnTo>
                  <a:pt x="9712" y="14029"/>
                </a:lnTo>
                <a:lnTo>
                  <a:pt x="12545" y="11218"/>
                </a:lnTo>
                <a:cubicBezTo>
                  <a:pt x="12916" y="11420"/>
                  <a:pt x="13321" y="11581"/>
                  <a:pt x="13759" y="11699"/>
                </a:cubicBezTo>
                <a:cubicBezTo>
                  <a:pt x="14198" y="11817"/>
                  <a:pt x="14653" y="11876"/>
                  <a:pt x="15125" y="11876"/>
                </a:cubicBezTo>
                <a:lnTo>
                  <a:pt x="15125" y="11876"/>
                </a:lnTo>
                <a:lnTo>
                  <a:pt x="15125" y="11876"/>
                </a:lnTo>
                <a:close/>
              </a:path>
            </a:pathLst>
          </a:custGeom>
          <a:solidFill>
            <a:srgbClr val="FE9600"/>
          </a:solidFill>
          <a:ln w="12700">
            <a:miter lim="400000"/>
          </a:ln>
        </p:spPr>
        <p:txBody>
          <a:bodyPr lIns="27428" tIns="27428" rIns="27428" bIns="27428" anchor="ctr"/>
          <a:lstStyle/>
          <a:p>
            <a:pPr marL="0" marR="0" lvl="0" indent="0" algn="l" defTabSz="3291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29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A1ECBF98-F9E5-CC1A-656D-059C0620B10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-2323060" y="969996"/>
            <a:ext cx="2799885" cy="674882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7439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4" name="Retângulo 1173">
            <a:extLst>
              <a:ext uri="{FF2B5EF4-FFF2-40B4-BE49-F238E27FC236}">
                <a16:creationId xmlns:a16="http://schemas.microsoft.com/office/drawing/2014/main" id="{D1B050E7-9858-E4AB-BBB3-36A1A5FC5224}"/>
              </a:ext>
            </a:extLst>
          </p:cNvPr>
          <p:cNvSpPr/>
          <p:nvPr/>
        </p:nvSpPr>
        <p:spPr>
          <a:xfrm>
            <a:off x="76504" y="747016"/>
            <a:ext cx="1289287" cy="32400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rgbClr val="FF9933"/>
            </a:solidFill>
            <a:prstDash val="solid"/>
            <a:miter lim="800000"/>
          </a:ln>
          <a:effectLst/>
        </p:spPr>
        <p:txBody>
          <a:bodyPr bIns="36000" rtlCol="0" anchor="ctr"/>
          <a:lstStyle/>
          <a:p>
            <a:pPr marL="177803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1" b="1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Itau Text Light" panose="020B0403020204020203" pitchFamily="34" charset="0"/>
                <a:ea typeface="+mn-ea"/>
                <a:cs typeface="Itau Text Light" panose="020B0403020204020203" pitchFamily="34" charset="0"/>
              </a:rPr>
              <a:t>Visão Cliente</a:t>
            </a:r>
            <a:endParaRPr kumimoji="0" lang="pt-BR" sz="1051" b="1" i="0" u="none" strike="noStrike" kern="0" cap="none" spc="0" normalizeH="0" baseline="0" noProof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Itau Text Light" panose="020B0403020204020203" pitchFamily="34" charset="0"/>
              <a:ea typeface="+mn-ea"/>
              <a:cs typeface="Itau Text Light" panose="020B0403020204020203" pitchFamily="34" charset="0"/>
            </a:endParaRPr>
          </a:p>
        </p:txBody>
      </p:sp>
      <p:grpSp>
        <p:nvGrpSpPr>
          <p:cNvPr id="121" name="Agrupar 120">
            <a:extLst>
              <a:ext uri="{FF2B5EF4-FFF2-40B4-BE49-F238E27FC236}">
                <a16:creationId xmlns:a16="http://schemas.microsoft.com/office/drawing/2014/main" id="{8E8380FB-1997-FFD0-0A5B-BEEEDBD17987}"/>
              </a:ext>
            </a:extLst>
          </p:cNvPr>
          <p:cNvGrpSpPr/>
          <p:nvPr/>
        </p:nvGrpSpPr>
        <p:grpSpPr>
          <a:xfrm>
            <a:off x="10170232" y="3031777"/>
            <a:ext cx="631908" cy="601549"/>
            <a:chOff x="1794065" y="3269051"/>
            <a:chExt cx="631907" cy="601549"/>
          </a:xfrm>
        </p:grpSpPr>
        <p:sp>
          <p:nvSpPr>
            <p:cNvPr id="122" name="CaixaDeTexto 121">
              <a:extLst>
                <a:ext uri="{FF2B5EF4-FFF2-40B4-BE49-F238E27FC236}">
                  <a16:creationId xmlns:a16="http://schemas.microsoft.com/office/drawing/2014/main" id="{EA123231-CA9B-1DA6-9120-B15FCDCD51E5}"/>
                </a:ext>
              </a:extLst>
            </p:cNvPr>
            <p:cNvSpPr txBox="1"/>
            <p:nvPr/>
          </p:nvSpPr>
          <p:spPr>
            <a:xfrm>
              <a:off x="1794065" y="3501268"/>
              <a:ext cx="63190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3165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Acervos próprios</a:t>
              </a:r>
            </a:p>
          </p:txBody>
        </p:sp>
        <p:sp>
          <p:nvSpPr>
            <p:cNvPr id="123" name="Forma">
              <a:extLst>
                <a:ext uri="{FF2B5EF4-FFF2-40B4-BE49-F238E27FC236}">
                  <a16:creationId xmlns:a16="http://schemas.microsoft.com/office/drawing/2014/main" id="{BD7EF01C-3D5D-8C71-506F-0D0A1423E0B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56127" y="3269051"/>
              <a:ext cx="307782" cy="252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62" y="21417"/>
                  </a:moveTo>
                  <a:cubicBezTo>
                    <a:pt x="21554" y="21295"/>
                    <a:pt x="21600" y="21160"/>
                    <a:pt x="21600" y="21009"/>
                  </a:cubicBezTo>
                  <a:cubicBezTo>
                    <a:pt x="21600" y="20841"/>
                    <a:pt x="21554" y="20696"/>
                    <a:pt x="21462" y="20573"/>
                  </a:cubicBezTo>
                  <a:cubicBezTo>
                    <a:pt x="21370" y="20452"/>
                    <a:pt x="21255" y="20391"/>
                    <a:pt x="21116" y="20391"/>
                  </a:cubicBezTo>
                  <a:lnTo>
                    <a:pt x="484" y="20391"/>
                  </a:lnTo>
                  <a:cubicBezTo>
                    <a:pt x="345" y="20391"/>
                    <a:pt x="230" y="20452"/>
                    <a:pt x="138" y="20573"/>
                  </a:cubicBezTo>
                  <a:cubicBezTo>
                    <a:pt x="46" y="20696"/>
                    <a:pt x="0" y="20841"/>
                    <a:pt x="0" y="21009"/>
                  </a:cubicBezTo>
                  <a:cubicBezTo>
                    <a:pt x="0" y="21160"/>
                    <a:pt x="46" y="21295"/>
                    <a:pt x="138" y="21417"/>
                  </a:cubicBezTo>
                  <a:cubicBezTo>
                    <a:pt x="230" y="21539"/>
                    <a:pt x="345" y="21600"/>
                    <a:pt x="484" y="21600"/>
                  </a:cubicBezTo>
                  <a:lnTo>
                    <a:pt x="21116" y="21600"/>
                  </a:lnTo>
                  <a:lnTo>
                    <a:pt x="21116" y="21600"/>
                  </a:lnTo>
                  <a:lnTo>
                    <a:pt x="21116" y="21600"/>
                  </a:lnTo>
                  <a:cubicBezTo>
                    <a:pt x="21255" y="21600"/>
                    <a:pt x="21370" y="21539"/>
                    <a:pt x="21462" y="21417"/>
                  </a:cubicBezTo>
                  <a:lnTo>
                    <a:pt x="21462" y="21417"/>
                  </a:lnTo>
                  <a:close/>
                  <a:moveTo>
                    <a:pt x="19643" y="15609"/>
                  </a:moveTo>
                  <a:lnTo>
                    <a:pt x="1957" y="15609"/>
                  </a:lnTo>
                  <a:lnTo>
                    <a:pt x="1957" y="1209"/>
                  </a:lnTo>
                  <a:lnTo>
                    <a:pt x="19643" y="1209"/>
                  </a:lnTo>
                  <a:lnTo>
                    <a:pt x="19643" y="15609"/>
                  </a:lnTo>
                  <a:lnTo>
                    <a:pt x="19643" y="15609"/>
                  </a:lnTo>
                  <a:close/>
                  <a:moveTo>
                    <a:pt x="1957" y="0"/>
                  </a:moveTo>
                  <a:cubicBezTo>
                    <a:pt x="1681" y="0"/>
                    <a:pt x="1447" y="117"/>
                    <a:pt x="1255" y="352"/>
                  </a:cubicBezTo>
                  <a:cubicBezTo>
                    <a:pt x="1063" y="586"/>
                    <a:pt x="967" y="872"/>
                    <a:pt x="967" y="1209"/>
                  </a:cubicBezTo>
                  <a:lnTo>
                    <a:pt x="967" y="15609"/>
                  </a:lnTo>
                  <a:cubicBezTo>
                    <a:pt x="967" y="15928"/>
                    <a:pt x="1063" y="16205"/>
                    <a:pt x="1255" y="16439"/>
                  </a:cubicBezTo>
                  <a:cubicBezTo>
                    <a:pt x="1447" y="16674"/>
                    <a:pt x="1681" y="16791"/>
                    <a:pt x="1957" y="16791"/>
                  </a:cubicBezTo>
                  <a:lnTo>
                    <a:pt x="19643" y="16791"/>
                  </a:lnTo>
                  <a:cubicBezTo>
                    <a:pt x="19919" y="16791"/>
                    <a:pt x="20153" y="16674"/>
                    <a:pt x="20345" y="16439"/>
                  </a:cubicBezTo>
                  <a:cubicBezTo>
                    <a:pt x="20537" y="16205"/>
                    <a:pt x="20633" y="15928"/>
                    <a:pt x="20633" y="15609"/>
                  </a:cubicBezTo>
                  <a:lnTo>
                    <a:pt x="20633" y="1209"/>
                  </a:lnTo>
                  <a:cubicBezTo>
                    <a:pt x="20633" y="872"/>
                    <a:pt x="20537" y="586"/>
                    <a:pt x="20345" y="352"/>
                  </a:cubicBezTo>
                  <a:cubicBezTo>
                    <a:pt x="20153" y="117"/>
                    <a:pt x="19919" y="0"/>
                    <a:pt x="19643" y="0"/>
                  </a:cubicBezTo>
                  <a:lnTo>
                    <a:pt x="1957" y="0"/>
                  </a:lnTo>
                  <a:lnTo>
                    <a:pt x="1957" y="0"/>
                  </a:lnTo>
                  <a:close/>
                  <a:moveTo>
                    <a:pt x="15221" y="2391"/>
                  </a:moveTo>
                  <a:cubicBezTo>
                    <a:pt x="15359" y="2391"/>
                    <a:pt x="15475" y="2452"/>
                    <a:pt x="15567" y="2573"/>
                  </a:cubicBezTo>
                  <a:cubicBezTo>
                    <a:pt x="15659" y="2696"/>
                    <a:pt x="15705" y="2841"/>
                    <a:pt x="15705" y="3009"/>
                  </a:cubicBezTo>
                  <a:lnTo>
                    <a:pt x="15705" y="4191"/>
                  </a:lnTo>
                  <a:cubicBezTo>
                    <a:pt x="15705" y="4359"/>
                    <a:pt x="15659" y="4505"/>
                    <a:pt x="15567" y="4627"/>
                  </a:cubicBezTo>
                  <a:cubicBezTo>
                    <a:pt x="15475" y="4749"/>
                    <a:pt x="15359" y="4809"/>
                    <a:pt x="15221" y="4809"/>
                  </a:cubicBezTo>
                  <a:lnTo>
                    <a:pt x="14231" y="4809"/>
                  </a:lnTo>
                  <a:cubicBezTo>
                    <a:pt x="14108" y="4809"/>
                    <a:pt x="13997" y="4749"/>
                    <a:pt x="13897" y="4627"/>
                  </a:cubicBezTo>
                  <a:cubicBezTo>
                    <a:pt x="13797" y="4505"/>
                    <a:pt x="13748" y="4359"/>
                    <a:pt x="13748" y="4191"/>
                  </a:cubicBezTo>
                  <a:lnTo>
                    <a:pt x="13748" y="3009"/>
                  </a:lnTo>
                  <a:cubicBezTo>
                    <a:pt x="13748" y="2841"/>
                    <a:pt x="13797" y="2696"/>
                    <a:pt x="13897" y="2573"/>
                  </a:cubicBezTo>
                  <a:cubicBezTo>
                    <a:pt x="13997" y="2452"/>
                    <a:pt x="14108" y="2391"/>
                    <a:pt x="14231" y="2391"/>
                  </a:cubicBezTo>
                  <a:lnTo>
                    <a:pt x="15221" y="2391"/>
                  </a:lnTo>
                  <a:lnTo>
                    <a:pt x="15221" y="2391"/>
                  </a:lnTo>
                  <a:lnTo>
                    <a:pt x="15221" y="2391"/>
                  </a:lnTo>
                  <a:close/>
                  <a:moveTo>
                    <a:pt x="18169" y="2391"/>
                  </a:moveTo>
                  <a:cubicBezTo>
                    <a:pt x="18307" y="2391"/>
                    <a:pt x="18422" y="2452"/>
                    <a:pt x="18514" y="2573"/>
                  </a:cubicBezTo>
                  <a:cubicBezTo>
                    <a:pt x="18606" y="2696"/>
                    <a:pt x="18652" y="2841"/>
                    <a:pt x="18652" y="3009"/>
                  </a:cubicBezTo>
                  <a:lnTo>
                    <a:pt x="18652" y="4191"/>
                  </a:lnTo>
                  <a:cubicBezTo>
                    <a:pt x="18652" y="4359"/>
                    <a:pt x="18606" y="4505"/>
                    <a:pt x="18514" y="4627"/>
                  </a:cubicBezTo>
                  <a:cubicBezTo>
                    <a:pt x="18422" y="4749"/>
                    <a:pt x="18307" y="4809"/>
                    <a:pt x="18169" y="4809"/>
                  </a:cubicBezTo>
                  <a:lnTo>
                    <a:pt x="17179" y="4809"/>
                  </a:lnTo>
                  <a:cubicBezTo>
                    <a:pt x="17056" y="4809"/>
                    <a:pt x="16944" y="4749"/>
                    <a:pt x="16845" y="4627"/>
                  </a:cubicBezTo>
                  <a:cubicBezTo>
                    <a:pt x="16745" y="4505"/>
                    <a:pt x="16695" y="4359"/>
                    <a:pt x="16695" y="4191"/>
                  </a:cubicBezTo>
                  <a:lnTo>
                    <a:pt x="16695" y="3009"/>
                  </a:lnTo>
                  <a:cubicBezTo>
                    <a:pt x="16695" y="2841"/>
                    <a:pt x="16745" y="2696"/>
                    <a:pt x="16845" y="2573"/>
                  </a:cubicBezTo>
                  <a:cubicBezTo>
                    <a:pt x="16944" y="2452"/>
                    <a:pt x="17056" y="2391"/>
                    <a:pt x="17179" y="2391"/>
                  </a:cubicBezTo>
                  <a:lnTo>
                    <a:pt x="18169" y="2391"/>
                  </a:lnTo>
                  <a:lnTo>
                    <a:pt x="18169" y="2391"/>
                  </a:lnTo>
                  <a:lnTo>
                    <a:pt x="18169" y="2391"/>
                  </a:lnTo>
                  <a:close/>
                  <a:moveTo>
                    <a:pt x="15221" y="5991"/>
                  </a:moveTo>
                  <a:cubicBezTo>
                    <a:pt x="15359" y="5991"/>
                    <a:pt x="15475" y="6052"/>
                    <a:pt x="15567" y="6173"/>
                  </a:cubicBezTo>
                  <a:cubicBezTo>
                    <a:pt x="15659" y="6296"/>
                    <a:pt x="15705" y="6441"/>
                    <a:pt x="15705" y="6609"/>
                  </a:cubicBezTo>
                  <a:lnTo>
                    <a:pt x="15705" y="7791"/>
                  </a:lnTo>
                  <a:cubicBezTo>
                    <a:pt x="15705" y="7959"/>
                    <a:pt x="15659" y="8105"/>
                    <a:pt x="15567" y="8227"/>
                  </a:cubicBezTo>
                  <a:cubicBezTo>
                    <a:pt x="15475" y="8349"/>
                    <a:pt x="15359" y="8409"/>
                    <a:pt x="15221" y="8409"/>
                  </a:cubicBezTo>
                  <a:lnTo>
                    <a:pt x="14231" y="8409"/>
                  </a:lnTo>
                  <a:cubicBezTo>
                    <a:pt x="14108" y="8409"/>
                    <a:pt x="13997" y="8349"/>
                    <a:pt x="13897" y="8227"/>
                  </a:cubicBezTo>
                  <a:cubicBezTo>
                    <a:pt x="13797" y="8105"/>
                    <a:pt x="13748" y="7959"/>
                    <a:pt x="13748" y="7791"/>
                  </a:cubicBezTo>
                  <a:lnTo>
                    <a:pt x="13748" y="6609"/>
                  </a:lnTo>
                  <a:cubicBezTo>
                    <a:pt x="13748" y="6441"/>
                    <a:pt x="13797" y="6296"/>
                    <a:pt x="13897" y="6173"/>
                  </a:cubicBezTo>
                  <a:cubicBezTo>
                    <a:pt x="13997" y="6052"/>
                    <a:pt x="14108" y="5991"/>
                    <a:pt x="14231" y="5991"/>
                  </a:cubicBezTo>
                  <a:lnTo>
                    <a:pt x="15221" y="5991"/>
                  </a:lnTo>
                  <a:lnTo>
                    <a:pt x="15221" y="5991"/>
                  </a:lnTo>
                  <a:lnTo>
                    <a:pt x="15221" y="5991"/>
                  </a:lnTo>
                  <a:close/>
                  <a:moveTo>
                    <a:pt x="18169" y="5991"/>
                  </a:moveTo>
                  <a:cubicBezTo>
                    <a:pt x="18307" y="5991"/>
                    <a:pt x="18422" y="6052"/>
                    <a:pt x="18514" y="6173"/>
                  </a:cubicBezTo>
                  <a:cubicBezTo>
                    <a:pt x="18606" y="6296"/>
                    <a:pt x="18652" y="6441"/>
                    <a:pt x="18652" y="6609"/>
                  </a:cubicBezTo>
                  <a:lnTo>
                    <a:pt x="18652" y="7791"/>
                  </a:lnTo>
                  <a:cubicBezTo>
                    <a:pt x="18652" y="7959"/>
                    <a:pt x="18606" y="8105"/>
                    <a:pt x="18514" y="8227"/>
                  </a:cubicBezTo>
                  <a:cubicBezTo>
                    <a:pt x="18422" y="8349"/>
                    <a:pt x="18307" y="8409"/>
                    <a:pt x="18169" y="8409"/>
                  </a:cubicBezTo>
                  <a:lnTo>
                    <a:pt x="17179" y="8409"/>
                  </a:lnTo>
                  <a:cubicBezTo>
                    <a:pt x="17056" y="8409"/>
                    <a:pt x="16944" y="8349"/>
                    <a:pt x="16845" y="8227"/>
                  </a:cubicBezTo>
                  <a:cubicBezTo>
                    <a:pt x="16745" y="8105"/>
                    <a:pt x="16695" y="7959"/>
                    <a:pt x="16695" y="7791"/>
                  </a:cubicBezTo>
                  <a:lnTo>
                    <a:pt x="16695" y="6609"/>
                  </a:lnTo>
                  <a:cubicBezTo>
                    <a:pt x="16695" y="6441"/>
                    <a:pt x="16745" y="6296"/>
                    <a:pt x="16845" y="6173"/>
                  </a:cubicBezTo>
                  <a:cubicBezTo>
                    <a:pt x="16944" y="6052"/>
                    <a:pt x="17056" y="5991"/>
                    <a:pt x="17179" y="5991"/>
                  </a:cubicBezTo>
                  <a:lnTo>
                    <a:pt x="18169" y="5991"/>
                  </a:lnTo>
                  <a:lnTo>
                    <a:pt x="18169" y="5991"/>
                  </a:lnTo>
                  <a:lnTo>
                    <a:pt x="18169" y="5991"/>
                  </a:lnTo>
                  <a:close/>
                  <a:moveTo>
                    <a:pt x="18169" y="9591"/>
                  </a:moveTo>
                  <a:cubicBezTo>
                    <a:pt x="18307" y="9591"/>
                    <a:pt x="18422" y="9652"/>
                    <a:pt x="18514" y="9773"/>
                  </a:cubicBezTo>
                  <a:cubicBezTo>
                    <a:pt x="18606" y="9896"/>
                    <a:pt x="18652" y="10041"/>
                    <a:pt x="18652" y="10209"/>
                  </a:cubicBezTo>
                  <a:lnTo>
                    <a:pt x="18652" y="11391"/>
                  </a:lnTo>
                  <a:cubicBezTo>
                    <a:pt x="18652" y="11559"/>
                    <a:pt x="18606" y="11705"/>
                    <a:pt x="18514" y="11827"/>
                  </a:cubicBezTo>
                  <a:cubicBezTo>
                    <a:pt x="18422" y="11949"/>
                    <a:pt x="18307" y="12009"/>
                    <a:pt x="18169" y="12009"/>
                  </a:cubicBezTo>
                  <a:lnTo>
                    <a:pt x="17179" y="12009"/>
                  </a:lnTo>
                  <a:cubicBezTo>
                    <a:pt x="17056" y="12009"/>
                    <a:pt x="16944" y="11949"/>
                    <a:pt x="16845" y="11827"/>
                  </a:cubicBezTo>
                  <a:cubicBezTo>
                    <a:pt x="16745" y="11705"/>
                    <a:pt x="16695" y="11559"/>
                    <a:pt x="16695" y="11391"/>
                  </a:cubicBezTo>
                  <a:lnTo>
                    <a:pt x="16695" y="10209"/>
                  </a:lnTo>
                  <a:cubicBezTo>
                    <a:pt x="16695" y="10041"/>
                    <a:pt x="16745" y="9896"/>
                    <a:pt x="16845" y="9773"/>
                  </a:cubicBezTo>
                  <a:cubicBezTo>
                    <a:pt x="16944" y="9652"/>
                    <a:pt x="17056" y="9591"/>
                    <a:pt x="17179" y="9591"/>
                  </a:cubicBezTo>
                  <a:lnTo>
                    <a:pt x="18169" y="9591"/>
                  </a:lnTo>
                  <a:lnTo>
                    <a:pt x="18169" y="9591"/>
                  </a:lnTo>
                  <a:lnTo>
                    <a:pt x="18169" y="9591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miter lim="400000"/>
            </a:ln>
          </p:spPr>
          <p:txBody>
            <a:bodyPr lIns="27428" tIns="27428" rIns="27428" bIns="27428" anchor="ctr"/>
            <a:lstStyle/>
            <a:p>
              <a:pPr marL="0" marR="0" lvl="0" indent="0" algn="l" defTabSz="3291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b="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lang="pt-BR" sz="1296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sym typeface="Gill Sans"/>
              </a:endParaRPr>
            </a:p>
          </p:txBody>
        </p:sp>
      </p:grpSp>
      <p:cxnSp>
        <p:nvCxnSpPr>
          <p:cNvPr id="21" name="Conector reto 20">
            <a:extLst>
              <a:ext uri="{FF2B5EF4-FFF2-40B4-BE49-F238E27FC236}">
                <a16:creationId xmlns:a16="http://schemas.microsoft.com/office/drawing/2014/main" id="{F8F1F851-7DD5-3A60-85BE-17003178F139}"/>
              </a:ext>
            </a:extLst>
          </p:cNvPr>
          <p:cNvCxnSpPr/>
          <p:nvPr/>
        </p:nvCxnSpPr>
        <p:spPr>
          <a:xfrm>
            <a:off x="3739874" y="2207074"/>
            <a:ext cx="0" cy="4382786"/>
          </a:xfrm>
          <a:prstGeom prst="line">
            <a:avLst/>
          </a:prstGeom>
          <a:ln>
            <a:solidFill>
              <a:srgbClr val="02458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ctor reto 23">
            <a:extLst>
              <a:ext uri="{FF2B5EF4-FFF2-40B4-BE49-F238E27FC236}">
                <a16:creationId xmlns:a16="http://schemas.microsoft.com/office/drawing/2014/main" id="{A0A0B912-11F6-CEFE-3448-64035E6715A5}"/>
              </a:ext>
            </a:extLst>
          </p:cNvPr>
          <p:cNvCxnSpPr/>
          <p:nvPr/>
        </p:nvCxnSpPr>
        <p:spPr>
          <a:xfrm>
            <a:off x="7524371" y="2207074"/>
            <a:ext cx="0" cy="4382786"/>
          </a:xfrm>
          <a:prstGeom prst="line">
            <a:avLst/>
          </a:prstGeom>
          <a:ln>
            <a:solidFill>
              <a:srgbClr val="02458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2" name="CaixaDeTexto 1251">
            <a:extLst>
              <a:ext uri="{FF2B5EF4-FFF2-40B4-BE49-F238E27FC236}">
                <a16:creationId xmlns:a16="http://schemas.microsoft.com/office/drawing/2014/main" id="{AB3014B0-EBAB-466C-6FCD-3F2AA5570F77}"/>
              </a:ext>
            </a:extLst>
          </p:cNvPr>
          <p:cNvSpPr txBox="1"/>
          <p:nvPr/>
        </p:nvSpPr>
        <p:spPr>
          <a:xfrm>
            <a:off x="2492359" y="2396966"/>
            <a:ext cx="7427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165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 err="1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Templates</a:t>
            </a:r>
            <a:endParaRPr kumimoji="0" lang="pt-BR" sz="900" b="0" i="0" u="none" strike="noStrike" kern="1200" cap="none" spc="0" normalizeH="0" baseline="0" noProof="0">
              <a:ln>
                <a:noFill/>
              </a:ln>
              <a:solidFill>
                <a:srgbClr val="5F6062"/>
              </a:solidFill>
              <a:effectLst/>
              <a:uLnTx/>
              <a:uFillTx/>
              <a:latin typeface="Itau Display" panose="020B0503020204020204" pitchFamily="34" charset="0"/>
              <a:ea typeface="+mn-ea"/>
              <a:cs typeface="Itau Display" panose="020B0503020204020204" pitchFamily="34" charset="0"/>
            </a:endParaRPr>
          </a:p>
          <a:p>
            <a:pPr marL="0" marR="0" lvl="0" indent="0" algn="ctr" defTabSz="13165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físicos</a:t>
            </a:r>
          </a:p>
        </p:txBody>
      </p:sp>
      <p:sp>
        <p:nvSpPr>
          <p:cNvPr id="91" name="CaixaDeTexto 90">
            <a:extLst>
              <a:ext uri="{FF2B5EF4-FFF2-40B4-BE49-F238E27FC236}">
                <a16:creationId xmlns:a16="http://schemas.microsoft.com/office/drawing/2014/main" id="{E9CC3975-D8C3-FD0E-7D16-74E533CC6D3A}"/>
              </a:ext>
            </a:extLst>
          </p:cNvPr>
          <p:cNvSpPr txBox="1"/>
          <p:nvPr/>
        </p:nvSpPr>
        <p:spPr>
          <a:xfrm>
            <a:off x="214239" y="325137"/>
            <a:ext cx="4212095" cy="4347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pt-BR"/>
            </a:defPPr>
            <a:lvl1pPr defTabSz="914411">
              <a:lnSpc>
                <a:spcPct val="75000"/>
              </a:lnSpc>
              <a:spcBef>
                <a:spcPts val="0"/>
              </a:spcBef>
              <a:buNone/>
              <a:defRPr kumimoji="0" sz="2800" b="0" i="0" u="none" strike="noStrike" cap="none" spc="0" normalizeH="0" baseline="0">
                <a:ln>
                  <a:noFill/>
                </a:ln>
                <a:solidFill>
                  <a:srgbClr val="FE9600"/>
                </a:solidFill>
                <a:effectLst/>
                <a:uLnTx/>
                <a:uFillTx/>
                <a:latin typeface="Itau Display Heavy" panose="020B0803020204020204" pitchFamily="34" charset="0"/>
                <a:cs typeface="Itau Display Heavy" panose="020B0803020204020204" pitchFamily="34" charset="0"/>
              </a:defRPr>
            </a:lvl1pPr>
            <a:lvl2pPr marL="539756" indent="-182566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>
                <a:solidFill>
                  <a:schemeClr val="accent6"/>
                </a:solidFill>
              </a:defRPr>
            </a:lvl2pPr>
            <a:lvl3pPr marL="898536" indent="-184152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accent6"/>
                </a:solidFill>
              </a:defRPr>
            </a:lvl3pPr>
            <a:lvl4pPr marL="1255729" indent="-184152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>
                <a:solidFill>
                  <a:schemeClr val="accent6"/>
                </a:solidFill>
              </a:defRPr>
            </a:lvl4pPr>
            <a:lvl5pPr marL="1612920" indent="-174628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>
                <a:solidFill>
                  <a:schemeClr val="accent6"/>
                </a:solidFill>
              </a:defRPr>
            </a:lvl5pPr>
            <a:lvl6pPr marL="2514632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6pPr>
            <a:lvl7pPr marL="2971838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7pPr>
            <a:lvl8pPr marL="3429044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8pPr>
            <a:lvl9pPr marL="3886249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9pPr>
          </a:lstStyle>
          <a:p>
            <a:pPr marL="0" marR="0" lvl="0" indent="0" algn="l" defTabSz="914411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0" i="0" u="none" strike="noStrike" kern="1200" cap="none" spc="0" normalizeH="0" baseline="0" noProof="0">
                <a:ln>
                  <a:noFill/>
                </a:ln>
                <a:solidFill>
                  <a:srgbClr val="FE9600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</a:rPr>
              <a:t>_ jornada do cliente: AS IS</a:t>
            </a:r>
          </a:p>
        </p:txBody>
      </p:sp>
      <p:sp>
        <p:nvSpPr>
          <p:cNvPr id="3" name="Retângulo: Cantos Arredondados 2">
            <a:extLst>
              <a:ext uri="{FF2B5EF4-FFF2-40B4-BE49-F238E27FC236}">
                <a16:creationId xmlns:a16="http://schemas.microsoft.com/office/drawing/2014/main" id="{2B66AE99-9796-DBBC-C640-AE0808AA8EBF}"/>
              </a:ext>
            </a:extLst>
          </p:cNvPr>
          <p:cNvSpPr/>
          <p:nvPr/>
        </p:nvSpPr>
        <p:spPr>
          <a:xfrm>
            <a:off x="64074" y="1925809"/>
            <a:ext cx="668016" cy="2585382"/>
          </a:xfrm>
          <a:prstGeom prst="roundRect">
            <a:avLst>
              <a:gd name="adj" fmla="val 9171"/>
            </a:avLst>
          </a:prstGeom>
          <a:solidFill>
            <a:srgbClr val="FE96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tau Display Black" panose="020B0903020204020204" pitchFamily="34" charset="0"/>
              <a:ea typeface="+mn-ea"/>
              <a:cs typeface="Itau Display Black" panose="020B0903020204020204" pitchFamily="34" charset="0"/>
            </a:endParaRP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49D63DC8-5468-51A1-7F81-EE5AE89E5D14}"/>
              </a:ext>
            </a:extLst>
          </p:cNvPr>
          <p:cNvSpPr/>
          <p:nvPr/>
        </p:nvSpPr>
        <p:spPr>
          <a:xfrm>
            <a:off x="820830" y="1911744"/>
            <a:ext cx="11325588" cy="2589679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000" b="1" i="0" u="sng" strike="noStrike" kern="0" cap="none" spc="0" normalizeH="0" baseline="0" noProof="0">
              <a:ln>
                <a:noFill/>
              </a:ln>
              <a:solidFill>
                <a:srgbClr val="FF7800"/>
              </a:solidFill>
              <a:effectLst/>
              <a:uLnTx/>
              <a:uFillTx/>
              <a:latin typeface="Itau Display Black" panose="020B0903020204020204" pitchFamily="34" charset="0"/>
              <a:ea typeface="+mn-ea"/>
              <a:cs typeface="Itau Display Black" panose="020B0903020204020204" pitchFamily="34" charset="0"/>
            </a:endParaRPr>
          </a:p>
        </p:txBody>
      </p:sp>
      <p:sp>
        <p:nvSpPr>
          <p:cNvPr id="85" name="Retângulo: Cantos Arredondados 84">
            <a:extLst>
              <a:ext uri="{FF2B5EF4-FFF2-40B4-BE49-F238E27FC236}">
                <a16:creationId xmlns:a16="http://schemas.microsoft.com/office/drawing/2014/main" id="{F69D5467-FE05-3B1E-99D1-9B5AEE187019}"/>
              </a:ext>
            </a:extLst>
          </p:cNvPr>
          <p:cNvSpPr/>
          <p:nvPr/>
        </p:nvSpPr>
        <p:spPr>
          <a:xfrm rot="16200000">
            <a:off x="-1052828" y="3161446"/>
            <a:ext cx="2860104" cy="720000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 Black" panose="020B0903020204020204" pitchFamily="34" charset="0"/>
                <a:ea typeface="+mn-ea"/>
                <a:cs typeface="Itau Display Black" panose="020B0903020204020204" pitchFamily="34" charset="0"/>
              </a:rPr>
              <a:t>As  </a:t>
            </a:r>
            <a:r>
              <a:rPr kumimoji="0" lang="pt-BR" sz="1200" b="1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 Black" panose="020B0903020204020204" pitchFamily="34" charset="0"/>
                <a:ea typeface="+mn-ea"/>
                <a:cs typeface="Itau Display Black" panose="020B0903020204020204" pitchFamily="34" charset="0"/>
              </a:rPr>
              <a:t>Is</a:t>
            </a:r>
            <a:endParaRPr kumimoji="0" lang="pt-BR" sz="12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tau Display Black" panose="020B0903020204020204" pitchFamily="34" charset="0"/>
              <a:ea typeface="+mn-ea"/>
              <a:cs typeface="Itau Display Black" panose="020B0903020204020204" pitchFamily="34" charset="0"/>
            </a:endParaRPr>
          </a:p>
        </p:txBody>
      </p:sp>
      <p:sp>
        <p:nvSpPr>
          <p:cNvPr id="1169" name="Retângulo 1168">
            <a:extLst>
              <a:ext uri="{FF2B5EF4-FFF2-40B4-BE49-F238E27FC236}">
                <a16:creationId xmlns:a16="http://schemas.microsoft.com/office/drawing/2014/main" id="{60374896-4E90-6C9F-041B-F9611AFED7A9}"/>
              </a:ext>
            </a:extLst>
          </p:cNvPr>
          <p:cNvSpPr/>
          <p:nvPr/>
        </p:nvSpPr>
        <p:spPr>
          <a:xfrm>
            <a:off x="1432189" y="747017"/>
            <a:ext cx="638028" cy="334619"/>
          </a:xfrm>
          <a:prstGeom prst="rect">
            <a:avLst/>
          </a:prstGeom>
          <a:solidFill>
            <a:srgbClr val="FE9600"/>
          </a:solidFill>
          <a:ln w="12700" cap="flat" cmpd="sng" algn="ctr">
            <a:solidFill>
              <a:srgbClr val="FF993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Interesse</a:t>
            </a:r>
          </a:p>
        </p:txBody>
      </p:sp>
      <p:sp>
        <p:nvSpPr>
          <p:cNvPr id="1170" name="Retângulo 1169">
            <a:extLst>
              <a:ext uri="{FF2B5EF4-FFF2-40B4-BE49-F238E27FC236}">
                <a16:creationId xmlns:a16="http://schemas.microsoft.com/office/drawing/2014/main" id="{851ACAE1-B37B-26A7-8DDC-849365FBD1D1}"/>
              </a:ext>
            </a:extLst>
          </p:cNvPr>
          <p:cNvSpPr/>
          <p:nvPr/>
        </p:nvSpPr>
        <p:spPr>
          <a:xfrm>
            <a:off x="2125000" y="747017"/>
            <a:ext cx="832210" cy="334619"/>
          </a:xfrm>
          <a:prstGeom prst="rect">
            <a:avLst/>
          </a:prstGeom>
          <a:solidFill>
            <a:srgbClr val="FE9600"/>
          </a:solidFill>
          <a:ln w="12700" cap="flat" cmpd="sng" algn="ctr">
            <a:solidFill>
              <a:srgbClr val="FF993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Consideração</a:t>
            </a:r>
          </a:p>
        </p:txBody>
      </p:sp>
      <p:sp>
        <p:nvSpPr>
          <p:cNvPr id="1171" name="Retângulo 1170">
            <a:extLst>
              <a:ext uri="{FF2B5EF4-FFF2-40B4-BE49-F238E27FC236}">
                <a16:creationId xmlns:a16="http://schemas.microsoft.com/office/drawing/2014/main" id="{DA4885D1-3718-3B07-8C55-A5ED470A891A}"/>
              </a:ext>
            </a:extLst>
          </p:cNvPr>
          <p:cNvSpPr/>
          <p:nvPr/>
        </p:nvSpPr>
        <p:spPr>
          <a:xfrm>
            <a:off x="3021133" y="747017"/>
            <a:ext cx="703180" cy="334619"/>
          </a:xfrm>
          <a:prstGeom prst="rect">
            <a:avLst/>
          </a:prstGeom>
          <a:solidFill>
            <a:srgbClr val="FE9600"/>
          </a:solidFill>
          <a:ln w="12700" cap="flat" cmpd="sng" algn="ctr">
            <a:solidFill>
              <a:srgbClr val="FF993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Negociação</a:t>
            </a:r>
          </a:p>
        </p:txBody>
      </p:sp>
      <p:sp>
        <p:nvSpPr>
          <p:cNvPr id="1172" name="Retângulo 1171">
            <a:extLst>
              <a:ext uri="{FF2B5EF4-FFF2-40B4-BE49-F238E27FC236}">
                <a16:creationId xmlns:a16="http://schemas.microsoft.com/office/drawing/2014/main" id="{0BA348DC-062E-718D-11B7-3A7E42324A79}"/>
              </a:ext>
            </a:extLst>
          </p:cNvPr>
          <p:cNvSpPr/>
          <p:nvPr/>
        </p:nvSpPr>
        <p:spPr>
          <a:xfrm>
            <a:off x="3762413" y="747016"/>
            <a:ext cx="3719936" cy="324000"/>
          </a:xfrm>
          <a:prstGeom prst="rect">
            <a:avLst/>
          </a:prstGeom>
          <a:solidFill>
            <a:srgbClr val="FE9600"/>
          </a:solidFill>
          <a:ln w="12700" cap="flat" cmpd="sng" algn="ctr">
            <a:solidFill>
              <a:srgbClr val="FF993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Formalização</a:t>
            </a:r>
          </a:p>
        </p:txBody>
      </p:sp>
      <p:sp>
        <p:nvSpPr>
          <p:cNvPr id="1173" name="Retângulo 1172">
            <a:extLst>
              <a:ext uri="{FF2B5EF4-FFF2-40B4-BE49-F238E27FC236}">
                <a16:creationId xmlns:a16="http://schemas.microsoft.com/office/drawing/2014/main" id="{EA21A16C-F06C-3EFA-2A0E-8612E5CE53B2}"/>
              </a:ext>
            </a:extLst>
          </p:cNvPr>
          <p:cNvSpPr/>
          <p:nvPr/>
        </p:nvSpPr>
        <p:spPr>
          <a:xfrm>
            <a:off x="7541031" y="747016"/>
            <a:ext cx="4041477" cy="324000"/>
          </a:xfrm>
          <a:prstGeom prst="rect">
            <a:avLst/>
          </a:prstGeom>
          <a:solidFill>
            <a:srgbClr val="FE9600"/>
          </a:solidFill>
          <a:ln w="12700" cap="flat" cmpd="sng" algn="ctr">
            <a:solidFill>
              <a:srgbClr val="FF993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Pós-Venda</a:t>
            </a:r>
          </a:p>
        </p:txBody>
      </p:sp>
      <p:pic>
        <p:nvPicPr>
          <p:cNvPr id="1175" name="Imagem 1174" descr="Logotipo&#10;&#10;Descrição gerada automaticamente">
            <a:extLst>
              <a:ext uri="{FF2B5EF4-FFF2-40B4-BE49-F238E27FC236}">
                <a16:creationId xmlns:a16="http://schemas.microsoft.com/office/drawing/2014/main" id="{37819DAD-FCA6-064C-3FEE-87D5237E166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368" y="783016"/>
            <a:ext cx="259385" cy="252000"/>
          </a:xfrm>
          <a:prstGeom prst="rect">
            <a:avLst/>
          </a:prstGeom>
        </p:spPr>
      </p:pic>
      <p:sp>
        <p:nvSpPr>
          <p:cNvPr id="1176" name="Retângulo 1175">
            <a:extLst>
              <a:ext uri="{FF2B5EF4-FFF2-40B4-BE49-F238E27FC236}">
                <a16:creationId xmlns:a16="http://schemas.microsoft.com/office/drawing/2014/main" id="{5D6DE9FB-05A6-C44B-40DE-75DB6C317E25}"/>
              </a:ext>
            </a:extLst>
          </p:cNvPr>
          <p:cNvSpPr/>
          <p:nvPr/>
        </p:nvSpPr>
        <p:spPr>
          <a:xfrm>
            <a:off x="1436312" y="1536343"/>
            <a:ext cx="2288000" cy="324000"/>
          </a:xfrm>
          <a:prstGeom prst="rect">
            <a:avLst/>
          </a:prstGeom>
          <a:solidFill>
            <a:srgbClr val="C4C4C4"/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Criação e Manutenção de </a:t>
            </a:r>
            <a:r>
              <a:rPr kumimoji="0" lang="pt-BR" sz="800" b="1" i="1" u="none" strike="noStrike" kern="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Templates</a:t>
            </a:r>
            <a:r>
              <a:rPr kumimoji="0" lang="pt-BR" sz="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 </a:t>
            </a:r>
          </a:p>
        </p:txBody>
      </p:sp>
      <p:sp>
        <p:nvSpPr>
          <p:cNvPr id="1177" name="Retângulo 1176">
            <a:extLst>
              <a:ext uri="{FF2B5EF4-FFF2-40B4-BE49-F238E27FC236}">
                <a16:creationId xmlns:a16="http://schemas.microsoft.com/office/drawing/2014/main" id="{5EDEEE4F-8BC0-D92D-3DED-103894A9AFED}"/>
              </a:ext>
            </a:extLst>
          </p:cNvPr>
          <p:cNvSpPr/>
          <p:nvPr/>
        </p:nvSpPr>
        <p:spPr>
          <a:xfrm>
            <a:off x="7541031" y="1523324"/>
            <a:ext cx="4041476" cy="329423"/>
          </a:xfrm>
          <a:prstGeom prst="rect">
            <a:avLst/>
          </a:prstGeom>
          <a:solidFill>
            <a:sysClr val="window" lastClr="FFFFFF">
              <a:lumMod val="7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Pesquisa e Recuperação</a:t>
            </a:r>
          </a:p>
        </p:txBody>
      </p:sp>
      <p:sp>
        <p:nvSpPr>
          <p:cNvPr id="1178" name="Retângulo 1177">
            <a:extLst>
              <a:ext uri="{FF2B5EF4-FFF2-40B4-BE49-F238E27FC236}">
                <a16:creationId xmlns:a16="http://schemas.microsoft.com/office/drawing/2014/main" id="{736F8E5E-21C0-F5F0-C9ED-1165063137B0}"/>
              </a:ext>
            </a:extLst>
          </p:cNvPr>
          <p:cNvSpPr/>
          <p:nvPr/>
        </p:nvSpPr>
        <p:spPr>
          <a:xfrm>
            <a:off x="3762415" y="1536343"/>
            <a:ext cx="1061112" cy="324000"/>
          </a:xfrm>
          <a:prstGeom prst="rect">
            <a:avLst/>
          </a:prstGeom>
          <a:solidFill>
            <a:sysClr val="window" lastClr="FFFFFF">
              <a:lumMod val="7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Digitalização e Captura</a:t>
            </a:r>
          </a:p>
        </p:txBody>
      </p:sp>
      <p:sp>
        <p:nvSpPr>
          <p:cNvPr id="1179" name="Retângulo 1178">
            <a:extLst>
              <a:ext uri="{FF2B5EF4-FFF2-40B4-BE49-F238E27FC236}">
                <a16:creationId xmlns:a16="http://schemas.microsoft.com/office/drawing/2014/main" id="{2A29187C-FA00-E4D4-6024-DC1066031FC3}"/>
              </a:ext>
            </a:extLst>
          </p:cNvPr>
          <p:cNvSpPr/>
          <p:nvPr/>
        </p:nvSpPr>
        <p:spPr>
          <a:xfrm>
            <a:off x="4888616" y="1525032"/>
            <a:ext cx="714926" cy="324000"/>
          </a:xfrm>
          <a:prstGeom prst="rect">
            <a:avLst/>
          </a:prstGeom>
          <a:solidFill>
            <a:sysClr val="window" lastClr="FFFFFF">
              <a:lumMod val="7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tau Display" panose="020B0503020204020204" pitchFamily="34" charset="0"/>
              <a:ea typeface="+mn-ea"/>
              <a:cs typeface="Itau Display" panose="020B0503020204020204" pitchFamily="34" charset="0"/>
            </a:endParaRPr>
          </a:p>
        </p:txBody>
      </p:sp>
      <p:sp>
        <p:nvSpPr>
          <p:cNvPr id="1180" name="Retângulo 1179">
            <a:extLst>
              <a:ext uri="{FF2B5EF4-FFF2-40B4-BE49-F238E27FC236}">
                <a16:creationId xmlns:a16="http://schemas.microsoft.com/office/drawing/2014/main" id="{9FDD4BA8-1EC0-CD8F-1BD7-8DF64C2851DB}"/>
              </a:ext>
            </a:extLst>
          </p:cNvPr>
          <p:cNvSpPr/>
          <p:nvPr/>
        </p:nvSpPr>
        <p:spPr>
          <a:xfrm>
            <a:off x="5668630" y="1517713"/>
            <a:ext cx="851119" cy="330696"/>
          </a:xfrm>
          <a:prstGeom prst="rect">
            <a:avLst/>
          </a:prstGeom>
          <a:solidFill>
            <a:sysClr val="window" lastClr="FFFFFF">
              <a:lumMod val="7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Armaz</a:t>
            </a:r>
            <a:r>
              <a:rPr kumimoji="0" lang="pt-BR" sz="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. &amp; Gerencia./</a:t>
            </a:r>
          </a:p>
        </p:txBody>
      </p:sp>
      <p:sp>
        <p:nvSpPr>
          <p:cNvPr id="1181" name="Retângulo 1180">
            <a:extLst>
              <a:ext uri="{FF2B5EF4-FFF2-40B4-BE49-F238E27FC236}">
                <a16:creationId xmlns:a16="http://schemas.microsoft.com/office/drawing/2014/main" id="{A5D7018B-96F4-89A0-39D2-CEC32CF055D9}"/>
              </a:ext>
            </a:extLst>
          </p:cNvPr>
          <p:cNvSpPr/>
          <p:nvPr/>
        </p:nvSpPr>
        <p:spPr>
          <a:xfrm>
            <a:off x="6570033" y="1522695"/>
            <a:ext cx="912316" cy="324000"/>
          </a:xfrm>
          <a:prstGeom prst="rect">
            <a:avLst/>
          </a:prstGeom>
          <a:solidFill>
            <a:sysClr val="window" lastClr="FFFFFF">
              <a:lumMod val="7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Distribuição e Comunicação</a:t>
            </a:r>
          </a:p>
        </p:txBody>
      </p:sp>
      <p:sp>
        <p:nvSpPr>
          <p:cNvPr id="1182" name="Retângulo 1181">
            <a:extLst>
              <a:ext uri="{FF2B5EF4-FFF2-40B4-BE49-F238E27FC236}">
                <a16:creationId xmlns:a16="http://schemas.microsoft.com/office/drawing/2014/main" id="{B016449C-4E28-14A7-0A18-6650A709A21C}"/>
              </a:ext>
            </a:extLst>
          </p:cNvPr>
          <p:cNvSpPr/>
          <p:nvPr/>
        </p:nvSpPr>
        <p:spPr>
          <a:xfrm>
            <a:off x="76504" y="1536343"/>
            <a:ext cx="1289287" cy="324000"/>
          </a:xfrm>
          <a:prstGeom prst="rect">
            <a:avLst/>
          </a:prstGeom>
          <a:noFill/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bIns="36000" rtlCol="0" anchor="ctr"/>
          <a:lstStyle/>
          <a:p>
            <a:pPr marL="177803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1" b="1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Itau Text Light" panose="020B0403020204020203" pitchFamily="34" charset="0"/>
                <a:ea typeface="+mn-ea"/>
                <a:cs typeface="Itau Text Light" panose="020B0403020204020203" pitchFamily="34" charset="0"/>
              </a:rPr>
              <a:t>Conteúdos</a:t>
            </a:r>
            <a:endParaRPr kumimoji="0" lang="pt-BR" sz="1051" b="1" i="0" u="none" strike="noStrike" kern="0" cap="none" spc="0" normalizeH="0" baseline="0" noProof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Itau Text Light" panose="020B0403020204020203" pitchFamily="34" charset="0"/>
              <a:ea typeface="+mn-ea"/>
              <a:cs typeface="Itau Text Light" panose="020B0403020204020203" pitchFamily="34" charset="0"/>
            </a:endParaRPr>
          </a:p>
        </p:txBody>
      </p:sp>
      <p:sp>
        <p:nvSpPr>
          <p:cNvPr id="1183" name="Retângulo 1182">
            <a:extLst>
              <a:ext uri="{FF2B5EF4-FFF2-40B4-BE49-F238E27FC236}">
                <a16:creationId xmlns:a16="http://schemas.microsoft.com/office/drawing/2014/main" id="{74396448-EEAA-3313-29DE-D59227A6E178}"/>
              </a:ext>
            </a:extLst>
          </p:cNvPr>
          <p:cNvSpPr/>
          <p:nvPr/>
        </p:nvSpPr>
        <p:spPr>
          <a:xfrm>
            <a:off x="11620607" y="1536343"/>
            <a:ext cx="504368" cy="306000"/>
          </a:xfrm>
          <a:prstGeom prst="rect">
            <a:avLst/>
          </a:prstGeom>
          <a:solidFill>
            <a:sysClr val="window" lastClr="FFFFFF">
              <a:lumMod val="7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tau Display" panose="020B0503020204020204" pitchFamily="34" charset="0"/>
              <a:ea typeface="+mn-ea"/>
              <a:cs typeface="Itau Display" panose="020B0503020204020204" pitchFamily="34" charset="0"/>
            </a:endParaRPr>
          </a:p>
        </p:txBody>
      </p:sp>
      <p:sp>
        <p:nvSpPr>
          <p:cNvPr id="1184" name="Retângulo 1183">
            <a:extLst>
              <a:ext uri="{FF2B5EF4-FFF2-40B4-BE49-F238E27FC236}">
                <a16:creationId xmlns:a16="http://schemas.microsoft.com/office/drawing/2014/main" id="{35A554E2-FB75-AC5E-D56D-3226AE385162}"/>
              </a:ext>
            </a:extLst>
          </p:cNvPr>
          <p:cNvSpPr/>
          <p:nvPr/>
        </p:nvSpPr>
        <p:spPr>
          <a:xfrm>
            <a:off x="1432188" y="1141679"/>
            <a:ext cx="2292124" cy="324000"/>
          </a:xfrm>
          <a:prstGeom prst="rect">
            <a:avLst/>
          </a:prstGeom>
          <a:solidFill>
            <a:srgbClr val="024584"/>
          </a:solidFill>
          <a:ln w="12700" cap="flat" cmpd="sng" algn="ctr">
            <a:solidFill>
              <a:srgbClr val="0E339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Oferta</a:t>
            </a:r>
          </a:p>
        </p:txBody>
      </p:sp>
      <p:sp>
        <p:nvSpPr>
          <p:cNvPr id="1185" name="Retângulo 1184">
            <a:extLst>
              <a:ext uri="{FF2B5EF4-FFF2-40B4-BE49-F238E27FC236}">
                <a16:creationId xmlns:a16="http://schemas.microsoft.com/office/drawing/2014/main" id="{F19A3E73-C333-1960-CF7E-CCD5195D68B1}"/>
              </a:ext>
            </a:extLst>
          </p:cNvPr>
          <p:cNvSpPr/>
          <p:nvPr/>
        </p:nvSpPr>
        <p:spPr>
          <a:xfrm>
            <a:off x="8370712" y="1141441"/>
            <a:ext cx="2629411" cy="335310"/>
          </a:xfrm>
          <a:prstGeom prst="rect">
            <a:avLst/>
          </a:prstGeom>
          <a:solidFill>
            <a:srgbClr val="024584"/>
          </a:solidFill>
          <a:ln w="12700" cap="flat" cmpd="sng" algn="ctr">
            <a:solidFill>
              <a:srgbClr val="0E339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Atendimento</a:t>
            </a:r>
          </a:p>
        </p:txBody>
      </p:sp>
      <p:sp>
        <p:nvSpPr>
          <p:cNvPr id="1186" name="Retângulo 1185">
            <a:extLst>
              <a:ext uri="{FF2B5EF4-FFF2-40B4-BE49-F238E27FC236}">
                <a16:creationId xmlns:a16="http://schemas.microsoft.com/office/drawing/2014/main" id="{B1A52FCD-7917-0426-B348-B2207BE1EE49}"/>
              </a:ext>
            </a:extLst>
          </p:cNvPr>
          <p:cNvSpPr/>
          <p:nvPr/>
        </p:nvSpPr>
        <p:spPr>
          <a:xfrm>
            <a:off x="11038223" y="1141441"/>
            <a:ext cx="544284" cy="335310"/>
          </a:xfrm>
          <a:prstGeom prst="rect">
            <a:avLst/>
          </a:prstGeom>
          <a:solidFill>
            <a:srgbClr val="024584"/>
          </a:solidFill>
          <a:ln w="12700" cap="flat" cmpd="sng" algn="ctr">
            <a:solidFill>
              <a:srgbClr val="0E339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Encerramento</a:t>
            </a:r>
          </a:p>
        </p:txBody>
      </p:sp>
      <p:sp>
        <p:nvSpPr>
          <p:cNvPr id="1187" name="Retângulo 1186">
            <a:extLst>
              <a:ext uri="{FF2B5EF4-FFF2-40B4-BE49-F238E27FC236}">
                <a16:creationId xmlns:a16="http://schemas.microsoft.com/office/drawing/2014/main" id="{88F8C98A-2B6D-6CBB-516A-8BD1DD9FEF90}"/>
              </a:ext>
            </a:extLst>
          </p:cNvPr>
          <p:cNvSpPr/>
          <p:nvPr/>
        </p:nvSpPr>
        <p:spPr>
          <a:xfrm>
            <a:off x="3762415" y="1141441"/>
            <a:ext cx="1086798" cy="324000"/>
          </a:xfrm>
          <a:prstGeom prst="rect">
            <a:avLst/>
          </a:prstGeom>
          <a:solidFill>
            <a:srgbClr val="024584"/>
          </a:solidFill>
          <a:ln w="12700" cap="flat" cmpd="sng" algn="ctr">
            <a:solidFill>
              <a:srgbClr val="0E339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Contratação de Produtos e Serviços</a:t>
            </a:r>
          </a:p>
        </p:txBody>
      </p:sp>
      <p:sp>
        <p:nvSpPr>
          <p:cNvPr id="1188" name="Retângulo 1187">
            <a:extLst>
              <a:ext uri="{FF2B5EF4-FFF2-40B4-BE49-F238E27FC236}">
                <a16:creationId xmlns:a16="http://schemas.microsoft.com/office/drawing/2014/main" id="{FB45DBAA-E714-B2FC-9B35-31BEBB73EDBF}"/>
              </a:ext>
            </a:extLst>
          </p:cNvPr>
          <p:cNvSpPr/>
          <p:nvPr/>
        </p:nvSpPr>
        <p:spPr>
          <a:xfrm>
            <a:off x="7559846" y="1141441"/>
            <a:ext cx="755744" cy="335310"/>
          </a:xfrm>
          <a:prstGeom prst="rect">
            <a:avLst/>
          </a:prstGeom>
          <a:solidFill>
            <a:srgbClr val="024584"/>
          </a:solidFill>
          <a:ln w="12700" cap="flat" cmpd="sng" algn="ctr">
            <a:solidFill>
              <a:srgbClr val="0E339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Manutenção / Uso  produtos</a:t>
            </a:r>
          </a:p>
        </p:txBody>
      </p:sp>
      <p:sp>
        <p:nvSpPr>
          <p:cNvPr id="1189" name="Retângulo 1188">
            <a:extLst>
              <a:ext uri="{FF2B5EF4-FFF2-40B4-BE49-F238E27FC236}">
                <a16:creationId xmlns:a16="http://schemas.microsoft.com/office/drawing/2014/main" id="{533BFBF0-FF60-AD9A-C643-A217A75758DD}"/>
              </a:ext>
            </a:extLst>
          </p:cNvPr>
          <p:cNvSpPr/>
          <p:nvPr/>
        </p:nvSpPr>
        <p:spPr>
          <a:xfrm>
            <a:off x="76504" y="1141679"/>
            <a:ext cx="1289287" cy="324000"/>
          </a:xfrm>
          <a:prstGeom prst="rect">
            <a:avLst/>
          </a:prstGeom>
          <a:noFill/>
          <a:ln w="12700" cap="flat" cmpd="sng" algn="ctr">
            <a:solidFill>
              <a:srgbClr val="6699FF"/>
            </a:solidFill>
            <a:prstDash val="solid"/>
            <a:miter lim="800000"/>
          </a:ln>
          <a:effectLst/>
        </p:spPr>
        <p:txBody>
          <a:bodyPr bIns="36000" rtlCol="0" anchor="ctr"/>
          <a:lstStyle/>
          <a:p>
            <a:pPr marL="177803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1" b="1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Itau Text Light" panose="020B0403020204020203" pitchFamily="34" charset="0"/>
                <a:ea typeface="+mn-ea"/>
                <a:cs typeface="Itau Text Light" panose="020B0403020204020203" pitchFamily="34" charset="0"/>
              </a:rPr>
              <a:t>Visão do Processo</a:t>
            </a:r>
            <a:endParaRPr kumimoji="0" lang="pt-BR" sz="1051" b="1" i="0" u="none" strike="noStrike" kern="0" cap="none" spc="0" normalizeH="0" baseline="0" noProof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Itau Text Light" panose="020B0403020204020203" pitchFamily="34" charset="0"/>
              <a:ea typeface="+mn-ea"/>
              <a:cs typeface="Itau Text Light" panose="020B0403020204020203" pitchFamily="34" charset="0"/>
            </a:endParaRPr>
          </a:p>
        </p:txBody>
      </p:sp>
      <p:pic>
        <p:nvPicPr>
          <p:cNvPr id="1190" name="Imagem 1189" descr="Ícone&#10;&#10;Descrição gerada automaticamente">
            <a:extLst>
              <a:ext uri="{FF2B5EF4-FFF2-40B4-BE49-F238E27FC236}">
                <a16:creationId xmlns:a16="http://schemas.microsoft.com/office/drawing/2014/main" id="{BEB9255B-B852-9952-BE39-F326A523556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588" y="1195679"/>
            <a:ext cx="212948" cy="216000"/>
          </a:xfrm>
          <a:prstGeom prst="rect">
            <a:avLst/>
          </a:prstGeom>
        </p:spPr>
      </p:pic>
      <p:pic>
        <p:nvPicPr>
          <p:cNvPr id="1191" name="Gráfico 1190" descr="Livros na prateleira com preenchimento sólido">
            <a:extLst>
              <a:ext uri="{FF2B5EF4-FFF2-40B4-BE49-F238E27FC236}">
                <a16:creationId xmlns:a16="http://schemas.microsoft.com/office/drawing/2014/main" id="{A5EF0636-8530-AD6F-288C-470C5F33D49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8158" y="1554343"/>
            <a:ext cx="288000" cy="288000"/>
          </a:xfrm>
          <a:prstGeom prst="rect">
            <a:avLst/>
          </a:prstGeom>
        </p:spPr>
      </p:pic>
      <p:sp>
        <p:nvSpPr>
          <p:cNvPr id="1192" name="Retângulo 1191">
            <a:extLst>
              <a:ext uri="{FF2B5EF4-FFF2-40B4-BE49-F238E27FC236}">
                <a16:creationId xmlns:a16="http://schemas.microsoft.com/office/drawing/2014/main" id="{1F23831A-9EDA-5661-0D69-738C53AF9212}"/>
              </a:ext>
            </a:extLst>
          </p:cNvPr>
          <p:cNvSpPr/>
          <p:nvPr/>
        </p:nvSpPr>
        <p:spPr>
          <a:xfrm>
            <a:off x="11620607" y="1141441"/>
            <a:ext cx="504368" cy="335310"/>
          </a:xfrm>
          <a:prstGeom prst="rect">
            <a:avLst/>
          </a:prstGeom>
          <a:solidFill>
            <a:srgbClr val="024584"/>
          </a:solidFill>
          <a:ln w="12700" cap="flat" cmpd="sng" algn="ctr">
            <a:solidFill>
              <a:srgbClr val="0E339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Gov.</a:t>
            </a:r>
          </a:p>
        </p:txBody>
      </p:sp>
      <p:sp>
        <p:nvSpPr>
          <p:cNvPr id="1193" name="Retângulo 1192">
            <a:extLst>
              <a:ext uri="{FF2B5EF4-FFF2-40B4-BE49-F238E27FC236}">
                <a16:creationId xmlns:a16="http://schemas.microsoft.com/office/drawing/2014/main" id="{8E2CACF6-8C55-6229-0A1B-A31658CEA984}"/>
              </a:ext>
            </a:extLst>
          </p:cNvPr>
          <p:cNvSpPr/>
          <p:nvPr/>
        </p:nvSpPr>
        <p:spPr>
          <a:xfrm>
            <a:off x="4876013" y="1141441"/>
            <a:ext cx="1643737" cy="324000"/>
          </a:xfrm>
          <a:prstGeom prst="rect">
            <a:avLst/>
          </a:prstGeom>
          <a:solidFill>
            <a:srgbClr val="024584"/>
          </a:solidFill>
          <a:ln w="12700" cap="flat" cmpd="sng" algn="ctr">
            <a:solidFill>
              <a:srgbClr val="0E339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Registro e Formalização</a:t>
            </a:r>
          </a:p>
        </p:txBody>
      </p:sp>
      <p:sp>
        <p:nvSpPr>
          <p:cNvPr id="1194" name="Retângulo 1193">
            <a:extLst>
              <a:ext uri="{FF2B5EF4-FFF2-40B4-BE49-F238E27FC236}">
                <a16:creationId xmlns:a16="http://schemas.microsoft.com/office/drawing/2014/main" id="{39AC86B3-1B07-A4CB-2867-9EE3E12138D8}"/>
              </a:ext>
            </a:extLst>
          </p:cNvPr>
          <p:cNvSpPr/>
          <p:nvPr/>
        </p:nvSpPr>
        <p:spPr>
          <a:xfrm>
            <a:off x="6570033" y="1141441"/>
            <a:ext cx="912316" cy="324000"/>
          </a:xfrm>
          <a:prstGeom prst="rect">
            <a:avLst/>
          </a:prstGeom>
          <a:solidFill>
            <a:srgbClr val="024584"/>
          </a:solidFill>
          <a:ln w="12700" cap="flat" cmpd="sng" algn="ctr">
            <a:solidFill>
              <a:srgbClr val="0E339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Liberação</a:t>
            </a:r>
          </a:p>
        </p:txBody>
      </p:sp>
      <p:sp>
        <p:nvSpPr>
          <p:cNvPr id="1195" name="CaixaDeTexto 1194">
            <a:extLst>
              <a:ext uri="{FF2B5EF4-FFF2-40B4-BE49-F238E27FC236}">
                <a16:creationId xmlns:a16="http://schemas.microsoft.com/office/drawing/2014/main" id="{4D985943-F06E-DF5B-07D1-218D185167C3}"/>
              </a:ext>
            </a:extLst>
          </p:cNvPr>
          <p:cNvSpPr txBox="1"/>
          <p:nvPr/>
        </p:nvSpPr>
        <p:spPr>
          <a:xfrm>
            <a:off x="11533790" y="1587402"/>
            <a:ext cx="72000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Expurgo</a:t>
            </a:r>
          </a:p>
        </p:txBody>
      </p:sp>
      <p:sp>
        <p:nvSpPr>
          <p:cNvPr id="1196" name="CaixaDeTexto 1195">
            <a:extLst>
              <a:ext uri="{FF2B5EF4-FFF2-40B4-BE49-F238E27FC236}">
                <a16:creationId xmlns:a16="http://schemas.microsoft.com/office/drawing/2014/main" id="{559AB535-1720-31B4-C870-CF15485C121C}"/>
              </a:ext>
            </a:extLst>
          </p:cNvPr>
          <p:cNvSpPr txBox="1"/>
          <p:nvPr/>
        </p:nvSpPr>
        <p:spPr>
          <a:xfrm>
            <a:off x="4882250" y="1531298"/>
            <a:ext cx="76966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Certif</a:t>
            </a:r>
            <a:r>
              <a:rPr kumimoji="0" lang="pt-BR" sz="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. &amp; Validação</a:t>
            </a:r>
          </a:p>
        </p:txBody>
      </p:sp>
      <p:sp>
        <p:nvSpPr>
          <p:cNvPr id="1198" name="Retângulo 1197">
            <a:extLst>
              <a:ext uri="{FF2B5EF4-FFF2-40B4-BE49-F238E27FC236}">
                <a16:creationId xmlns:a16="http://schemas.microsoft.com/office/drawing/2014/main" id="{E2E0581F-9361-ECB0-941F-90725A77DF78}"/>
              </a:ext>
            </a:extLst>
          </p:cNvPr>
          <p:cNvSpPr/>
          <p:nvPr/>
        </p:nvSpPr>
        <p:spPr>
          <a:xfrm>
            <a:off x="11620607" y="747016"/>
            <a:ext cx="504368" cy="324000"/>
          </a:xfrm>
          <a:prstGeom prst="rect">
            <a:avLst/>
          </a:prstGeom>
          <a:solidFill>
            <a:srgbClr val="FE9600"/>
          </a:solidFill>
          <a:ln w="12700" cap="flat" cmpd="sng" algn="ctr">
            <a:solidFill>
              <a:srgbClr val="FF993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-</a:t>
            </a:r>
          </a:p>
        </p:txBody>
      </p:sp>
      <p:grpSp>
        <p:nvGrpSpPr>
          <p:cNvPr id="1218" name="Agrupar 1217">
            <a:extLst>
              <a:ext uri="{FF2B5EF4-FFF2-40B4-BE49-F238E27FC236}">
                <a16:creationId xmlns:a16="http://schemas.microsoft.com/office/drawing/2014/main" id="{D1518B1B-B1DB-C496-61D3-74722F7C3337}"/>
              </a:ext>
            </a:extLst>
          </p:cNvPr>
          <p:cNvGrpSpPr/>
          <p:nvPr/>
        </p:nvGrpSpPr>
        <p:grpSpPr>
          <a:xfrm>
            <a:off x="1731664" y="2503184"/>
            <a:ext cx="720000" cy="467227"/>
            <a:chOff x="1735517" y="2703352"/>
            <a:chExt cx="720000" cy="467227"/>
          </a:xfrm>
        </p:grpSpPr>
        <p:sp>
          <p:nvSpPr>
            <p:cNvPr id="1202" name="CaixaDeTexto 1201">
              <a:extLst>
                <a:ext uri="{FF2B5EF4-FFF2-40B4-BE49-F238E27FC236}">
                  <a16:creationId xmlns:a16="http://schemas.microsoft.com/office/drawing/2014/main" id="{9836D474-52F0-21B5-D53F-6BE38737E550}"/>
                </a:ext>
              </a:extLst>
            </p:cNvPr>
            <p:cNvSpPr txBox="1"/>
            <p:nvPr/>
          </p:nvSpPr>
          <p:spPr>
            <a:xfrm>
              <a:off x="1735517" y="2939747"/>
              <a:ext cx="72000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3165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Aplicativos</a:t>
              </a:r>
            </a:p>
          </p:txBody>
        </p:sp>
        <p:sp>
          <p:nvSpPr>
            <p:cNvPr id="1203" name="Forma">
              <a:extLst>
                <a:ext uri="{FF2B5EF4-FFF2-40B4-BE49-F238E27FC236}">
                  <a16:creationId xmlns:a16="http://schemas.microsoft.com/office/drawing/2014/main" id="{6C65250C-690E-401E-3323-9157A212A8C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19887" y="2703352"/>
              <a:ext cx="151261" cy="252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018" y="950"/>
                  </a:moveTo>
                  <a:cubicBezTo>
                    <a:pt x="21073" y="1583"/>
                    <a:pt x="21600" y="2347"/>
                    <a:pt x="21600" y="3241"/>
                  </a:cubicBezTo>
                  <a:lnTo>
                    <a:pt x="21600" y="18359"/>
                  </a:lnTo>
                  <a:cubicBezTo>
                    <a:pt x="21600" y="19254"/>
                    <a:pt x="21073" y="20017"/>
                    <a:pt x="20018" y="20650"/>
                  </a:cubicBezTo>
                  <a:cubicBezTo>
                    <a:pt x="18963" y="21283"/>
                    <a:pt x="17690" y="21600"/>
                    <a:pt x="16200" y="21600"/>
                  </a:cubicBezTo>
                  <a:lnTo>
                    <a:pt x="5400" y="21600"/>
                  </a:lnTo>
                  <a:cubicBezTo>
                    <a:pt x="3909" y="21600"/>
                    <a:pt x="2637" y="21283"/>
                    <a:pt x="1582" y="20650"/>
                  </a:cubicBezTo>
                  <a:cubicBezTo>
                    <a:pt x="527" y="20017"/>
                    <a:pt x="0" y="19254"/>
                    <a:pt x="0" y="18359"/>
                  </a:cubicBezTo>
                  <a:lnTo>
                    <a:pt x="0" y="3241"/>
                  </a:lnTo>
                  <a:cubicBezTo>
                    <a:pt x="0" y="2347"/>
                    <a:pt x="527" y="1583"/>
                    <a:pt x="1582" y="950"/>
                  </a:cubicBezTo>
                  <a:cubicBezTo>
                    <a:pt x="2637" y="317"/>
                    <a:pt x="3909" y="0"/>
                    <a:pt x="5400" y="0"/>
                  </a:cubicBezTo>
                  <a:lnTo>
                    <a:pt x="16200" y="0"/>
                  </a:lnTo>
                  <a:cubicBezTo>
                    <a:pt x="17690" y="0"/>
                    <a:pt x="18963" y="317"/>
                    <a:pt x="20018" y="950"/>
                  </a:cubicBezTo>
                  <a:lnTo>
                    <a:pt x="20018" y="950"/>
                  </a:lnTo>
                  <a:close/>
                  <a:moveTo>
                    <a:pt x="19786" y="18359"/>
                  </a:moveTo>
                  <a:lnTo>
                    <a:pt x="19786" y="16206"/>
                  </a:lnTo>
                  <a:lnTo>
                    <a:pt x="1814" y="16206"/>
                  </a:lnTo>
                  <a:lnTo>
                    <a:pt x="1814" y="18359"/>
                  </a:lnTo>
                  <a:cubicBezTo>
                    <a:pt x="1814" y="18950"/>
                    <a:pt x="2165" y="19456"/>
                    <a:pt x="2869" y="19878"/>
                  </a:cubicBezTo>
                  <a:cubicBezTo>
                    <a:pt x="3571" y="20300"/>
                    <a:pt x="4415" y="20511"/>
                    <a:pt x="5400" y="20511"/>
                  </a:cubicBezTo>
                  <a:lnTo>
                    <a:pt x="16200" y="20511"/>
                  </a:lnTo>
                  <a:cubicBezTo>
                    <a:pt x="17184" y="20511"/>
                    <a:pt x="18028" y="20300"/>
                    <a:pt x="18731" y="19878"/>
                  </a:cubicBezTo>
                  <a:cubicBezTo>
                    <a:pt x="19434" y="19456"/>
                    <a:pt x="19786" y="18950"/>
                    <a:pt x="19786" y="18359"/>
                  </a:cubicBezTo>
                  <a:lnTo>
                    <a:pt x="19786" y="18359"/>
                  </a:lnTo>
                  <a:lnTo>
                    <a:pt x="19786" y="18359"/>
                  </a:lnTo>
                  <a:close/>
                  <a:moveTo>
                    <a:pt x="19786" y="4305"/>
                  </a:moveTo>
                  <a:lnTo>
                    <a:pt x="1814" y="4305"/>
                  </a:lnTo>
                  <a:lnTo>
                    <a:pt x="1814" y="15117"/>
                  </a:lnTo>
                  <a:lnTo>
                    <a:pt x="19786" y="15117"/>
                  </a:lnTo>
                  <a:lnTo>
                    <a:pt x="19786" y="4305"/>
                  </a:lnTo>
                  <a:lnTo>
                    <a:pt x="19786" y="4305"/>
                  </a:lnTo>
                  <a:close/>
                  <a:moveTo>
                    <a:pt x="1814" y="3241"/>
                  </a:moveTo>
                  <a:lnTo>
                    <a:pt x="19786" y="3241"/>
                  </a:lnTo>
                  <a:cubicBezTo>
                    <a:pt x="19786" y="2634"/>
                    <a:pt x="19434" y="2119"/>
                    <a:pt x="18731" y="1697"/>
                  </a:cubicBezTo>
                  <a:cubicBezTo>
                    <a:pt x="18028" y="1275"/>
                    <a:pt x="17184" y="1064"/>
                    <a:pt x="16200" y="1064"/>
                  </a:cubicBezTo>
                  <a:lnTo>
                    <a:pt x="5400" y="1064"/>
                  </a:lnTo>
                  <a:cubicBezTo>
                    <a:pt x="4415" y="1064"/>
                    <a:pt x="3571" y="1275"/>
                    <a:pt x="2869" y="1697"/>
                  </a:cubicBezTo>
                  <a:cubicBezTo>
                    <a:pt x="2165" y="2119"/>
                    <a:pt x="1814" y="2634"/>
                    <a:pt x="1814" y="3241"/>
                  </a:cubicBezTo>
                  <a:lnTo>
                    <a:pt x="1814" y="3241"/>
                  </a:lnTo>
                  <a:lnTo>
                    <a:pt x="1814" y="3241"/>
                  </a:lnTo>
                  <a:close/>
                  <a:moveTo>
                    <a:pt x="8986" y="18359"/>
                  </a:moveTo>
                  <a:cubicBezTo>
                    <a:pt x="8986" y="18663"/>
                    <a:pt x="9161" y="18920"/>
                    <a:pt x="9513" y="19131"/>
                  </a:cubicBezTo>
                  <a:cubicBezTo>
                    <a:pt x="9865" y="19342"/>
                    <a:pt x="10294" y="19448"/>
                    <a:pt x="10800" y="19448"/>
                  </a:cubicBezTo>
                  <a:cubicBezTo>
                    <a:pt x="11306" y="19448"/>
                    <a:pt x="11735" y="19342"/>
                    <a:pt x="12087" y="19131"/>
                  </a:cubicBezTo>
                  <a:cubicBezTo>
                    <a:pt x="12438" y="18920"/>
                    <a:pt x="12614" y="18663"/>
                    <a:pt x="12614" y="18359"/>
                  </a:cubicBezTo>
                  <a:cubicBezTo>
                    <a:pt x="12614" y="18055"/>
                    <a:pt x="12438" y="17798"/>
                    <a:pt x="12087" y="17586"/>
                  </a:cubicBezTo>
                  <a:cubicBezTo>
                    <a:pt x="11735" y="17376"/>
                    <a:pt x="11306" y="17270"/>
                    <a:pt x="10800" y="17270"/>
                  </a:cubicBezTo>
                  <a:cubicBezTo>
                    <a:pt x="10294" y="17270"/>
                    <a:pt x="9865" y="17376"/>
                    <a:pt x="9513" y="17586"/>
                  </a:cubicBezTo>
                  <a:cubicBezTo>
                    <a:pt x="9161" y="17798"/>
                    <a:pt x="8986" y="18055"/>
                    <a:pt x="8986" y="18359"/>
                  </a:cubicBezTo>
                  <a:lnTo>
                    <a:pt x="8986" y="18359"/>
                  </a:lnTo>
                  <a:lnTo>
                    <a:pt x="8986" y="18359"/>
                  </a:lnTo>
                  <a:close/>
                  <a:moveTo>
                    <a:pt x="6286" y="7546"/>
                  </a:moveTo>
                  <a:cubicBezTo>
                    <a:pt x="6539" y="7546"/>
                    <a:pt x="6757" y="7495"/>
                    <a:pt x="6940" y="7394"/>
                  </a:cubicBezTo>
                  <a:cubicBezTo>
                    <a:pt x="7122" y="7293"/>
                    <a:pt x="7214" y="7166"/>
                    <a:pt x="7214" y="7014"/>
                  </a:cubicBezTo>
                  <a:lnTo>
                    <a:pt x="7214" y="5925"/>
                  </a:lnTo>
                  <a:cubicBezTo>
                    <a:pt x="7214" y="5791"/>
                    <a:pt x="7122" y="5668"/>
                    <a:pt x="6940" y="5558"/>
                  </a:cubicBezTo>
                  <a:cubicBezTo>
                    <a:pt x="6757" y="5449"/>
                    <a:pt x="6539" y="5394"/>
                    <a:pt x="6286" y="5394"/>
                  </a:cubicBezTo>
                  <a:lnTo>
                    <a:pt x="4514" y="5394"/>
                  </a:lnTo>
                  <a:cubicBezTo>
                    <a:pt x="4261" y="5394"/>
                    <a:pt x="4043" y="5449"/>
                    <a:pt x="3860" y="5558"/>
                  </a:cubicBezTo>
                  <a:cubicBezTo>
                    <a:pt x="3677" y="5668"/>
                    <a:pt x="3586" y="5791"/>
                    <a:pt x="3586" y="5925"/>
                  </a:cubicBezTo>
                  <a:lnTo>
                    <a:pt x="3586" y="7014"/>
                  </a:lnTo>
                  <a:cubicBezTo>
                    <a:pt x="3586" y="7166"/>
                    <a:pt x="3677" y="7293"/>
                    <a:pt x="3860" y="7394"/>
                  </a:cubicBezTo>
                  <a:cubicBezTo>
                    <a:pt x="4043" y="7495"/>
                    <a:pt x="4261" y="7546"/>
                    <a:pt x="4514" y="7546"/>
                  </a:cubicBezTo>
                  <a:lnTo>
                    <a:pt x="6286" y="7546"/>
                  </a:lnTo>
                  <a:lnTo>
                    <a:pt x="6286" y="7546"/>
                  </a:lnTo>
                  <a:lnTo>
                    <a:pt x="6286" y="7546"/>
                  </a:lnTo>
                  <a:close/>
                  <a:moveTo>
                    <a:pt x="12340" y="7394"/>
                  </a:moveTo>
                  <a:cubicBezTo>
                    <a:pt x="12522" y="7293"/>
                    <a:pt x="12614" y="7166"/>
                    <a:pt x="12614" y="7014"/>
                  </a:cubicBezTo>
                  <a:lnTo>
                    <a:pt x="12614" y="5925"/>
                  </a:lnTo>
                  <a:cubicBezTo>
                    <a:pt x="12614" y="5791"/>
                    <a:pt x="12522" y="5668"/>
                    <a:pt x="12340" y="5558"/>
                  </a:cubicBezTo>
                  <a:cubicBezTo>
                    <a:pt x="12157" y="5449"/>
                    <a:pt x="11939" y="5394"/>
                    <a:pt x="11686" y="5394"/>
                  </a:cubicBezTo>
                  <a:lnTo>
                    <a:pt x="9914" y="5394"/>
                  </a:lnTo>
                  <a:cubicBezTo>
                    <a:pt x="9661" y="5394"/>
                    <a:pt x="9443" y="5449"/>
                    <a:pt x="9260" y="5558"/>
                  </a:cubicBezTo>
                  <a:cubicBezTo>
                    <a:pt x="9077" y="5668"/>
                    <a:pt x="8986" y="5791"/>
                    <a:pt x="8986" y="5925"/>
                  </a:cubicBezTo>
                  <a:lnTo>
                    <a:pt x="8986" y="7014"/>
                  </a:lnTo>
                  <a:cubicBezTo>
                    <a:pt x="8986" y="7166"/>
                    <a:pt x="9077" y="7293"/>
                    <a:pt x="9260" y="7394"/>
                  </a:cubicBezTo>
                  <a:cubicBezTo>
                    <a:pt x="9443" y="7495"/>
                    <a:pt x="9661" y="7546"/>
                    <a:pt x="9914" y="7546"/>
                  </a:cubicBezTo>
                  <a:lnTo>
                    <a:pt x="11686" y="7546"/>
                  </a:lnTo>
                  <a:cubicBezTo>
                    <a:pt x="11939" y="7546"/>
                    <a:pt x="12157" y="7495"/>
                    <a:pt x="12340" y="7394"/>
                  </a:cubicBezTo>
                  <a:lnTo>
                    <a:pt x="12340" y="7394"/>
                  </a:lnTo>
                  <a:close/>
                  <a:moveTo>
                    <a:pt x="17740" y="7394"/>
                  </a:moveTo>
                  <a:cubicBezTo>
                    <a:pt x="17922" y="7293"/>
                    <a:pt x="18014" y="7166"/>
                    <a:pt x="18014" y="7014"/>
                  </a:cubicBezTo>
                  <a:lnTo>
                    <a:pt x="18014" y="5925"/>
                  </a:lnTo>
                  <a:cubicBezTo>
                    <a:pt x="18014" y="5791"/>
                    <a:pt x="17922" y="5668"/>
                    <a:pt x="17740" y="5558"/>
                  </a:cubicBezTo>
                  <a:cubicBezTo>
                    <a:pt x="17557" y="5449"/>
                    <a:pt x="17339" y="5394"/>
                    <a:pt x="17086" y="5394"/>
                  </a:cubicBezTo>
                  <a:lnTo>
                    <a:pt x="15314" y="5394"/>
                  </a:lnTo>
                  <a:cubicBezTo>
                    <a:pt x="15061" y="5394"/>
                    <a:pt x="14843" y="5449"/>
                    <a:pt x="14660" y="5558"/>
                  </a:cubicBezTo>
                  <a:cubicBezTo>
                    <a:pt x="14477" y="5668"/>
                    <a:pt x="14386" y="5791"/>
                    <a:pt x="14386" y="5925"/>
                  </a:cubicBezTo>
                  <a:lnTo>
                    <a:pt x="14386" y="7014"/>
                  </a:lnTo>
                  <a:cubicBezTo>
                    <a:pt x="14386" y="7166"/>
                    <a:pt x="14477" y="7293"/>
                    <a:pt x="14660" y="7394"/>
                  </a:cubicBezTo>
                  <a:cubicBezTo>
                    <a:pt x="14843" y="7495"/>
                    <a:pt x="15061" y="7546"/>
                    <a:pt x="15314" y="7546"/>
                  </a:cubicBezTo>
                  <a:lnTo>
                    <a:pt x="17086" y="7546"/>
                  </a:lnTo>
                  <a:cubicBezTo>
                    <a:pt x="17339" y="7546"/>
                    <a:pt x="17557" y="7495"/>
                    <a:pt x="17740" y="7394"/>
                  </a:cubicBezTo>
                  <a:lnTo>
                    <a:pt x="17740" y="7394"/>
                  </a:lnTo>
                  <a:close/>
                  <a:moveTo>
                    <a:pt x="6286" y="10787"/>
                  </a:moveTo>
                  <a:cubicBezTo>
                    <a:pt x="6539" y="10787"/>
                    <a:pt x="6757" y="10737"/>
                    <a:pt x="6940" y="10635"/>
                  </a:cubicBezTo>
                  <a:cubicBezTo>
                    <a:pt x="7122" y="10534"/>
                    <a:pt x="7214" y="10408"/>
                    <a:pt x="7214" y="10256"/>
                  </a:cubicBezTo>
                  <a:lnTo>
                    <a:pt x="7214" y="9167"/>
                  </a:lnTo>
                  <a:cubicBezTo>
                    <a:pt x="7214" y="9032"/>
                    <a:pt x="7122" y="8910"/>
                    <a:pt x="6940" y="8800"/>
                  </a:cubicBezTo>
                  <a:cubicBezTo>
                    <a:pt x="6757" y="8690"/>
                    <a:pt x="6539" y="8635"/>
                    <a:pt x="6286" y="8635"/>
                  </a:cubicBezTo>
                  <a:lnTo>
                    <a:pt x="4514" y="8635"/>
                  </a:lnTo>
                  <a:cubicBezTo>
                    <a:pt x="4261" y="8635"/>
                    <a:pt x="4043" y="8690"/>
                    <a:pt x="3860" y="8800"/>
                  </a:cubicBezTo>
                  <a:cubicBezTo>
                    <a:pt x="3677" y="8910"/>
                    <a:pt x="3586" y="9032"/>
                    <a:pt x="3586" y="9167"/>
                  </a:cubicBezTo>
                  <a:lnTo>
                    <a:pt x="3586" y="10256"/>
                  </a:lnTo>
                  <a:cubicBezTo>
                    <a:pt x="3586" y="10408"/>
                    <a:pt x="3677" y="10534"/>
                    <a:pt x="3860" y="10635"/>
                  </a:cubicBezTo>
                  <a:cubicBezTo>
                    <a:pt x="4043" y="10737"/>
                    <a:pt x="4261" y="10787"/>
                    <a:pt x="4514" y="10787"/>
                  </a:cubicBezTo>
                  <a:lnTo>
                    <a:pt x="6286" y="10787"/>
                  </a:lnTo>
                  <a:lnTo>
                    <a:pt x="6286" y="10787"/>
                  </a:lnTo>
                  <a:lnTo>
                    <a:pt x="6286" y="10787"/>
                  </a:lnTo>
                  <a:close/>
                  <a:moveTo>
                    <a:pt x="12340" y="10635"/>
                  </a:moveTo>
                  <a:cubicBezTo>
                    <a:pt x="12522" y="10534"/>
                    <a:pt x="12614" y="10408"/>
                    <a:pt x="12614" y="10256"/>
                  </a:cubicBezTo>
                  <a:lnTo>
                    <a:pt x="12614" y="9167"/>
                  </a:lnTo>
                  <a:cubicBezTo>
                    <a:pt x="12614" y="9032"/>
                    <a:pt x="12522" y="8910"/>
                    <a:pt x="12340" y="8800"/>
                  </a:cubicBezTo>
                  <a:cubicBezTo>
                    <a:pt x="12157" y="8690"/>
                    <a:pt x="11939" y="8635"/>
                    <a:pt x="11686" y="8635"/>
                  </a:cubicBezTo>
                  <a:lnTo>
                    <a:pt x="9914" y="8635"/>
                  </a:lnTo>
                  <a:cubicBezTo>
                    <a:pt x="9661" y="8635"/>
                    <a:pt x="9443" y="8690"/>
                    <a:pt x="9260" y="8800"/>
                  </a:cubicBezTo>
                  <a:cubicBezTo>
                    <a:pt x="9077" y="8910"/>
                    <a:pt x="8986" y="9032"/>
                    <a:pt x="8986" y="9167"/>
                  </a:cubicBezTo>
                  <a:lnTo>
                    <a:pt x="8986" y="10256"/>
                  </a:lnTo>
                  <a:cubicBezTo>
                    <a:pt x="8986" y="10408"/>
                    <a:pt x="9077" y="10534"/>
                    <a:pt x="9260" y="10635"/>
                  </a:cubicBezTo>
                  <a:cubicBezTo>
                    <a:pt x="9443" y="10737"/>
                    <a:pt x="9661" y="10787"/>
                    <a:pt x="9914" y="10787"/>
                  </a:cubicBezTo>
                  <a:lnTo>
                    <a:pt x="11686" y="10787"/>
                  </a:lnTo>
                  <a:cubicBezTo>
                    <a:pt x="11939" y="10787"/>
                    <a:pt x="12157" y="10737"/>
                    <a:pt x="12340" y="10635"/>
                  </a:cubicBezTo>
                  <a:lnTo>
                    <a:pt x="12340" y="10635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miter lim="400000"/>
            </a:ln>
          </p:spPr>
          <p:txBody>
            <a:bodyPr lIns="27428" tIns="27428" rIns="27428" bIns="27428" anchor="ctr"/>
            <a:lstStyle/>
            <a:p>
              <a:pPr marL="0" marR="0" lvl="0" indent="0" algn="l" defTabSz="3291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b="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lang="pt-BR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sym typeface="Gill Sans"/>
              </a:endParaRPr>
            </a:p>
          </p:txBody>
        </p:sp>
      </p:grpSp>
      <p:grpSp>
        <p:nvGrpSpPr>
          <p:cNvPr id="1216" name="Agrupar 1215">
            <a:extLst>
              <a:ext uri="{FF2B5EF4-FFF2-40B4-BE49-F238E27FC236}">
                <a16:creationId xmlns:a16="http://schemas.microsoft.com/office/drawing/2014/main" id="{A0C2E204-5EFF-528D-8359-C9A64F3D6C74}"/>
              </a:ext>
            </a:extLst>
          </p:cNvPr>
          <p:cNvGrpSpPr/>
          <p:nvPr/>
        </p:nvGrpSpPr>
        <p:grpSpPr>
          <a:xfrm>
            <a:off x="1758306" y="3736230"/>
            <a:ext cx="720000" cy="495446"/>
            <a:chOff x="1773758" y="3767997"/>
            <a:chExt cx="720000" cy="495447"/>
          </a:xfrm>
        </p:grpSpPr>
        <p:sp>
          <p:nvSpPr>
            <p:cNvPr id="1204" name="CaixaDeTexto 1203">
              <a:extLst>
                <a:ext uri="{FF2B5EF4-FFF2-40B4-BE49-F238E27FC236}">
                  <a16:creationId xmlns:a16="http://schemas.microsoft.com/office/drawing/2014/main" id="{EC3CA4BA-F2EF-41CA-BDE1-A560011693C8}"/>
                </a:ext>
              </a:extLst>
            </p:cNvPr>
            <p:cNvSpPr txBox="1"/>
            <p:nvPr/>
          </p:nvSpPr>
          <p:spPr>
            <a:xfrm>
              <a:off x="1773758" y="4032611"/>
              <a:ext cx="720000" cy="2308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3165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Centrais</a:t>
              </a:r>
            </a:p>
          </p:txBody>
        </p:sp>
        <p:sp>
          <p:nvSpPr>
            <p:cNvPr id="1205" name="Forma">
              <a:extLst>
                <a:ext uri="{FF2B5EF4-FFF2-40B4-BE49-F238E27FC236}">
                  <a16:creationId xmlns:a16="http://schemas.microsoft.com/office/drawing/2014/main" id="{02AE427C-276D-5CB8-B03B-1050E249F16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62462" y="3767997"/>
              <a:ext cx="266111" cy="252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109" y="18000"/>
                  </a:moveTo>
                  <a:lnTo>
                    <a:pt x="9109" y="21600"/>
                  </a:lnTo>
                  <a:lnTo>
                    <a:pt x="12518" y="21600"/>
                  </a:lnTo>
                  <a:lnTo>
                    <a:pt x="12518" y="18000"/>
                  </a:lnTo>
                  <a:lnTo>
                    <a:pt x="9109" y="18000"/>
                  </a:lnTo>
                  <a:lnTo>
                    <a:pt x="9109" y="18000"/>
                  </a:lnTo>
                  <a:lnTo>
                    <a:pt x="9109" y="18000"/>
                  </a:lnTo>
                  <a:close/>
                  <a:moveTo>
                    <a:pt x="4554" y="18000"/>
                  </a:moveTo>
                  <a:lnTo>
                    <a:pt x="7964" y="18000"/>
                  </a:lnTo>
                  <a:lnTo>
                    <a:pt x="7964" y="21600"/>
                  </a:lnTo>
                  <a:lnTo>
                    <a:pt x="4554" y="21600"/>
                  </a:lnTo>
                  <a:lnTo>
                    <a:pt x="4554" y="18000"/>
                  </a:lnTo>
                  <a:lnTo>
                    <a:pt x="4554" y="18000"/>
                  </a:lnTo>
                  <a:close/>
                  <a:moveTo>
                    <a:pt x="13636" y="18000"/>
                  </a:moveTo>
                  <a:lnTo>
                    <a:pt x="17046" y="18000"/>
                  </a:lnTo>
                  <a:lnTo>
                    <a:pt x="17046" y="21600"/>
                  </a:lnTo>
                  <a:lnTo>
                    <a:pt x="13636" y="21600"/>
                  </a:lnTo>
                  <a:lnTo>
                    <a:pt x="13636" y="18000"/>
                  </a:lnTo>
                  <a:lnTo>
                    <a:pt x="13636" y="18000"/>
                  </a:lnTo>
                  <a:close/>
                  <a:moveTo>
                    <a:pt x="4554" y="13219"/>
                  </a:moveTo>
                  <a:lnTo>
                    <a:pt x="7964" y="13219"/>
                  </a:lnTo>
                  <a:lnTo>
                    <a:pt x="7964" y="16819"/>
                  </a:lnTo>
                  <a:lnTo>
                    <a:pt x="4554" y="16819"/>
                  </a:lnTo>
                  <a:lnTo>
                    <a:pt x="4554" y="13219"/>
                  </a:lnTo>
                  <a:lnTo>
                    <a:pt x="4554" y="13219"/>
                  </a:lnTo>
                  <a:close/>
                  <a:moveTo>
                    <a:pt x="9109" y="16819"/>
                  </a:moveTo>
                  <a:lnTo>
                    <a:pt x="9109" y="13219"/>
                  </a:lnTo>
                  <a:lnTo>
                    <a:pt x="12518" y="13219"/>
                  </a:lnTo>
                  <a:lnTo>
                    <a:pt x="12518" y="16819"/>
                  </a:lnTo>
                  <a:lnTo>
                    <a:pt x="9109" y="16819"/>
                  </a:lnTo>
                  <a:lnTo>
                    <a:pt x="9109" y="16819"/>
                  </a:lnTo>
                  <a:lnTo>
                    <a:pt x="9109" y="16819"/>
                  </a:lnTo>
                  <a:close/>
                  <a:moveTo>
                    <a:pt x="13636" y="13219"/>
                  </a:moveTo>
                  <a:lnTo>
                    <a:pt x="17046" y="13219"/>
                  </a:lnTo>
                  <a:lnTo>
                    <a:pt x="17046" y="16819"/>
                  </a:lnTo>
                  <a:lnTo>
                    <a:pt x="13636" y="16819"/>
                  </a:lnTo>
                  <a:lnTo>
                    <a:pt x="13636" y="13219"/>
                  </a:lnTo>
                  <a:lnTo>
                    <a:pt x="13636" y="13219"/>
                  </a:lnTo>
                  <a:close/>
                  <a:moveTo>
                    <a:pt x="21600" y="8409"/>
                  </a:moveTo>
                  <a:cubicBezTo>
                    <a:pt x="21600" y="7247"/>
                    <a:pt x="21396" y="6159"/>
                    <a:pt x="20987" y="5147"/>
                  </a:cubicBezTo>
                  <a:cubicBezTo>
                    <a:pt x="20561" y="4116"/>
                    <a:pt x="19989" y="3220"/>
                    <a:pt x="19270" y="2461"/>
                  </a:cubicBezTo>
                  <a:cubicBezTo>
                    <a:pt x="18550" y="1702"/>
                    <a:pt x="17711" y="1107"/>
                    <a:pt x="16753" y="675"/>
                  </a:cubicBezTo>
                  <a:cubicBezTo>
                    <a:pt x="15776" y="225"/>
                    <a:pt x="14737" y="0"/>
                    <a:pt x="13636" y="0"/>
                  </a:cubicBezTo>
                  <a:lnTo>
                    <a:pt x="7964" y="0"/>
                  </a:lnTo>
                  <a:cubicBezTo>
                    <a:pt x="6863" y="0"/>
                    <a:pt x="5833" y="225"/>
                    <a:pt x="4874" y="675"/>
                  </a:cubicBezTo>
                  <a:cubicBezTo>
                    <a:pt x="3897" y="1107"/>
                    <a:pt x="3050" y="1702"/>
                    <a:pt x="2330" y="2461"/>
                  </a:cubicBezTo>
                  <a:cubicBezTo>
                    <a:pt x="1611" y="3220"/>
                    <a:pt x="1048" y="4116"/>
                    <a:pt x="639" y="5147"/>
                  </a:cubicBezTo>
                  <a:cubicBezTo>
                    <a:pt x="213" y="6159"/>
                    <a:pt x="0" y="7247"/>
                    <a:pt x="0" y="8409"/>
                  </a:cubicBezTo>
                  <a:cubicBezTo>
                    <a:pt x="0" y="9066"/>
                    <a:pt x="222" y="9628"/>
                    <a:pt x="666" y="10097"/>
                  </a:cubicBezTo>
                  <a:cubicBezTo>
                    <a:pt x="1110" y="10566"/>
                    <a:pt x="1651" y="10800"/>
                    <a:pt x="2291" y="10800"/>
                  </a:cubicBezTo>
                  <a:lnTo>
                    <a:pt x="4554" y="10800"/>
                  </a:lnTo>
                  <a:cubicBezTo>
                    <a:pt x="5176" y="10800"/>
                    <a:pt x="5709" y="10566"/>
                    <a:pt x="6152" y="10097"/>
                  </a:cubicBezTo>
                  <a:cubicBezTo>
                    <a:pt x="6596" y="9628"/>
                    <a:pt x="6818" y="9066"/>
                    <a:pt x="6818" y="8409"/>
                  </a:cubicBezTo>
                  <a:lnTo>
                    <a:pt x="6818" y="7200"/>
                  </a:lnTo>
                  <a:cubicBezTo>
                    <a:pt x="6818" y="6881"/>
                    <a:pt x="6929" y="6605"/>
                    <a:pt x="7151" y="6370"/>
                  </a:cubicBezTo>
                  <a:cubicBezTo>
                    <a:pt x="7373" y="6136"/>
                    <a:pt x="7644" y="6019"/>
                    <a:pt x="7964" y="6019"/>
                  </a:cubicBezTo>
                  <a:lnTo>
                    <a:pt x="13636" y="6019"/>
                  </a:lnTo>
                  <a:cubicBezTo>
                    <a:pt x="13956" y="6019"/>
                    <a:pt x="14227" y="6136"/>
                    <a:pt x="14449" y="6370"/>
                  </a:cubicBezTo>
                  <a:cubicBezTo>
                    <a:pt x="14671" y="6605"/>
                    <a:pt x="14782" y="6881"/>
                    <a:pt x="14782" y="7200"/>
                  </a:cubicBezTo>
                  <a:lnTo>
                    <a:pt x="14782" y="8409"/>
                  </a:lnTo>
                  <a:cubicBezTo>
                    <a:pt x="14782" y="9066"/>
                    <a:pt x="15004" y="9628"/>
                    <a:pt x="15448" y="10097"/>
                  </a:cubicBezTo>
                  <a:cubicBezTo>
                    <a:pt x="15891" y="10566"/>
                    <a:pt x="16424" y="10800"/>
                    <a:pt x="17046" y="10800"/>
                  </a:cubicBezTo>
                  <a:lnTo>
                    <a:pt x="19336" y="10800"/>
                  </a:lnTo>
                  <a:cubicBezTo>
                    <a:pt x="19958" y="10800"/>
                    <a:pt x="20490" y="10566"/>
                    <a:pt x="20934" y="10097"/>
                  </a:cubicBezTo>
                  <a:cubicBezTo>
                    <a:pt x="21378" y="9628"/>
                    <a:pt x="21600" y="9066"/>
                    <a:pt x="21600" y="8409"/>
                  </a:cubicBezTo>
                  <a:lnTo>
                    <a:pt x="21600" y="8409"/>
                  </a:lnTo>
                  <a:lnTo>
                    <a:pt x="21600" y="8409"/>
                  </a:lnTo>
                  <a:lnTo>
                    <a:pt x="21600" y="8409"/>
                  </a:lnTo>
                  <a:lnTo>
                    <a:pt x="21600" y="8409"/>
                  </a:lnTo>
                  <a:close/>
                  <a:moveTo>
                    <a:pt x="20455" y="8409"/>
                  </a:moveTo>
                  <a:cubicBezTo>
                    <a:pt x="20455" y="8747"/>
                    <a:pt x="20344" y="9033"/>
                    <a:pt x="20122" y="9267"/>
                  </a:cubicBezTo>
                  <a:cubicBezTo>
                    <a:pt x="19900" y="9502"/>
                    <a:pt x="19638" y="9619"/>
                    <a:pt x="19336" y="9619"/>
                  </a:cubicBezTo>
                  <a:lnTo>
                    <a:pt x="17046" y="9619"/>
                  </a:lnTo>
                  <a:cubicBezTo>
                    <a:pt x="16744" y="9619"/>
                    <a:pt x="16482" y="9502"/>
                    <a:pt x="16260" y="9267"/>
                  </a:cubicBezTo>
                  <a:cubicBezTo>
                    <a:pt x="16038" y="9033"/>
                    <a:pt x="15927" y="8747"/>
                    <a:pt x="15927" y="8409"/>
                  </a:cubicBezTo>
                  <a:lnTo>
                    <a:pt x="15927" y="7200"/>
                  </a:lnTo>
                  <a:cubicBezTo>
                    <a:pt x="15927" y="6544"/>
                    <a:pt x="15705" y="5981"/>
                    <a:pt x="15261" y="5513"/>
                  </a:cubicBezTo>
                  <a:cubicBezTo>
                    <a:pt x="14817" y="5044"/>
                    <a:pt x="14276" y="4809"/>
                    <a:pt x="13636" y="4809"/>
                  </a:cubicBezTo>
                  <a:lnTo>
                    <a:pt x="7964" y="4809"/>
                  </a:lnTo>
                  <a:cubicBezTo>
                    <a:pt x="7342" y="4809"/>
                    <a:pt x="6809" y="5044"/>
                    <a:pt x="6365" y="5513"/>
                  </a:cubicBezTo>
                  <a:cubicBezTo>
                    <a:pt x="5922" y="5981"/>
                    <a:pt x="5700" y="6544"/>
                    <a:pt x="5700" y="7200"/>
                  </a:cubicBezTo>
                  <a:lnTo>
                    <a:pt x="5700" y="8409"/>
                  </a:lnTo>
                  <a:cubicBezTo>
                    <a:pt x="5700" y="8747"/>
                    <a:pt x="5589" y="9033"/>
                    <a:pt x="5367" y="9267"/>
                  </a:cubicBezTo>
                  <a:cubicBezTo>
                    <a:pt x="5145" y="9502"/>
                    <a:pt x="4874" y="9619"/>
                    <a:pt x="4554" y="9619"/>
                  </a:cubicBezTo>
                  <a:lnTo>
                    <a:pt x="2291" y="9619"/>
                  </a:lnTo>
                  <a:cubicBezTo>
                    <a:pt x="1971" y="9619"/>
                    <a:pt x="1700" y="9502"/>
                    <a:pt x="1478" y="9267"/>
                  </a:cubicBezTo>
                  <a:cubicBezTo>
                    <a:pt x="1256" y="9033"/>
                    <a:pt x="1145" y="8747"/>
                    <a:pt x="1145" y="8409"/>
                  </a:cubicBezTo>
                  <a:cubicBezTo>
                    <a:pt x="1145" y="7922"/>
                    <a:pt x="1190" y="7444"/>
                    <a:pt x="1278" y="6975"/>
                  </a:cubicBezTo>
                  <a:cubicBezTo>
                    <a:pt x="1367" y="6507"/>
                    <a:pt x="1500" y="6047"/>
                    <a:pt x="1678" y="5597"/>
                  </a:cubicBezTo>
                  <a:cubicBezTo>
                    <a:pt x="1855" y="5166"/>
                    <a:pt x="2064" y="4763"/>
                    <a:pt x="2304" y="4388"/>
                  </a:cubicBezTo>
                  <a:cubicBezTo>
                    <a:pt x="2544" y="4013"/>
                    <a:pt x="2823" y="3656"/>
                    <a:pt x="3143" y="3319"/>
                  </a:cubicBezTo>
                  <a:cubicBezTo>
                    <a:pt x="3462" y="2981"/>
                    <a:pt x="3800" y="2686"/>
                    <a:pt x="4155" y="2433"/>
                  </a:cubicBezTo>
                  <a:cubicBezTo>
                    <a:pt x="4510" y="2180"/>
                    <a:pt x="4892" y="1960"/>
                    <a:pt x="5300" y="1772"/>
                  </a:cubicBezTo>
                  <a:cubicBezTo>
                    <a:pt x="5726" y="1585"/>
                    <a:pt x="6161" y="1444"/>
                    <a:pt x="6605" y="1350"/>
                  </a:cubicBezTo>
                  <a:cubicBezTo>
                    <a:pt x="7049" y="1256"/>
                    <a:pt x="7502" y="1209"/>
                    <a:pt x="7964" y="1209"/>
                  </a:cubicBezTo>
                  <a:lnTo>
                    <a:pt x="13636" y="1209"/>
                  </a:lnTo>
                  <a:cubicBezTo>
                    <a:pt x="14098" y="1209"/>
                    <a:pt x="14551" y="1256"/>
                    <a:pt x="14995" y="1350"/>
                  </a:cubicBezTo>
                  <a:cubicBezTo>
                    <a:pt x="15439" y="1444"/>
                    <a:pt x="15874" y="1585"/>
                    <a:pt x="16300" y="1772"/>
                  </a:cubicBezTo>
                  <a:cubicBezTo>
                    <a:pt x="16708" y="1960"/>
                    <a:pt x="17094" y="2180"/>
                    <a:pt x="17458" y="2433"/>
                  </a:cubicBezTo>
                  <a:cubicBezTo>
                    <a:pt x="17822" y="2686"/>
                    <a:pt x="18155" y="2981"/>
                    <a:pt x="18457" y="3319"/>
                  </a:cubicBezTo>
                  <a:cubicBezTo>
                    <a:pt x="18777" y="3656"/>
                    <a:pt x="19061" y="4013"/>
                    <a:pt x="19309" y="4388"/>
                  </a:cubicBezTo>
                  <a:cubicBezTo>
                    <a:pt x="19558" y="4763"/>
                    <a:pt x="19762" y="5166"/>
                    <a:pt x="19922" y="5597"/>
                  </a:cubicBezTo>
                  <a:cubicBezTo>
                    <a:pt x="20100" y="6047"/>
                    <a:pt x="20233" y="6507"/>
                    <a:pt x="20322" y="6975"/>
                  </a:cubicBezTo>
                  <a:cubicBezTo>
                    <a:pt x="20410" y="7444"/>
                    <a:pt x="20455" y="7922"/>
                    <a:pt x="20455" y="8409"/>
                  </a:cubicBezTo>
                  <a:lnTo>
                    <a:pt x="20455" y="8409"/>
                  </a:lnTo>
                  <a:lnTo>
                    <a:pt x="20455" y="8409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miter lim="400000"/>
            </a:ln>
          </p:spPr>
          <p:txBody>
            <a:bodyPr lIns="27428" tIns="27428" rIns="27428" bIns="27428" anchor="ctr"/>
            <a:lstStyle/>
            <a:p>
              <a:pPr marL="0" marR="0" lvl="0" indent="0" algn="l" defTabSz="3291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b="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sym typeface="Gill Sans"/>
              </a:endParaRPr>
            </a:p>
          </p:txBody>
        </p:sp>
      </p:grpSp>
      <p:grpSp>
        <p:nvGrpSpPr>
          <p:cNvPr id="1217" name="Agrupar 1216">
            <a:extLst>
              <a:ext uri="{FF2B5EF4-FFF2-40B4-BE49-F238E27FC236}">
                <a16:creationId xmlns:a16="http://schemas.microsoft.com/office/drawing/2014/main" id="{9400F024-D43A-BAA8-D569-D155B3F8D901}"/>
              </a:ext>
            </a:extLst>
          </p:cNvPr>
          <p:cNvGrpSpPr/>
          <p:nvPr/>
        </p:nvGrpSpPr>
        <p:grpSpPr>
          <a:xfrm>
            <a:off x="1720064" y="3128316"/>
            <a:ext cx="720000" cy="462876"/>
            <a:chOff x="1723917" y="3268315"/>
            <a:chExt cx="720000" cy="462875"/>
          </a:xfrm>
        </p:grpSpPr>
        <p:sp>
          <p:nvSpPr>
            <p:cNvPr id="1206" name="CaixaDeTexto 1205">
              <a:extLst>
                <a:ext uri="{FF2B5EF4-FFF2-40B4-BE49-F238E27FC236}">
                  <a16:creationId xmlns:a16="http://schemas.microsoft.com/office/drawing/2014/main" id="{CE56D8AB-5CB2-C154-5827-5FC1458FA7F4}"/>
                </a:ext>
              </a:extLst>
            </p:cNvPr>
            <p:cNvSpPr txBox="1"/>
            <p:nvPr/>
          </p:nvSpPr>
          <p:spPr>
            <a:xfrm>
              <a:off x="1723917" y="3500359"/>
              <a:ext cx="720000" cy="230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3165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Sites</a:t>
              </a:r>
            </a:p>
          </p:txBody>
        </p:sp>
        <p:sp>
          <p:nvSpPr>
            <p:cNvPr id="1207" name="Forma">
              <a:extLst>
                <a:ext uri="{FF2B5EF4-FFF2-40B4-BE49-F238E27FC236}">
                  <a16:creationId xmlns:a16="http://schemas.microsoft.com/office/drawing/2014/main" id="{C3066BCC-8DBA-817C-DC46-55E536B8E2E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41626" y="3268315"/>
              <a:ext cx="307782" cy="252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62" y="21417"/>
                  </a:moveTo>
                  <a:cubicBezTo>
                    <a:pt x="21554" y="21295"/>
                    <a:pt x="21600" y="21160"/>
                    <a:pt x="21600" y="21009"/>
                  </a:cubicBezTo>
                  <a:cubicBezTo>
                    <a:pt x="21600" y="20841"/>
                    <a:pt x="21554" y="20696"/>
                    <a:pt x="21462" y="20573"/>
                  </a:cubicBezTo>
                  <a:cubicBezTo>
                    <a:pt x="21370" y="20452"/>
                    <a:pt x="21255" y="20391"/>
                    <a:pt x="21116" y="20391"/>
                  </a:cubicBezTo>
                  <a:lnTo>
                    <a:pt x="484" y="20391"/>
                  </a:lnTo>
                  <a:cubicBezTo>
                    <a:pt x="345" y="20391"/>
                    <a:pt x="230" y="20452"/>
                    <a:pt x="138" y="20573"/>
                  </a:cubicBezTo>
                  <a:cubicBezTo>
                    <a:pt x="46" y="20696"/>
                    <a:pt x="0" y="20841"/>
                    <a:pt x="0" y="21009"/>
                  </a:cubicBezTo>
                  <a:cubicBezTo>
                    <a:pt x="0" y="21160"/>
                    <a:pt x="46" y="21295"/>
                    <a:pt x="138" y="21417"/>
                  </a:cubicBezTo>
                  <a:cubicBezTo>
                    <a:pt x="230" y="21539"/>
                    <a:pt x="345" y="21600"/>
                    <a:pt x="484" y="21600"/>
                  </a:cubicBezTo>
                  <a:lnTo>
                    <a:pt x="21116" y="21600"/>
                  </a:lnTo>
                  <a:lnTo>
                    <a:pt x="21116" y="21600"/>
                  </a:lnTo>
                  <a:lnTo>
                    <a:pt x="21116" y="21600"/>
                  </a:lnTo>
                  <a:cubicBezTo>
                    <a:pt x="21255" y="21600"/>
                    <a:pt x="21370" y="21539"/>
                    <a:pt x="21462" y="21417"/>
                  </a:cubicBezTo>
                  <a:lnTo>
                    <a:pt x="21462" y="21417"/>
                  </a:lnTo>
                  <a:close/>
                  <a:moveTo>
                    <a:pt x="19643" y="15609"/>
                  </a:moveTo>
                  <a:lnTo>
                    <a:pt x="1957" y="15609"/>
                  </a:lnTo>
                  <a:lnTo>
                    <a:pt x="1957" y="1209"/>
                  </a:lnTo>
                  <a:lnTo>
                    <a:pt x="19643" y="1209"/>
                  </a:lnTo>
                  <a:lnTo>
                    <a:pt x="19643" y="15609"/>
                  </a:lnTo>
                  <a:lnTo>
                    <a:pt x="19643" y="15609"/>
                  </a:lnTo>
                  <a:close/>
                  <a:moveTo>
                    <a:pt x="1957" y="0"/>
                  </a:moveTo>
                  <a:cubicBezTo>
                    <a:pt x="1681" y="0"/>
                    <a:pt x="1447" y="117"/>
                    <a:pt x="1255" y="352"/>
                  </a:cubicBezTo>
                  <a:cubicBezTo>
                    <a:pt x="1063" y="586"/>
                    <a:pt x="967" y="872"/>
                    <a:pt x="967" y="1209"/>
                  </a:cubicBezTo>
                  <a:lnTo>
                    <a:pt x="967" y="15609"/>
                  </a:lnTo>
                  <a:cubicBezTo>
                    <a:pt x="967" y="15928"/>
                    <a:pt x="1063" y="16205"/>
                    <a:pt x="1255" y="16439"/>
                  </a:cubicBezTo>
                  <a:cubicBezTo>
                    <a:pt x="1447" y="16674"/>
                    <a:pt x="1681" y="16791"/>
                    <a:pt x="1957" y="16791"/>
                  </a:cubicBezTo>
                  <a:lnTo>
                    <a:pt x="19643" y="16791"/>
                  </a:lnTo>
                  <a:cubicBezTo>
                    <a:pt x="19919" y="16791"/>
                    <a:pt x="20153" y="16674"/>
                    <a:pt x="20345" y="16439"/>
                  </a:cubicBezTo>
                  <a:cubicBezTo>
                    <a:pt x="20537" y="16205"/>
                    <a:pt x="20633" y="15928"/>
                    <a:pt x="20633" y="15609"/>
                  </a:cubicBezTo>
                  <a:lnTo>
                    <a:pt x="20633" y="1209"/>
                  </a:lnTo>
                  <a:cubicBezTo>
                    <a:pt x="20633" y="872"/>
                    <a:pt x="20537" y="586"/>
                    <a:pt x="20345" y="352"/>
                  </a:cubicBezTo>
                  <a:cubicBezTo>
                    <a:pt x="20153" y="117"/>
                    <a:pt x="19919" y="0"/>
                    <a:pt x="19643" y="0"/>
                  </a:cubicBezTo>
                  <a:lnTo>
                    <a:pt x="1957" y="0"/>
                  </a:lnTo>
                  <a:lnTo>
                    <a:pt x="1957" y="0"/>
                  </a:lnTo>
                  <a:close/>
                  <a:moveTo>
                    <a:pt x="15221" y="2391"/>
                  </a:moveTo>
                  <a:cubicBezTo>
                    <a:pt x="15359" y="2391"/>
                    <a:pt x="15475" y="2452"/>
                    <a:pt x="15567" y="2573"/>
                  </a:cubicBezTo>
                  <a:cubicBezTo>
                    <a:pt x="15659" y="2696"/>
                    <a:pt x="15705" y="2841"/>
                    <a:pt x="15705" y="3009"/>
                  </a:cubicBezTo>
                  <a:lnTo>
                    <a:pt x="15705" y="4191"/>
                  </a:lnTo>
                  <a:cubicBezTo>
                    <a:pt x="15705" y="4359"/>
                    <a:pt x="15659" y="4505"/>
                    <a:pt x="15567" y="4627"/>
                  </a:cubicBezTo>
                  <a:cubicBezTo>
                    <a:pt x="15475" y="4749"/>
                    <a:pt x="15359" y="4809"/>
                    <a:pt x="15221" y="4809"/>
                  </a:cubicBezTo>
                  <a:lnTo>
                    <a:pt x="14231" y="4809"/>
                  </a:lnTo>
                  <a:cubicBezTo>
                    <a:pt x="14108" y="4809"/>
                    <a:pt x="13997" y="4749"/>
                    <a:pt x="13897" y="4627"/>
                  </a:cubicBezTo>
                  <a:cubicBezTo>
                    <a:pt x="13797" y="4505"/>
                    <a:pt x="13748" y="4359"/>
                    <a:pt x="13748" y="4191"/>
                  </a:cubicBezTo>
                  <a:lnTo>
                    <a:pt x="13748" y="3009"/>
                  </a:lnTo>
                  <a:cubicBezTo>
                    <a:pt x="13748" y="2841"/>
                    <a:pt x="13797" y="2696"/>
                    <a:pt x="13897" y="2573"/>
                  </a:cubicBezTo>
                  <a:cubicBezTo>
                    <a:pt x="13997" y="2452"/>
                    <a:pt x="14108" y="2391"/>
                    <a:pt x="14231" y="2391"/>
                  </a:cubicBezTo>
                  <a:lnTo>
                    <a:pt x="15221" y="2391"/>
                  </a:lnTo>
                  <a:lnTo>
                    <a:pt x="15221" y="2391"/>
                  </a:lnTo>
                  <a:lnTo>
                    <a:pt x="15221" y="2391"/>
                  </a:lnTo>
                  <a:close/>
                  <a:moveTo>
                    <a:pt x="18169" y="2391"/>
                  </a:moveTo>
                  <a:cubicBezTo>
                    <a:pt x="18307" y="2391"/>
                    <a:pt x="18422" y="2452"/>
                    <a:pt x="18514" y="2573"/>
                  </a:cubicBezTo>
                  <a:cubicBezTo>
                    <a:pt x="18606" y="2696"/>
                    <a:pt x="18652" y="2841"/>
                    <a:pt x="18652" y="3009"/>
                  </a:cubicBezTo>
                  <a:lnTo>
                    <a:pt x="18652" y="4191"/>
                  </a:lnTo>
                  <a:cubicBezTo>
                    <a:pt x="18652" y="4359"/>
                    <a:pt x="18606" y="4505"/>
                    <a:pt x="18514" y="4627"/>
                  </a:cubicBezTo>
                  <a:cubicBezTo>
                    <a:pt x="18422" y="4749"/>
                    <a:pt x="18307" y="4809"/>
                    <a:pt x="18169" y="4809"/>
                  </a:cubicBezTo>
                  <a:lnTo>
                    <a:pt x="17179" y="4809"/>
                  </a:lnTo>
                  <a:cubicBezTo>
                    <a:pt x="17056" y="4809"/>
                    <a:pt x="16944" y="4749"/>
                    <a:pt x="16845" y="4627"/>
                  </a:cubicBezTo>
                  <a:cubicBezTo>
                    <a:pt x="16745" y="4505"/>
                    <a:pt x="16695" y="4359"/>
                    <a:pt x="16695" y="4191"/>
                  </a:cubicBezTo>
                  <a:lnTo>
                    <a:pt x="16695" y="3009"/>
                  </a:lnTo>
                  <a:cubicBezTo>
                    <a:pt x="16695" y="2841"/>
                    <a:pt x="16745" y="2696"/>
                    <a:pt x="16845" y="2573"/>
                  </a:cubicBezTo>
                  <a:cubicBezTo>
                    <a:pt x="16944" y="2452"/>
                    <a:pt x="17056" y="2391"/>
                    <a:pt x="17179" y="2391"/>
                  </a:cubicBezTo>
                  <a:lnTo>
                    <a:pt x="18169" y="2391"/>
                  </a:lnTo>
                  <a:lnTo>
                    <a:pt x="18169" y="2391"/>
                  </a:lnTo>
                  <a:lnTo>
                    <a:pt x="18169" y="2391"/>
                  </a:lnTo>
                  <a:close/>
                  <a:moveTo>
                    <a:pt x="15221" y="5991"/>
                  </a:moveTo>
                  <a:cubicBezTo>
                    <a:pt x="15359" y="5991"/>
                    <a:pt x="15475" y="6052"/>
                    <a:pt x="15567" y="6173"/>
                  </a:cubicBezTo>
                  <a:cubicBezTo>
                    <a:pt x="15659" y="6296"/>
                    <a:pt x="15705" y="6441"/>
                    <a:pt x="15705" y="6609"/>
                  </a:cubicBezTo>
                  <a:lnTo>
                    <a:pt x="15705" y="7791"/>
                  </a:lnTo>
                  <a:cubicBezTo>
                    <a:pt x="15705" y="7959"/>
                    <a:pt x="15659" y="8105"/>
                    <a:pt x="15567" y="8227"/>
                  </a:cubicBezTo>
                  <a:cubicBezTo>
                    <a:pt x="15475" y="8349"/>
                    <a:pt x="15359" y="8409"/>
                    <a:pt x="15221" y="8409"/>
                  </a:cubicBezTo>
                  <a:lnTo>
                    <a:pt x="14231" y="8409"/>
                  </a:lnTo>
                  <a:cubicBezTo>
                    <a:pt x="14108" y="8409"/>
                    <a:pt x="13997" y="8349"/>
                    <a:pt x="13897" y="8227"/>
                  </a:cubicBezTo>
                  <a:cubicBezTo>
                    <a:pt x="13797" y="8105"/>
                    <a:pt x="13748" y="7959"/>
                    <a:pt x="13748" y="7791"/>
                  </a:cubicBezTo>
                  <a:lnTo>
                    <a:pt x="13748" y="6609"/>
                  </a:lnTo>
                  <a:cubicBezTo>
                    <a:pt x="13748" y="6441"/>
                    <a:pt x="13797" y="6296"/>
                    <a:pt x="13897" y="6173"/>
                  </a:cubicBezTo>
                  <a:cubicBezTo>
                    <a:pt x="13997" y="6052"/>
                    <a:pt x="14108" y="5991"/>
                    <a:pt x="14231" y="5991"/>
                  </a:cubicBezTo>
                  <a:lnTo>
                    <a:pt x="15221" y="5991"/>
                  </a:lnTo>
                  <a:lnTo>
                    <a:pt x="15221" y="5991"/>
                  </a:lnTo>
                  <a:lnTo>
                    <a:pt x="15221" y="5991"/>
                  </a:lnTo>
                  <a:close/>
                  <a:moveTo>
                    <a:pt x="18169" y="5991"/>
                  </a:moveTo>
                  <a:cubicBezTo>
                    <a:pt x="18307" y="5991"/>
                    <a:pt x="18422" y="6052"/>
                    <a:pt x="18514" y="6173"/>
                  </a:cubicBezTo>
                  <a:cubicBezTo>
                    <a:pt x="18606" y="6296"/>
                    <a:pt x="18652" y="6441"/>
                    <a:pt x="18652" y="6609"/>
                  </a:cubicBezTo>
                  <a:lnTo>
                    <a:pt x="18652" y="7791"/>
                  </a:lnTo>
                  <a:cubicBezTo>
                    <a:pt x="18652" y="7959"/>
                    <a:pt x="18606" y="8105"/>
                    <a:pt x="18514" y="8227"/>
                  </a:cubicBezTo>
                  <a:cubicBezTo>
                    <a:pt x="18422" y="8349"/>
                    <a:pt x="18307" y="8409"/>
                    <a:pt x="18169" y="8409"/>
                  </a:cubicBezTo>
                  <a:lnTo>
                    <a:pt x="17179" y="8409"/>
                  </a:lnTo>
                  <a:cubicBezTo>
                    <a:pt x="17056" y="8409"/>
                    <a:pt x="16944" y="8349"/>
                    <a:pt x="16845" y="8227"/>
                  </a:cubicBezTo>
                  <a:cubicBezTo>
                    <a:pt x="16745" y="8105"/>
                    <a:pt x="16695" y="7959"/>
                    <a:pt x="16695" y="7791"/>
                  </a:cubicBezTo>
                  <a:lnTo>
                    <a:pt x="16695" y="6609"/>
                  </a:lnTo>
                  <a:cubicBezTo>
                    <a:pt x="16695" y="6441"/>
                    <a:pt x="16745" y="6296"/>
                    <a:pt x="16845" y="6173"/>
                  </a:cubicBezTo>
                  <a:cubicBezTo>
                    <a:pt x="16944" y="6052"/>
                    <a:pt x="17056" y="5991"/>
                    <a:pt x="17179" y="5991"/>
                  </a:cubicBezTo>
                  <a:lnTo>
                    <a:pt x="18169" y="5991"/>
                  </a:lnTo>
                  <a:lnTo>
                    <a:pt x="18169" y="5991"/>
                  </a:lnTo>
                  <a:lnTo>
                    <a:pt x="18169" y="5991"/>
                  </a:lnTo>
                  <a:close/>
                  <a:moveTo>
                    <a:pt x="18169" y="9591"/>
                  </a:moveTo>
                  <a:cubicBezTo>
                    <a:pt x="18307" y="9591"/>
                    <a:pt x="18422" y="9652"/>
                    <a:pt x="18514" y="9773"/>
                  </a:cubicBezTo>
                  <a:cubicBezTo>
                    <a:pt x="18606" y="9896"/>
                    <a:pt x="18652" y="10041"/>
                    <a:pt x="18652" y="10209"/>
                  </a:cubicBezTo>
                  <a:lnTo>
                    <a:pt x="18652" y="11391"/>
                  </a:lnTo>
                  <a:cubicBezTo>
                    <a:pt x="18652" y="11559"/>
                    <a:pt x="18606" y="11705"/>
                    <a:pt x="18514" y="11827"/>
                  </a:cubicBezTo>
                  <a:cubicBezTo>
                    <a:pt x="18422" y="11949"/>
                    <a:pt x="18307" y="12009"/>
                    <a:pt x="18169" y="12009"/>
                  </a:cubicBezTo>
                  <a:lnTo>
                    <a:pt x="17179" y="12009"/>
                  </a:lnTo>
                  <a:cubicBezTo>
                    <a:pt x="17056" y="12009"/>
                    <a:pt x="16944" y="11949"/>
                    <a:pt x="16845" y="11827"/>
                  </a:cubicBezTo>
                  <a:cubicBezTo>
                    <a:pt x="16745" y="11705"/>
                    <a:pt x="16695" y="11559"/>
                    <a:pt x="16695" y="11391"/>
                  </a:cubicBezTo>
                  <a:lnTo>
                    <a:pt x="16695" y="10209"/>
                  </a:lnTo>
                  <a:cubicBezTo>
                    <a:pt x="16695" y="10041"/>
                    <a:pt x="16745" y="9896"/>
                    <a:pt x="16845" y="9773"/>
                  </a:cubicBezTo>
                  <a:cubicBezTo>
                    <a:pt x="16944" y="9652"/>
                    <a:pt x="17056" y="9591"/>
                    <a:pt x="17179" y="9591"/>
                  </a:cubicBezTo>
                  <a:lnTo>
                    <a:pt x="18169" y="9591"/>
                  </a:lnTo>
                  <a:lnTo>
                    <a:pt x="18169" y="9591"/>
                  </a:lnTo>
                  <a:lnTo>
                    <a:pt x="18169" y="9591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miter lim="400000"/>
            </a:ln>
          </p:spPr>
          <p:txBody>
            <a:bodyPr lIns="27428" tIns="27428" rIns="27428" bIns="27428" anchor="ctr"/>
            <a:lstStyle/>
            <a:p>
              <a:pPr marL="0" marR="0" lvl="0" indent="0" algn="l" defTabSz="3291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b="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lang="pt-BR" sz="1296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sym typeface="Gill Sans"/>
              </a:endParaRPr>
            </a:p>
          </p:txBody>
        </p:sp>
      </p:grpSp>
      <p:sp>
        <p:nvSpPr>
          <p:cNvPr id="1209" name="CaixaDeTexto 1208">
            <a:extLst>
              <a:ext uri="{FF2B5EF4-FFF2-40B4-BE49-F238E27FC236}">
                <a16:creationId xmlns:a16="http://schemas.microsoft.com/office/drawing/2014/main" id="{D9E93CDC-F1BB-A4BF-4673-F53607AA9142}"/>
              </a:ext>
            </a:extLst>
          </p:cNvPr>
          <p:cNvSpPr txBox="1"/>
          <p:nvPr/>
        </p:nvSpPr>
        <p:spPr>
          <a:xfrm>
            <a:off x="3680408" y="2108594"/>
            <a:ext cx="84811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165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Malote</a:t>
            </a:r>
          </a:p>
        </p:txBody>
      </p:sp>
      <p:sp>
        <p:nvSpPr>
          <p:cNvPr id="1210" name="CaixaDeTexto 1209">
            <a:extLst>
              <a:ext uri="{FF2B5EF4-FFF2-40B4-BE49-F238E27FC236}">
                <a16:creationId xmlns:a16="http://schemas.microsoft.com/office/drawing/2014/main" id="{43A63505-1880-4697-8A46-852AD5E4A89E}"/>
              </a:ext>
            </a:extLst>
          </p:cNvPr>
          <p:cNvSpPr txBox="1"/>
          <p:nvPr/>
        </p:nvSpPr>
        <p:spPr>
          <a:xfrm>
            <a:off x="6621778" y="3731891"/>
            <a:ext cx="84811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165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 err="1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Whatsapp</a:t>
            </a:r>
            <a:endParaRPr kumimoji="0" lang="pt-BR" sz="900" b="0" i="0" u="none" strike="noStrike" kern="1200" cap="none" spc="0" normalizeH="0" baseline="0" noProof="0">
              <a:ln>
                <a:noFill/>
              </a:ln>
              <a:solidFill>
                <a:srgbClr val="5F6062"/>
              </a:solidFill>
              <a:effectLst/>
              <a:uLnTx/>
              <a:uFillTx/>
              <a:latin typeface="Itau Display" panose="020B0503020204020204" pitchFamily="34" charset="0"/>
              <a:ea typeface="+mn-ea"/>
              <a:cs typeface="Itau Display" panose="020B0503020204020204" pitchFamily="34" charset="0"/>
            </a:endParaRPr>
          </a:p>
        </p:txBody>
      </p:sp>
      <p:grpSp>
        <p:nvGrpSpPr>
          <p:cNvPr id="1220" name="Agrupar 1219">
            <a:extLst>
              <a:ext uri="{FF2B5EF4-FFF2-40B4-BE49-F238E27FC236}">
                <a16:creationId xmlns:a16="http://schemas.microsoft.com/office/drawing/2014/main" id="{0DCA2002-39D4-33A6-18C4-EF5AC7F45788}"/>
              </a:ext>
            </a:extLst>
          </p:cNvPr>
          <p:cNvGrpSpPr/>
          <p:nvPr/>
        </p:nvGrpSpPr>
        <p:grpSpPr>
          <a:xfrm>
            <a:off x="764422" y="3363601"/>
            <a:ext cx="848110" cy="518632"/>
            <a:chOff x="768272" y="3213880"/>
            <a:chExt cx="848111" cy="518631"/>
          </a:xfrm>
        </p:grpSpPr>
        <p:sp>
          <p:nvSpPr>
            <p:cNvPr id="1213" name="Forma">
              <a:extLst>
                <a:ext uri="{FF2B5EF4-FFF2-40B4-BE49-F238E27FC236}">
                  <a16:creationId xmlns:a16="http://schemas.microsoft.com/office/drawing/2014/main" id="{B2A7C340-8A45-9378-6937-1F1C7B08EC2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9235" y="3213880"/>
              <a:ext cx="201906" cy="288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429" y="7369"/>
                  </a:moveTo>
                  <a:cubicBezTo>
                    <a:pt x="5225" y="6525"/>
                    <a:pt x="4623" y="5504"/>
                    <a:pt x="4623" y="4305"/>
                  </a:cubicBezTo>
                  <a:cubicBezTo>
                    <a:pt x="4623" y="3123"/>
                    <a:pt x="5225" y="2110"/>
                    <a:pt x="6429" y="1266"/>
                  </a:cubicBezTo>
                  <a:cubicBezTo>
                    <a:pt x="7633" y="422"/>
                    <a:pt x="9090" y="0"/>
                    <a:pt x="10800" y="0"/>
                  </a:cubicBezTo>
                  <a:cubicBezTo>
                    <a:pt x="12510" y="0"/>
                    <a:pt x="13966" y="422"/>
                    <a:pt x="15171" y="1266"/>
                  </a:cubicBezTo>
                  <a:cubicBezTo>
                    <a:pt x="16375" y="2110"/>
                    <a:pt x="16977" y="3123"/>
                    <a:pt x="16977" y="4305"/>
                  </a:cubicBezTo>
                  <a:cubicBezTo>
                    <a:pt x="16977" y="5504"/>
                    <a:pt x="16375" y="6525"/>
                    <a:pt x="15171" y="7369"/>
                  </a:cubicBezTo>
                  <a:cubicBezTo>
                    <a:pt x="13966" y="8213"/>
                    <a:pt x="12510" y="8635"/>
                    <a:pt x="10800" y="8635"/>
                  </a:cubicBezTo>
                  <a:cubicBezTo>
                    <a:pt x="9090" y="8635"/>
                    <a:pt x="7633" y="8213"/>
                    <a:pt x="6429" y="7369"/>
                  </a:cubicBezTo>
                  <a:lnTo>
                    <a:pt x="6429" y="7369"/>
                  </a:lnTo>
                  <a:close/>
                  <a:moveTo>
                    <a:pt x="7513" y="2026"/>
                  </a:moveTo>
                  <a:cubicBezTo>
                    <a:pt x="7080" y="2330"/>
                    <a:pt x="6748" y="2680"/>
                    <a:pt x="6520" y="3077"/>
                  </a:cubicBezTo>
                  <a:cubicBezTo>
                    <a:pt x="6291" y="3474"/>
                    <a:pt x="6177" y="3883"/>
                    <a:pt x="6177" y="4305"/>
                  </a:cubicBezTo>
                  <a:cubicBezTo>
                    <a:pt x="6177" y="4744"/>
                    <a:pt x="6291" y="5162"/>
                    <a:pt x="6520" y="5558"/>
                  </a:cubicBezTo>
                  <a:cubicBezTo>
                    <a:pt x="6748" y="5955"/>
                    <a:pt x="7080" y="6305"/>
                    <a:pt x="7513" y="6609"/>
                  </a:cubicBezTo>
                  <a:cubicBezTo>
                    <a:pt x="7970" y="6913"/>
                    <a:pt x="8476" y="7145"/>
                    <a:pt x="9030" y="7306"/>
                  </a:cubicBezTo>
                  <a:cubicBezTo>
                    <a:pt x="9584" y="7466"/>
                    <a:pt x="10174" y="7546"/>
                    <a:pt x="10800" y="7546"/>
                  </a:cubicBezTo>
                  <a:cubicBezTo>
                    <a:pt x="11426" y="7546"/>
                    <a:pt x="12016" y="7466"/>
                    <a:pt x="12570" y="7306"/>
                  </a:cubicBezTo>
                  <a:cubicBezTo>
                    <a:pt x="13124" y="7145"/>
                    <a:pt x="13629" y="6913"/>
                    <a:pt x="14087" y="6609"/>
                  </a:cubicBezTo>
                  <a:cubicBezTo>
                    <a:pt x="14520" y="6305"/>
                    <a:pt x="14851" y="5955"/>
                    <a:pt x="15080" y="5558"/>
                  </a:cubicBezTo>
                  <a:cubicBezTo>
                    <a:pt x="15309" y="5162"/>
                    <a:pt x="15423" y="4744"/>
                    <a:pt x="15423" y="4305"/>
                  </a:cubicBezTo>
                  <a:cubicBezTo>
                    <a:pt x="15423" y="3883"/>
                    <a:pt x="15309" y="3474"/>
                    <a:pt x="15080" y="3077"/>
                  </a:cubicBezTo>
                  <a:cubicBezTo>
                    <a:pt x="14851" y="2680"/>
                    <a:pt x="14520" y="2330"/>
                    <a:pt x="14087" y="2026"/>
                  </a:cubicBezTo>
                  <a:cubicBezTo>
                    <a:pt x="13629" y="1722"/>
                    <a:pt x="13124" y="1486"/>
                    <a:pt x="12570" y="1317"/>
                  </a:cubicBezTo>
                  <a:cubicBezTo>
                    <a:pt x="12016" y="1148"/>
                    <a:pt x="11426" y="1064"/>
                    <a:pt x="10800" y="1064"/>
                  </a:cubicBezTo>
                  <a:cubicBezTo>
                    <a:pt x="10174" y="1064"/>
                    <a:pt x="9584" y="1148"/>
                    <a:pt x="9030" y="1317"/>
                  </a:cubicBezTo>
                  <a:cubicBezTo>
                    <a:pt x="8476" y="1486"/>
                    <a:pt x="7970" y="1722"/>
                    <a:pt x="7513" y="2026"/>
                  </a:cubicBezTo>
                  <a:lnTo>
                    <a:pt x="7513" y="2026"/>
                  </a:lnTo>
                  <a:lnTo>
                    <a:pt x="7513" y="2026"/>
                  </a:lnTo>
                  <a:close/>
                  <a:moveTo>
                    <a:pt x="14990" y="19118"/>
                  </a:moveTo>
                  <a:cubicBezTo>
                    <a:pt x="15207" y="18966"/>
                    <a:pt x="15345" y="18785"/>
                    <a:pt x="15405" y="18574"/>
                  </a:cubicBezTo>
                  <a:cubicBezTo>
                    <a:pt x="15465" y="18363"/>
                    <a:pt x="15435" y="18156"/>
                    <a:pt x="15315" y="17954"/>
                  </a:cubicBezTo>
                  <a:lnTo>
                    <a:pt x="12245" y="12560"/>
                  </a:lnTo>
                  <a:cubicBezTo>
                    <a:pt x="12221" y="12543"/>
                    <a:pt x="12203" y="12522"/>
                    <a:pt x="12191" y="12497"/>
                  </a:cubicBezTo>
                  <a:cubicBezTo>
                    <a:pt x="12178" y="12471"/>
                    <a:pt x="12160" y="12442"/>
                    <a:pt x="12136" y="12408"/>
                  </a:cubicBezTo>
                  <a:cubicBezTo>
                    <a:pt x="12209" y="12341"/>
                    <a:pt x="12263" y="12260"/>
                    <a:pt x="12299" y="12167"/>
                  </a:cubicBezTo>
                  <a:cubicBezTo>
                    <a:pt x="12335" y="12075"/>
                    <a:pt x="12353" y="11977"/>
                    <a:pt x="12353" y="11876"/>
                  </a:cubicBezTo>
                  <a:cubicBezTo>
                    <a:pt x="12353" y="11860"/>
                    <a:pt x="12353" y="11838"/>
                    <a:pt x="12353" y="11813"/>
                  </a:cubicBezTo>
                  <a:cubicBezTo>
                    <a:pt x="12353" y="11788"/>
                    <a:pt x="12341" y="11758"/>
                    <a:pt x="12317" y="11724"/>
                  </a:cubicBezTo>
                  <a:cubicBezTo>
                    <a:pt x="12317" y="11708"/>
                    <a:pt x="12317" y="11691"/>
                    <a:pt x="12317" y="11674"/>
                  </a:cubicBezTo>
                  <a:cubicBezTo>
                    <a:pt x="12293" y="11572"/>
                    <a:pt x="12250" y="11480"/>
                    <a:pt x="12191" y="11395"/>
                  </a:cubicBezTo>
                  <a:cubicBezTo>
                    <a:pt x="12130" y="11311"/>
                    <a:pt x="12052" y="11227"/>
                    <a:pt x="11956" y="11142"/>
                  </a:cubicBezTo>
                  <a:lnTo>
                    <a:pt x="11920" y="11142"/>
                  </a:lnTo>
                  <a:cubicBezTo>
                    <a:pt x="11920" y="11125"/>
                    <a:pt x="11896" y="11108"/>
                    <a:pt x="11847" y="11091"/>
                  </a:cubicBezTo>
                  <a:cubicBezTo>
                    <a:pt x="11847" y="11075"/>
                    <a:pt x="11835" y="11066"/>
                    <a:pt x="11811" y="11066"/>
                  </a:cubicBezTo>
                  <a:cubicBezTo>
                    <a:pt x="11811" y="11049"/>
                    <a:pt x="11787" y="11032"/>
                    <a:pt x="11739" y="11015"/>
                  </a:cubicBezTo>
                  <a:lnTo>
                    <a:pt x="11703" y="11015"/>
                  </a:lnTo>
                  <a:cubicBezTo>
                    <a:pt x="11679" y="10999"/>
                    <a:pt x="11654" y="10982"/>
                    <a:pt x="11631" y="10965"/>
                  </a:cubicBezTo>
                  <a:cubicBezTo>
                    <a:pt x="11607" y="10948"/>
                    <a:pt x="11571" y="10939"/>
                    <a:pt x="11522" y="10939"/>
                  </a:cubicBezTo>
                  <a:lnTo>
                    <a:pt x="11522" y="10914"/>
                  </a:lnTo>
                  <a:lnTo>
                    <a:pt x="11486" y="10914"/>
                  </a:lnTo>
                  <a:lnTo>
                    <a:pt x="11450" y="10889"/>
                  </a:lnTo>
                  <a:lnTo>
                    <a:pt x="11414" y="10889"/>
                  </a:lnTo>
                  <a:lnTo>
                    <a:pt x="11378" y="10889"/>
                  </a:lnTo>
                  <a:cubicBezTo>
                    <a:pt x="11378" y="10872"/>
                    <a:pt x="11366" y="10863"/>
                    <a:pt x="11342" y="10863"/>
                  </a:cubicBezTo>
                  <a:cubicBezTo>
                    <a:pt x="11318" y="10863"/>
                    <a:pt x="11300" y="10863"/>
                    <a:pt x="11288" y="10863"/>
                  </a:cubicBezTo>
                  <a:cubicBezTo>
                    <a:pt x="11275" y="10863"/>
                    <a:pt x="11270" y="10855"/>
                    <a:pt x="11270" y="10838"/>
                  </a:cubicBezTo>
                  <a:cubicBezTo>
                    <a:pt x="11245" y="10838"/>
                    <a:pt x="11221" y="10838"/>
                    <a:pt x="11197" y="10838"/>
                  </a:cubicBezTo>
                  <a:lnTo>
                    <a:pt x="11161" y="10838"/>
                  </a:lnTo>
                  <a:lnTo>
                    <a:pt x="11125" y="10813"/>
                  </a:lnTo>
                  <a:lnTo>
                    <a:pt x="11089" y="10813"/>
                  </a:lnTo>
                  <a:lnTo>
                    <a:pt x="11053" y="10813"/>
                  </a:lnTo>
                  <a:lnTo>
                    <a:pt x="11017" y="10813"/>
                  </a:lnTo>
                  <a:lnTo>
                    <a:pt x="10981" y="10813"/>
                  </a:lnTo>
                  <a:lnTo>
                    <a:pt x="10944" y="10813"/>
                  </a:lnTo>
                  <a:lnTo>
                    <a:pt x="10908" y="10813"/>
                  </a:lnTo>
                  <a:lnTo>
                    <a:pt x="10872" y="10813"/>
                  </a:lnTo>
                  <a:lnTo>
                    <a:pt x="10836" y="10813"/>
                  </a:lnTo>
                  <a:lnTo>
                    <a:pt x="10800" y="10813"/>
                  </a:lnTo>
                  <a:lnTo>
                    <a:pt x="10764" y="10813"/>
                  </a:lnTo>
                  <a:lnTo>
                    <a:pt x="10728" y="10813"/>
                  </a:lnTo>
                  <a:lnTo>
                    <a:pt x="10692" y="10813"/>
                  </a:lnTo>
                  <a:lnTo>
                    <a:pt x="10656" y="10813"/>
                  </a:lnTo>
                  <a:lnTo>
                    <a:pt x="10619" y="10813"/>
                  </a:lnTo>
                  <a:lnTo>
                    <a:pt x="10583" y="10813"/>
                  </a:lnTo>
                  <a:lnTo>
                    <a:pt x="10547" y="10813"/>
                  </a:lnTo>
                  <a:lnTo>
                    <a:pt x="10511" y="10813"/>
                  </a:lnTo>
                  <a:lnTo>
                    <a:pt x="10475" y="10813"/>
                  </a:lnTo>
                  <a:lnTo>
                    <a:pt x="10439" y="10838"/>
                  </a:lnTo>
                  <a:lnTo>
                    <a:pt x="10403" y="10838"/>
                  </a:lnTo>
                  <a:cubicBezTo>
                    <a:pt x="10379" y="10838"/>
                    <a:pt x="10354" y="10838"/>
                    <a:pt x="10330" y="10838"/>
                  </a:cubicBezTo>
                  <a:cubicBezTo>
                    <a:pt x="10306" y="10855"/>
                    <a:pt x="10282" y="10863"/>
                    <a:pt x="10258" y="10863"/>
                  </a:cubicBezTo>
                  <a:cubicBezTo>
                    <a:pt x="10234" y="10863"/>
                    <a:pt x="10222" y="10872"/>
                    <a:pt x="10222" y="10889"/>
                  </a:cubicBezTo>
                  <a:lnTo>
                    <a:pt x="10186" y="10889"/>
                  </a:lnTo>
                  <a:lnTo>
                    <a:pt x="10150" y="10889"/>
                  </a:lnTo>
                  <a:lnTo>
                    <a:pt x="10114" y="10914"/>
                  </a:lnTo>
                  <a:lnTo>
                    <a:pt x="10078" y="10914"/>
                  </a:lnTo>
                  <a:lnTo>
                    <a:pt x="10078" y="10939"/>
                  </a:lnTo>
                  <a:cubicBezTo>
                    <a:pt x="10029" y="10939"/>
                    <a:pt x="9993" y="10948"/>
                    <a:pt x="9969" y="10965"/>
                  </a:cubicBezTo>
                  <a:cubicBezTo>
                    <a:pt x="9945" y="10982"/>
                    <a:pt x="9921" y="10999"/>
                    <a:pt x="9897" y="11015"/>
                  </a:cubicBezTo>
                  <a:lnTo>
                    <a:pt x="9861" y="11015"/>
                  </a:lnTo>
                  <a:cubicBezTo>
                    <a:pt x="9812" y="11032"/>
                    <a:pt x="9789" y="11049"/>
                    <a:pt x="9789" y="11066"/>
                  </a:cubicBezTo>
                  <a:cubicBezTo>
                    <a:pt x="9765" y="11066"/>
                    <a:pt x="9753" y="11075"/>
                    <a:pt x="9753" y="11091"/>
                  </a:cubicBezTo>
                  <a:cubicBezTo>
                    <a:pt x="9704" y="11108"/>
                    <a:pt x="9680" y="11125"/>
                    <a:pt x="9680" y="11142"/>
                  </a:cubicBezTo>
                  <a:lnTo>
                    <a:pt x="9644" y="11142"/>
                  </a:lnTo>
                  <a:cubicBezTo>
                    <a:pt x="9548" y="11227"/>
                    <a:pt x="9469" y="11311"/>
                    <a:pt x="9409" y="11395"/>
                  </a:cubicBezTo>
                  <a:cubicBezTo>
                    <a:pt x="9349" y="11480"/>
                    <a:pt x="9307" y="11572"/>
                    <a:pt x="9283" y="11674"/>
                  </a:cubicBezTo>
                  <a:cubicBezTo>
                    <a:pt x="9283" y="11691"/>
                    <a:pt x="9283" y="11708"/>
                    <a:pt x="9283" y="11724"/>
                  </a:cubicBezTo>
                  <a:cubicBezTo>
                    <a:pt x="9259" y="11758"/>
                    <a:pt x="9247" y="11788"/>
                    <a:pt x="9247" y="11813"/>
                  </a:cubicBezTo>
                  <a:cubicBezTo>
                    <a:pt x="9247" y="11838"/>
                    <a:pt x="9247" y="11860"/>
                    <a:pt x="9247" y="11876"/>
                  </a:cubicBezTo>
                  <a:cubicBezTo>
                    <a:pt x="9247" y="11977"/>
                    <a:pt x="9265" y="12075"/>
                    <a:pt x="9301" y="12167"/>
                  </a:cubicBezTo>
                  <a:cubicBezTo>
                    <a:pt x="9337" y="12260"/>
                    <a:pt x="9391" y="12341"/>
                    <a:pt x="9464" y="12408"/>
                  </a:cubicBezTo>
                  <a:cubicBezTo>
                    <a:pt x="9439" y="12442"/>
                    <a:pt x="9421" y="12467"/>
                    <a:pt x="9409" y="12484"/>
                  </a:cubicBezTo>
                  <a:cubicBezTo>
                    <a:pt x="9397" y="12501"/>
                    <a:pt x="9379" y="12526"/>
                    <a:pt x="9355" y="12560"/>
                  </a:cubicBezTo>
                  <a:lnTo>
                    <a:pt x="6285" y="17954"/>
                  </a:lnTo>
                  <a:cubicBezTo>
                    <a:pt x="6164" y="18156"/>
                    <a:pt x="6134" y="18363"/>
                    <a:pt x="6195" y="18574"/>
                  </a:cubicBezTo>
                  <a:cubicBezTo>
                    <a:pt x="6254" y="18785"/>
                    <a:pt x="6393" y="18966"/>
                    <a:pt x="6610" y="19118"/>
                  </a:cubicBezTo>
                  <a:lnTo>
                    <a:pt x="9716" y="21296"/>
                  </a:lnTo>
                  <a:cubicBezTo>
                    <a:pt x="9861" y="21397"/>
                    <a:pt x="10029" y="21473"/>
                    <a:pt x="10222" y="21524"/>
                  </a:cubicBezTo>
                  <a:cubicBezTo>
                    <a:pt x="10415" y="21575"/>
                    <a:pt x="10607" y="21600"/>
                    <a:pt x="10800" y="21600"/>
                  </a:cubicBezTo>
                  <a:cubicBezTo>
                    <a:pt x="10993" y="21600"/>
                    <a:pt x="11185" y="21575"/>
                    <a:pt x="11378" y="21524"/>
                  </a:cubicBezTo>
                  <a:cubicBezTo>
                    <a:pt x="11571" y="21473"/>
                    <a:pt x="11739" y="21397"/>
                    <a:pt x="11884" y="21296"/>
                  </a:cubicBez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close/>
                  <a:moveTo>
                    <a:pt x="6429" y="20511"/>
                  </a:moveTo>
                  <a:lnTo>
                    <a:pt x="1553" y="20511"/>
                  </a:lnTo>
                  <a:lnTo>
                    <a:pt x="1553" y="17270"/>
                  </a:lnTo>
                  <a:cubicBezTo>
                    <a:pt x="1553" y="16915"/>
                    <a:pt x="1601" y="16561"/>
                    <a:pt x="1698" y="16206"/>
                  </a:cubicBezTo>
                  <a:cubicBezTo>
                    <a:pt x="1794" y="15852"/>
                    <a:pt x="1951" y="15514"/>
                    <a:pt x="2167" y="15193"/>
                  </a:cubicBezTo>
                  <a:cubicBezTo>
                    <a:pt x="2360" y="14873"/>
                    <a:pt x="2595" y="14565"/>
                    <a:pt x="2872" y="14269"/>
                  </a:cubicBezTo>
                  <a:cubicBezTo>
                    <a:pt x="3148" y="13974"/>
                    <a:pt x="3468" y="13708"/>
                    <a:pt x="3829" y="13472"/>
                  </a:cubicBezTo>
                  <a:cubicBezTo>
                    <a:pt x="4166" y="13218"/>
                    <a:pt x="4545" y="12995"/>
                    <a:pt x="4967" y="12800"/>
                  </a:cubicBezTo>
                  <a:cubicBezTo>
                    <a:pt x="5388" y="12607"/>
                    <a:pt x="5827" y="12442"/>
                    <a:pt x="6285" y="12307"/>
                  </a:cubicBezTo>
                  <a:cubicBezTo>
                    <a:pt x="6502" y="12239"/>
                    <a:pt x="6730" y="12176"/>
                    <a:pt x="6971" y="12117"/>
                  </a:cubicBezTo>
                  <a:cubicBezTo>
                    <a:pt x="7212" y="12058"/>
                    <a:pt x="7465" y="12012"/>
                    <a:pt x="7730" y="11977"/>
                  </a:cubicBezTo>
                  <a:cubicBezTo>
                    <a:pt x="7730" y="11961"/>
                    <a:pt x="7730" y="11944"/>
                    <a:pt x="7730" y="11927"/>
                  </a:cubicBezTo>
                  <a:cubicBezTo>
                    <a:pt x="7730" y="11910"/>
                    <a:pt x="7730" y="11893"/>
                    <a:pt x="7730" y="11876"/>
                  </a:cubicBezTo>
                  <a:cubicBezTo>
                    <a:pt x="7730" y="11691"/>
                    <a:pt x="7760" y="11509"/>
                    <a:pt x="7820" y="11332"/>
                  </a:cubicBezTo>
                  <a:cubicBezTo>
                    <a:pt x="7880" y="11155"/>
                    <a:pt x="7970" y="10990"/>
                    <a:pt x="8091" y="10838"/>
                  </a:cubicBezTo>
                  <a:cubicBezTo>
                    <a:pt x="6959" y="10939"/>
                    <a:pt x="5900" y="11184"/>
                    <a:pt x="4912" y="11572"/>
                  </a:cubicBezTo>
                  <a:cubicBezTo>
                    <a:pt x="3925" y="11944"/>
                    <a:pt x="3070" y="12417"/>
                    <a:pt x="2348" y="12990"/>
                  </a:cubicBezTo>
                  <a:cubicBezTo>
                    <a:pt x="1625" y="13564"/>
                    <a:pt x="1060" y="14215"/>
                    <a:pt x="650" y="14940"/>
                  </a:cubicBezTo>
                  <a:cubicBezTo>
                    <a:pt x="217" y="15683"/>
                    <a:pt x="0" y="16460"/>
                    <a:pt x="0" y="17270"/>
                  </a:cubicBezTo>
                  <a:lnTo>
                    <a:pt x="0" y="20511"/>
                  </a:lnTo>
                  <a:cubicBezTo>
                    <a:pt x="0" y="20815"/>
                    <a:pt x="150" y="21073"/>
                    <a:pt x="452" y="21283"/>
                  </a:cubicBezTo>
                  <a:cubicBezTo>
                    <a:pt x="753" y="21495"/>
                    <a:pt x="1120" y="21600"/>
                    <a:pt x="1553" y="21600"/>
                  </a:cubicBezTo>
                  <a:lnTo>
                    <a:pt x="7983" y="21600"/>
                  </a:lnTo>
                  <a:lnTo>
                    <a:pt x="6429" y="20511"/>
                  </a:lnTo>
                  <a:lnTo>
                    <a:pt x="6429" y="20511"/>
                  </a:lnTo>
                  <a:lnTo>
                    <a:pt x="6429" y="20511"/>
                  </a:lnTo>
                  <a:lnTo>
                    <a:pt x="6429" y="20511"/>
                  </a:lnTo>
                  <a:lnTo>
                    <a:pt x="6429" y="20511"/>
                  </a:lnTo>
                  <a:lnTo>
                    <a:pt x="6429" y="20511"/>
                  </a:lnTo>
                  <a:close/>
                  <a:moveTo>
                    <a:pt x="21600" y="17270"/>
                  </a:moveTo>
                  <a:cubicBezTo>
                    <a:pt x="21600" y="16460"/>
                    <a:pt x="21383" y="15683"/>
                    <a:pt x="20950" y="14940"/>
                  </a:cubicBezTo>
                  <a:cubicBezTo>
                    <a:pt x="20540" y="14215"/>
                    <a:pt x="19975" y="13564"/>
                    <a:pt x="19252" y="12990"/>
                  </a:cubicBezTo>
                  <a:cubicBezTo>
                    <a:pt x="18530" y="12417"/>
                    <a:pt x="17675" y="11944"/>
                    <a:pt x="16688" y="11572"/>
                  </a:cubicBezTo>
                  <a:cubicBezTo>
                    <a:pt x="15700" y="11184"/>
                    <a:pt x="14641" y="10939"/>
                    <a:pt x="13509" y="10838"/>
                  </a:cubicBezTo>
                  <a:cubicBezTo>
                    <a:pt x="13629" y="11007"/>
                    <a:pt x="13720" y="11176"/>
                    <a:pt x="13780" y="11344"/>
                  </a:cubicBezTo>
                  <a:cubicBezTo>
                    <a:pt x="13840" y="11513"/>
                    <a:pt x="13870" y="11691"/>
                    <a:pt x="13870" y="11876"/>
                  </a:cubicBezTo>
                  <a:cubicBezTo>
                    <a:pt x="13870" y="11893"/>
                    <a:pt x="13870" y="11910"/>
                    <a:pt x="13870" y="11927"/>
                  </a:cubicBezTo>
                  <a:cubicBezTo>
                    <a:pt x="13870" y="11944"/>
                    <a:pt x="13870" y="11961"/>
                    <a:pt x="13870" y="11977"/>
                  </a:cubicBezTo>
                  <a:cubicBezTo>
                    <a:pt x="14111" y="12012"/>
                    <a:pt x="14358" y="12058"/>
                    <a:pt x="14611" y="12117"/>
                  </a:cubicBezTo>
                  <a:cubicBezTo>
                    <a:pt x="14864" y="12176"/>
                    <a:pt x="15098" y="12239"/>
                    <a:pt x="15315" y="12307"/>
                  </a:cubicBezTo>
                  <a:cubicBezTo>
                    <a:pt x="15772" y="12442"/>
                    <a:pt x="16212" y="12607"/>
                    <a:pt x="16633" y="12800"/>
                  </a:cubicBezTo>
                  <a:cubicBezTo>
                    <a:pt x="17054" y="12995"/>
                    <a:pt x="17434" y="13218"/>
                    <a:pt x="17771" y="13472"/>
                  </a:cubicBezTo>
                  <a:cubicBezTo>
                    <a:pt x="18132" y="13725"/>
                    <a:pt x="18452" y="13995"/>
                    <a:pt x="18728" y="14282"/>
                  </a:cubicBezTo>
                  <a:cubicBezTo>
                    <a:pt x="19005" y="14569"/>
                    <a:pt x="19240" y="14873"/>
                    <a:pt x="19433" y="15193"/>
                  </a:cubicBezTo>
                  <a:cubicBezTo>
                    <a:pt x="19649" y="15514"/>
                    <a:pt x="19806" y="15852"/>
                    <a:pt x="19902" y="16206"/>
                  </a:cubicBezTo>
                  <a:cubicBezTo>
                    <a:pt x="19998" y="16561"/>
                    <a:pt x="20047" y="16915"/>
                    <a:pt x="20047" y="17270"/>
                  </a:cubicBezTo>
                  <a:lnTo>
                    <a:pt x="20047" y="20511"/>
                  </a:lnTo>
                  <a:lnTo>
                    <a:pt x="15171" y="20511"/>
                  </a:lnTo>
                  <a:lnTo>
                    <a:pt x="13617" y="21600"/>
                  </a:lnTo>
                  <a:lnTo>
                    <a:pt x="20047" y="21600"/>
                  </a:lnTo>
                  <a:cubicBezTo>
                    <a:pt x="20480" y="21600"/>
                    <a:pt x="20847" y="21495"/>
                    <a:pt x="21148" y="21283"/>
                  </a:cubicBezTo>
                  <a:cubicBezTo>
                    <a:pt x="21449" y="21073"/>
                    <a:pt x="21600" y="20815"/>
                    <a:pt x="21600" y="20511"/>
                  </a:cubicBezTo>
                  <a:lnTo>
                    <a:pt x="21600" y="17270"/>
                  </a:lnTo>
                  <a:lnTo>
                    <a:pt x="21600" y="17270"/>
                  </a:lnTo>
                  <a:lnTo>
                    <a:pt x="21600" y="17270"/>
                  </a:lnTo>
                  <a:lnTo>
                    <a:pt x="21600" y="17270"/>
                  </a:lnTo>
                  <a:lnTo>
                    <a:pt x="21600" y="17270"/>
                  </a:lnTo>
                  <a:lnTo>
                    <a:pt x="21600" y="1727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miter lim="400000"/>
            </a:ln>
          </p:spPr>
          <p:txBody>
            <a:bodyPr lIns="27428" tIns="27428" rIns="27428" bIns="27428" anchor="ctr"/>
            <a:lstStyle/>
            <a:p>
              <a:pPr marL="0" marR="0" lvl="0" indent="0" algn="l" defTabSz="3291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b="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1296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sym typeface="Gill Sans"/>
              </a:endParaRPr>
            </a:p>
          </p:txBody>
        </p:sp>
        <p:sp>
          <p:nvSpPr>
            <p:cNvPr id="1214" name="CaixaDeTexto 1213">
              <a:extLst>
                <a:ext uri="{FF2B5EF4-FFF2-40B4-BE49-F238E27FC236}">
                  <a16:creationId xmlns:a16="http://schemas.microsoft.com/office/drawing/2014/main" id="{22D86623-DEA8-0A45-DE88-EF77025F9699}"/>
                </a:ext>
              </a:extLst>
            </p:cNvPr>
            <p:cNvSpPr txBox="1"/>
            <p:nvPr/>
          </p:nvSpPr>
          <p:spPr>
            <a:xfrm>
              <a:off x="768272" y="3501680"/>
              <a:ext cx="848111" cy="230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3165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PJ</a:t>
              </a:r>
            </a:p>
          </p:txBody>
        </p:sp>
      </p:grpSp>
      <p:grpSp>
        <p:nvGrpSpPr>
          <p:cNvPr id="1221" name="Agrupar 1220">
            <a:extLst>
              <a:ext uri="{FF2B5EF4-FFF2-40B4-BE49-F238E27FC236}">
                <a16:creationId xmlns:a16="http://schemas.microsoft.com/office/drawing/2014/main" id="{C67D8FB3-EC3B-08F6-E115-A31CDE21EBEE}"/>
              </a:ext>
            </a:extLst>
          </p:cNvPr>
          <p:cNvGrpSpPr/>
          <p:nvPr/>
        </p:nvGrpSpPr>
        <p:grpSpPr>
          <a:xfrm>
            <a:off x="773910" y="2416167"/>
            <a:ext cx="848110" cy="509846"/>
            <a:chOff x="777761" y="2487663"/>
            <a:chExt cx="848111" cy="509847"/>
          </a:xfrm>
        </p:grpSpPr>
        <p:sp>
          <p:nvSpPr>
            <p:cNvPr id="1212" name="Forma">
              <a:extLst>
                <a:ext uri="{FF2B5EF4-FFF2-40B4-BE49-F238E27FC236}">
                  <a16:creationId xmlns:a16="http://schemas.microsoft.com/office/drawing/2014/main" id="{ECFB4650-F335-9A3D-63DD-7C08D7E426A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9235" y="2487663"/>
              <a:ext cx="201906" cy="288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353" y="10787"/>
                  </a:moveTo>
                  <a:cubicBezTo>
                    <a:pt x="13605" y="10787"/>
                    <a:pt x="14797" y="10965"/>
                    <a:pt x="15929" y="11319"/>
                  </a:cubicBezTo>
                  <a:cubicBezTo>
                    <a:pt x="17061" y="11657"/>
                    <a:pt x="18042" y="12117"/>
                    <a:pt x="18873" y="12699"/>
                  </a:cubicBezTo>
                  <a:cubicBezTo>
                    <a:pt x="19704" y="13282"/>
                    <a:pt x="20360" y="13970"/>
                    <a:pt x="20841" y="14763"/>
                  </a:cubicBezTo>
                  <a:cubicBezTo>
                    <a:pt x="21347" y="15557"/>
                    <a:pt x="21600" y="16392"/>
                    <a:pt x="21600" y="17270"/>
                  </a:cubicBezTo>
                  <a:lnTo>
                    <a:pt x="21600" y="20891"/>
                  </a:lnTo>
                  <a:cubicBezTo>
                    <a:pt x="21600" y="21094"/>
                    <a:pt x="21498" y="21262"/>
                    <a:pt x="21293" y="21397"/>
                  </a:cubicBezTo>
                  <a:cubicBezTo>
                    <a:pt x="21088" y="21533"/>
                    <a:pt x="20854" y="21600"/>
                    <a:pt x="20589" y="21600"/>
                  </a:cubicBezTo>
                  <a:lnTo>
                    <a:pt x="1011" y="21600"/>
                  </a:lnTo>
                  <a:cubicBezTo>
                    <a:pt x="746" y="21600"/>
                    <a:pt x="512" y="21533"/>
                    <a:pt x="307" y="21397"/>
                  </a:cubicBezTo>
                  <a:cubicBezTo>
                    <a:pt x="102" y="21262"/>
                    <a:pt x="0" y="21094"/>
                    <a:pt x="0" y="20891"/>
                  </a:cubicBezTo>
                  <a:lnTo>
                    <a:pt x="0" y="17270"/>
                  </a:lnTo>
                  <a:cubicBezTo>
                    <a:pt x="0" y="16392"/>
                    <a:pt x="253" y="15557"/>
                    <a:pt x="759" y="14763"/>
                  </a:cubicBezTo>
                  <a:cubicBezTo>
                    <a:pt x="1240" y="13970"/>
                    <a:pt x="1896" y="13282"/>
                    <a:pt x="2727" y="12699"/>
                  </a:cubicBezTo>
                  <a:cubicBezTo>
                    <a:pt x="3558" y="12117"/>
                    <a:pt x="4539" y="11657"/>
                    <a:pt x="5671" y="11319"/>
                  </a:cubicBezTo>
                  <a:cubicBezTo>
                    <a:pt x="6803" y="10965"/>
                    <a:pt x="7995" y="10787"/>
                    <a:pt x="9247" y="10787"/>
                  </a:cubicBezTo>
                  <a:lnTo>
                    <a:pt x="12353" y="10787"/>
                  </a:lnTo>
                  <a:lnTo>
                    <a:pt x="12353" y="10787"/>
                  </a:lnTo>
                  <a:lnTo>
                    <a:pt x="12353" y="10787"/>
                  </a:lnTo>
                  <a:close/>
                  <a:moveTo>
                    <a:pt x="20047" y="20511"/>
                  </a:moveTo>
                  <a:lnTo>
                    <a:pt x="20047" y="17270"/>
                  </a:lnTo>
                  <a:cubicBezTo>
                    <a:pt x="20047" y="16915"/>
                    <a:pt x="19999" y="16561"/>
                    <a:pt x="19902" y="16206"/>
                  </a:cubicBezTo>
                  <a:cubicBezTo>
                    <a:pt x="19806" y="15852"/>
                    <a:pt x="19649" y="15514"/>
                    <a:pt x="19433" y="15193"/>
                  </a:cubicBezTo>
                  <a:cubicBezTo>
                    <a:pt x="19240" y="14873"/>
                    <a:pt x="19005" y="14565"/>
                    <a:pt x="18728" y="14269"/>
                  </a:cubicBezTo>
                  <a:cubicBezTo>
                    <a:pt x="18452" y="13974"/>
                    <a:pt x="18132" y="13708"/>
                    <a:pt x="17771" y="13472"/>
                  </a:cubicBezTo>
                  <a:cubicBezTo>
                    <a:pt x="17410" y="13218"/>
                    <a:pt x="17025" y="12995"/>
                    <a:pt x="16615" y="12800"/>
                  </a:cubicBezTo>
                  <a:cubicBezTo>
                    <a:pt x="16206" y="12607"/>
                    <a:pt x="15773" y="12442"/>
                    <a:pt x="15315" y="12307"/>
                  </a:cubicBezTo>
                  <a:cubicBezTo>
                    <a:pt x="14858" y="12155"/>
                    <a:pt x="14376" y="12045"/>
                    <a:pt x="13870" y="11977"/>
                  </a:cubicBezTo>
                  <a:cubicBezTo>
                    <a:pt x="13365" y="11910"/>
                    <a:pt x="12859" y="11876"/>
                    <a:pt x="12353" y="11876"/>
                  </a:cubicBezTo>
                  <a:lnTo>
                    <a:pt x="9247" y="11876"/>
                  </a:lnTo>
                  <a:cubicBezTo>
                    <a:pt x="8741" y="11876"/>
                    <a:pt x="8235" y="11910"/>
                    <a:pt x="7730" y="11977"/>
                  </a:cubicBezTo>
                  <a:cubicBezTo>
                    <a:pt x="7224" y="12045"/>
                    <a:pt x="6742" y="12155"/>
                    <a:pt x="6285" y="12307"/>
                  </a:cubicBezTo>
                  <a:cubicBezTo>
                    <a:pt x="5827" y="12442"/>
                    <a:pt x="5388" y="12607"/>
                    <a:pt x="4967" y="12800"/>
                  </a:cubicBezTo>
                  <a:cubicBezTo>
                    <a:pt x="4545" y="12995"/>
                    <a:pt x="4166" y="13218"/>
                    <a:pt x="3829" y="13472"/>
                  </a:cubicBezTo>
                  <a:cubicBezTo>
                    <a:pt x="3468" y="13725"/>
                    <a:pt x="3148" y="13995"/>
                    <a:pt x="2872" y="14282"/>
                  </a:cubicBezTo>
                  <a:cubicBezTo>
                    <a:pt x="2595" y="14569"/>
                    <a:pt x="2360" y="14873"/>
                    <a:pt x="2167" y="15193"/>
                  </a:cubicBezTo>
                  <a:cubicBezTo>
                    <a:pt x="1951" y="15514"/>
                    <a:pt x="1794" y="15852"/>
                    <a:pt x="1698" y="16206"/>
                  </a:cubicBezTo>
                  <a:cubicBezTo>
                    <a:pt x="1601" y="16561"/>
                    <a:pt x="1553" y="16915"/>
                    <a:pt x="1553" y="17270"/>
                  </a:cubicBezTo>
                  <a:lnTo>
                    <a:pt x="1553" y="20511"/>
                  </a:lnTo>
                  <a:lnTo>
                    <a:pt x="20047" y="20511"/>
                  </a:lnTo>
                  <a:lnTo>
                    <a:pt x="20047" y="20511"/>
                  </a:lnTo>
                  <a:lnTo>
                    <a:pt x="20047" y="20511"/>
                  </a:lnTo>
                  <a:close/>
                  <a:moveTo>
                    <a:pt x="6429" y="7369"/>
                  </a:moveTo>
                  <a:cubicBezTo>
                    <a:pt x="5225" y="6525"/>
                    <a:pt x="4623" y="5504"/>
                    <a:pt x="4623" y="4305"/>
                  </a:cubicBezTo>
                  <a:cubicBezTo>
                    <a:pt x="4623" y="3123"/>
                    <a:pt x="5225" y="2110"/>
                    <a:pt x="6429" y="1266"/>
                  </a:cubicBezTo>
                  <a:cubicBezTo>
                    <a:pt x="7633" y="422"/>
                    <a:pt x="9090" y="0"/>
                    <a:pt x="10800" y="0"/>
                  </a:cubicBezTo>
                  <a:cubicBezTo>
                    <a:pt x="12510" y="0"/>
                    <a:pt x="13967" y="422"/>
                    <a:pt x="15171" y="1266"/>
                  </a:cubicBezTo>
                  <a:cubicBezTo>
                    <a:pt x="16375" y="2110"/>
                    <a:pt x="16977" y="3123"/>
                    <a:pt x="16977" y="4305"/>
                  </a:cubicBezTo>
                  <a:cubicBezTo>
                    <a:pt x="16977" y="5504"/>
                    <a:pt x="16375" y="6525"/>
                    <a:pt x="15171" y="7369"/>
                  </a:cubicBezTo>
                  <a:cubicBezTo>
                    <a:pt x="13967" y="8213"/>
                    <a:pt x="12510" y="8635"/>
                    <a:pt x="10800" y="8635"/>
                  </a:cubicBezTo>
                  <a:cubicBezTo>
                    <a:pt x="9090" y="8635"/>
                    <a:pt x="7633" y="8213"/>
                    <a:pt x="6429" y="7369"/>
                  </a:cubicBezTo>
                  <a:lnTo>
                    <a:pt x="6429" y="7369"/>
                  </a:lnTo>
                  <a:close/>
                  <a:moveTo>
                    <a:pt x="7513" y="2026"/>
                  </a:moveTo>
                  <a:cubicBezTo>
                    <a:pt x="7080" y="2330"/>
                    <a:pt x="6748" y="2680"/>
                    <a:pt x="6520" y="3077"/>
                  </a:cubicBezTo>
                  <a:cubicBezTo>
                    <a:pt x="6291" y="3473"/>
                    <a:pt x="6177" y="3883"/>
                    <a:pt x="6177" y="4305"/>
                  </a:cubicBezTo>
                  <a:cubicBezTo>
                    <a:pt x="6177" y="4744"/>
                    <a:pt x="6291" y="5162"/>
                    <a:pt x="6520" y="5558"/>
                  </a:cubicBezTo>
                  <a:cubicBezTo>
                    <a:pt x="6748" y="5955"/>
                    <a:pt x="7080" y="6305"/>
                    <a:pt x="7513" y="6609"/>
                  </a:cubicBezTo>
                  <a:cubicBezTo>
                    <a:pt x="7971" y="6913"/>
                    <a:pt x="8476" y="7145"/>
                    <a:pt x="9030" y="7306"/>
                  </a:cubicBezTo>
                  <a:cubicBezTo>
                    <a:pt x="9584" y="7466"/>
                    <a:pt x="10174" y="7546"/>
                    <a:pt x="10800" y="7546"/>
                  </a:cubicBezTo>
                  <a:cubicBezTo>
                    <a:pt x="11426" y="7546"/>
                    <a:pt x="12016" y="7466"/>
                    <a:pt x="12570" y="7306"/>
                  </a:cubicBezTo>
                  <a:cubicBezTo>
                    <a:pt x="13124" y="7145"/>
                    <a:pt x="13629" y="6913"/>
                    <a:pt x="14087" y="6609"/>
                  </a:cubicBezTo>
                  <a:cubicBezTo>
                    <a:pt x="14520" y="6305"/>
                    <a:pt x="14852" y="5955"/>
                    <a:pt x="15080" y="5558"/>
                  </a:cubicBezTo>
                  <a:cubicBezTo>
                    <a:pt x="15309" y="5162"/>
                    <a:pt x="15423" y="4744"/>
                    <a:pt x="15423" y="4305"/>
                  </a:cubicBezTo>
                  <a:cubicBezTo>
                    <a:pt x="15423" y="3883"/>
                    <a:pt x="15309" y="3473"/>
                    <a:pt x="15080" y="3077"/>
                  </a:cubicBezTo>
                  <a:cubicBezTo>
                    <a:pt x="14852" y="2680"/>
                    <a:pt x="14520" y="2330"/>
                    <a:pt x="14087" y="2026"/>
                  </a:cubicBezTo>
                  <a:cubicBezTo>
                    <a:pt x="13629" y="1722"/>
                    <a:pt x="13124" y="1486"/>
                    <a:pt x="12570" y="1317"/>
                  </a:cubicBezTo>
                  <a:cubicBezTo>
                    <a:pt x="12016" y="1148"/>
                    <a:pt x="11426" y="1064"/>
                    <a:pt x="10800" y="1064"/>
                  </a:cubicBezTo>
                  <a:cubicBezTo>
                    <a:pt x="10174" y="1064"/>
                    <a:pt x="9584" y="1148"/>
                    <a:pt x="9030" y="1317"/>
                  </a:cubicBezTo>
                  <a:cubicBezTo>
                    <a:pt x="8476" y="1486"/>
                    <a:pt x="7971" y="1722"/>
                    <a:pt x="7513" y="2026"/>
                  </a:cubicBezTo>
                  <a:lnTo>
                    <a:pt x="7513" y="2026"/>
                  </a:lnTo>
                  <a:lnTo>
                    <a:pt x="7513" y="2026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miter lim="400000"/>
            </a:ln>
          </p:spPr>
          <p:txBody>
            <a:bodyPr lIns="27428" tIns="27428" rIns="27428" bIns="27428" anchor="ctr"/>
            <a:lstStyle/>
            <a:p>
              <a:pPr marL="0" marR="0" lvl="0" indent="0" algn="l" defTabSz="3291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b="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1296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sym typeface="Gill Sans"/>
              </a:endParaRPr>
            </a:p>
          </p:txBody>
        </p:sp>
        <p:sp>
          <p:nvSpPr>
            <p:cNvPr id="1215" name="CaixaDeTexto 1214">
              <a:extLst>
                <a:ext uri="{FF2B5EF4-FFF2-40B4-BE49-F238E27FC236}">
                  <a16:creationId xmlns:a16="http://schemas.microsoft.com/office/drawing/2014/main" id="{C2646232-FB01-27D0-9E00-075B92D59113}"/>
                </a:ext>
              </a:extLst>
            </p:cNvPr>
            <p:cNvSpPr txBox="1"/>
            <p:nvPr/>
          </p:nvSpPr>
          <p:spPr>
            <a:xfrm>
              <a:off x="777761" y="2766677"/>
              <a:ext cx="848111" cy="2308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3165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PF</a:t>
              </a:r>
            </a:p>
          </p:txBody>
        </p:sp>
      </p:grpSp>
      <p:cxnSp>
        <p:nvCxnSpPr>
          <p:cNvPr id="1223" name="Conector: Angulado 1222">
            <a:extLst>
              <a:ext uri="{FF2B5EF4-FFF2-40B4-BE49-F238E27FC236}">
                <a16:creationId xmlns:a16="http://schemas.microsoft.com/office/drawing/2014/main" id="{17B8E941-6164-C4CB-AF51-95E81D3314B8}"/>
              </a:ext>
            </a:extLst>
          </p:cNvPr>
          <p:cNvCxnSpPr>
            <a:cxnSpLocks/>
            <a:stCxn id="1213" idx="0"/>
          </p:cNvCxnSpPr>
          <p:nvPr/>
        </p:nvCxnSpPr>
        <p:spPr>
          <a:xfrm flipV="1">
            <a:off x="1186337" y="3247472"/>
            <a:ext cx="685495" cy="260132"/>
          </a:xfrm>
          <a:prstGeom prst="bentConnector3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5" name="Conector: Angulado 1224">
            <a:extLst>
              <a:ext uri="{FF2B5EF4-FFF2-40B4-BE49-F238E27FC236}">
                <a16:creationId xmlns:a16="http://schemas.microsoft.com/office/drawing/2014/main" id="{3D53B442-5D15-3D15-B331-213855870319}"/>
              </a:ext>
            </a:extLst>
          </p:cNvPr>
          <p:cNvCxnSpPr>
            <a:cxnSpLocks/>
          </p:cNvCxnSpPr>
          <p:nvPr/>
        </p:nvCxnSpPr>
        <p:spPr>
          <a:xfrm>
            <a:off x="1186337" y="3507784"/>
            <a:ext cx="685495" cy="361131"/>
          </a:xfrm>
          <a:prstGeom prst="bentConnector3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9" name="Conector: Angulado 1238">
            <a:extLst>
              <a:ext uri="{FF2B5EF4-FFF2-40B4-BE49-F238E27FC236}">
                <a16:creationId xmlns:a16="http://schemas.microsoft.com/office/drawing/2014/main" id="{A4E8CBEF-B8A7-0688-3F68-D876D05BE2B2}"/>
              </a:ext>
            </a:extLst>
          </p:cNvPr>
          <p:cNvCxnSpPr>
            <a:cxnSpLocks/>
          </p:cNvCxnSpPr>
          <p:nvPr/>
        </p:nvCxnSpPr>
        <p:spPr>
          <a:xfrm>
            <a:off x="1186337" y="2560348"/>
            <a:ext cx="342747" cy="694144"/>
          </a:xfrm>
          <a:prstGeom prst="bentConnector2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0" name="Conector: Angulado 1239">
            <a:extLst>
              <a:ext uri="{FF2B5EF4-FFF2-40B4-BE49-F238E27FC236}">
                <a16:creationId xmlns:a16="http://schemas.microsoft.com/office/drawing/2014/main" id="{FC633559-72B3-AA26-F929-F4C7F28A860C}"/>
              </a:ext>
            </a:extLst>
          </p:cNvPr>
          <p:cNvCxnSpPr>
            <a:cxnSpLocks/>
          </p:cNvCxnSpPr>
          <p:nvPr/>
        </p:nvCxnSpPr>
        <p:spPr>
          <a:xfrm>
            <a:off x="1186338" y="2560347"/>
            <a:ext cx="799205" cy="106724"/>
          </a:xfrm>
          <a:prstGeom prst="bentConnector3">
            <a:avLst>
              <a:gd name="adj1" fmla="val 42959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4" name="Conector: Angulado 1243">
            <a:extLst>
              <a:ext uri="{FF2B5EF4-FFF2-40B4-BE49-F238E27FC236}">
                <a16:creationId xmlns:a16="http://schemas.microsoft.com/office/drawing/2014/main" id="{07D2C0FE-36F1-F05D-9F30-67B8D6E8FDF6}"/>
              </a:ext>
            </a:extLst>
          </p:cNvPr>
          <p:cNvCxnSpPr>
            <a:cxnSpLocks/>
            <a:stCxn id="1212" idx="0"/>
          </p:cNvCxnSpPr>
          <p:nvPr/>
        </p:nvCxnSpPr>
        <p:spPr>
          <a:xfrm flipV="1">
            <a:off x="1186338" y="1989423"/>
            <a:ext cx="799205" cy="570745"/>
          </a:xfrm>
          <a:prstGeom prst="bentConnector3">
            <a:avLst>
              <a:gd name="adj1" fmla="val 42959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0" name="Forma">
            <a:extLst>
              <a:ext uri="{FF2B5EF4-FFF2-40B4-BE49-F238E27FC236}">
                <a16:creationId xmlns:a16="http://schemas.microsoft.com/office/drawing/2014/main" id="{18D40E41-F3A0-874F-0F99-543C6A3886B1}"/>
              </a:ext>
            </a:extLst>
          </p:cNvPr>
          <p:cNvSpPr>
            <a:spLocks noChangeAspect="1"/>
          </p:cNvSpPr>
          <p:nvPr/>
        </p:nvSpPr>
        <p:spPr>
          <a:xfrm>
            <a:off x="2779192" y="2222143"/>
            <a:ext cx="172700" cy="216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1089"/>
                </a:moveTo>
                <a:cubicBezTo>
                  <a:pt x="0" y="785"/>
                  <a:pt x="132" y="528"/>
                  <a:pt x="396" y="317"/>
                </a:cubicBezTo>
                <a:cubicBezTo>
                  <a:pt x="660" y="106"/>
                  <a:pt x="971" y="0"/>
                  <a:pt x="1330" y="0"/>
                </a:cubicBezTo>
                <a:lnTo>
                  <a:pt x="20270" y="0"/>
                </a:lnTo>
                <a:cubicBezTo>
                  <a:pt x="20629" y="0"/>
                  <a:pt x="20940" y="106"/>
                  <a:pt x="21204" y="317"/>
                </a:cubicBezTo>
                <a:cubicBezTo>
                  <a:pt x="21468" y="528"/>
                  <a:pt x="21600" y="785"/>
                  <a:pt x="21600" y="1089"/>
                </a:cubicBezTo>
                <a:lnTo>
                  <a:pt x="21600" y="20536"/>
                </a:lnTo>
                <a:cubicBezTo>
                  <a:pt x="21600" y="20824"/>
                  <a:pt x="21468" y="21073"/>
                  <a:pt x="21204" y="21283"/>
                </a:cubicBezTo>
                <a:cubicBezTo>
                  <a:pt x="20940" y="21495"/>
                  <a:pt x="20629" y="21600"/>
                  <a:pt x="20270" y="21600"/>
                </a:cubicBezTo>
                <a:lnTo>
                  <a:pt x="1330" y="21600"/>
                </a:lnTo>
                <a:cubicBezTo>
                  <a:pt x="971" y="21600"/>
                  <a:pt x="660" y="21495"/>
                  <a:pt x="396" y="21283"/>
                </a:cubicBezTo>
                <a:cubicBezTo>
                  <a:pt x="132" y="21073"/>
                  <a:pt x="0" y="20824"/>
                  <a:pt x="0" y="20536"/>
                </a:cubicBezTo>
                <a:lnTo>
                  <a:pt x="0" y="1089"/>
                </a:lnTo>
                <a:lnTo>
                  <a:pt x="0" y="1089"/>
                </a:lnTo>
                <a:lnTo>
                  <a:pt x="0" y="1089"/>
                </a:lnTo>
                <a:close/>
                <a:moveTo>
                  <a:pt x="20270" y="1089"/>
                </a:moveTo>
                <a:lnTo>
                  <a:pt x="1330" y="1089"/>
                </a:lnTo>
                <a:lnTo>
                  <a:pt x="1330" y="20536"/>
                </a:lnTo>
                <a:lnTo>
                  <a:pt x="20270" y="20536"/>
                </a:lnTo>
                <a:lnTo>
                  <a:pt x="20270" y="1089"/>
                </a:lnTo>
                <a:lnTo>
                  <a:pt x="20270" y="1089"/>
                </a:lnTo>
                <a:close/>
                <a:moveTo>
                  <a:pt x="17356" y="17447"/>
                </a:moveTo>
                <a:cubicBezTo>
                  <a:pt x="17229" y="17346"/>
                  <a:pt x="17071" y="17295"/>
                  <a:pt x="16881" y="17295"/>
                </a:cubicBezTo>
                <a:lnTo>
                  <a:pt x="10135" y="17295"/>
                </a:lnTo>
                <a:cubicBezTo>
                  <a:pt x="9945" y="17295"/>
                  <a:pt x="9781" y="17346"/>
                  <a:pt x="9644" y="17447"/>
                </a:cubicBezTo>
                <a:cubicBezTo>
                  <a:pt x="9506" y="17548"/>
                  <a:pt x="9438" y="17675"/>
                  <a:pt x="9438" y="17827"/>
                </a:cubicBezTo>
                <a:cubicBezTo>
                  <a:pt x="9438" y="17979"/>
                  <a:pt x="9506" y="18106"/>
                  <a:pt x="9644" y="18207"/>
                </a:cubicBezTo>
                <a:cubicBezTo>
                  <a:pt x="9781" y="18308"/>
                  <a:pt x="9945" y="18359"/>
                  <a:pt x="10135" y="18359"/>
                </a:cubicBezTo>
                <a:lnTo>
                  <a:pt x="16881" y="18359"/>
                </a:lnTo>
                <a:cubicBezTo>
                  <a:pt x="17071" y="18359"/>
                  <a:pt x="17229" y="18308"/>
                  <a:pt x="17356" y="18207"/>
                </a:cubicBezTo>
                <a:cubicBezTo>
                  <a:pt x="17483" y="18106"/>
                  <a:pt x="17546" y="17979"/>
                  <a:pt x="17546" y="17827"/>
                </a:cubicBezTo>
                <a:lnTo>
                  <a:pt x="17546" y="17827"/>
                </a:lnTo>
                <a:lnTo>
                  <a:pt x="17546" y="17827"/>
                </a:lnTo>
                <a:cubicBezTo>
                  <a:pt x="17546" y="17675"/>
                  <a:pt x="17483" y="17548"/>
                  <a:pt x="17356" y="17447"/>
                </a:cubicBezTo>
                <a:lnTo>
                  <a:pt x="17356" y="17447"/>
                </a:lnTo>
                <a:close/>
                <a:moveTo>
                  <a:pt x="17356" y="14206"/>
                </a:moveTo>
                <a:cubicBezTo>
                  <a:pt x="17229" y="14105"/>
                  <a:pt x="17071" y="14054"/>
                  <a:pt x="16881" y="14054"/>
                </a:cubicBezTo>
                <a:lnTo>
                  <a:pt x="4719" y="14054"/>
                </a:lnTo>
                <a:cubicBezTo>
                  <a:pt x="4529" y="14054"/>
                  <a:pt x="4371" y="14105"/>
                  <a:pt x="4244" y="14206"/>
                </a:cubicBezTo>
                <a:cubicBezTo>
                  <a:pt x="4117" y="14307"/>
                  <a:pt x="4054" y="14434"/>
                  <a:pt x="4054" y="14586"/>
                </a:cubicBezTo>
                <a:cubicBezTo>
                  <a:pt x="4054" y="14738"/>
                  <a:pt x="4117" y="14864"/>
                  <a:pt x="4244" y="14966"/>
                </a:cubicBezTo>
                <a:cubicBezTo>
                  <a:pt x="4371" y="15067"/>
                  <a:pt x="4529" y="15117"/>
                  <a:pt x="4719" y="15117"/>
                </a:cubicBezTo>
                <a:lnTo>
                  <a:pt x="16881" y="15117"/>
                </a:lnTo>
                <a:cubicBezTo>
                  <a:pt x="17071" y="15117"/>
                  <a:pt x="17229" y="15067"/>
                  <a:pt x="17356" y="14966"/>
                </a:cubicBezTo>
                <a:cubicBezTo>
                  <a:pt x="17483" y="14864"/>
                  <a:pt x="17546" y="14738"/>
                  <a:pt x="17546" y="14586"/>
                </a:cubicBezTo>
                <a:lnTo>
                  <a:pt x="17546" y="14586"/>
                </a:lnTo>
                <a:lnTo>
                  <a:pt x="17546" y="14586"/>
                </a:lnTo>
                <a:cubicBezTo>
                  <a:pt x="17546" y="14434"/>
                  <a:pt x="17483" y="14307"/>
                  <a:pt x="17356" y="14206"/>
                </a:cubicBezTo>
                <a:lnTo>
                  <a:pt x="17356" y="14206"/>
                </a:lnTo>
                <a:close/>
                <a:moveTo>
                  <a:pt x="17546" y="11344"/>
                </a:moveTo>
                <a:cubicBezTo>
                  <a:pt x="17546" y="11192"/>
                  <a:pt x="17483" y="11066"/>
                  <a:pt x="17356" y="10965"/>
                </a:cubicBezTo>
                <a:cubicBezTo>
                  <a:pt x="17229" y="10863"/>
                  <a:pt x="17071" y="10813"/>
                  <a:pt x="16881" y="10813"/>
                </a:cubicBezTo>
                <a:lnTo>
                  <a:pt x="4719" y="10813"/>
                </a:lnTo>
                <a:cubicBezTo>
                  <a:pt x="4529" y="10813"/>
                  <a:pt x="4371" y="10863"/>
                  <a:pt x="4244" y="10965"/>
                </a:cubicBezTo>
                <a:cubicBezTo>
                  <a:pt x="4117" y="11066"/>
                  <a:pt x="4054" y="11192"/>
                  <a:pt x="4054" y="11344"/>
                </a:cubicBezTo>
                <a:cubicBezTo>
                  <a:pt x="4054" y="11496"/>
                  <a:pt x="4117" y="11623"/>
                  <a:pt x="4244" y="11724"/>
                </a:cubicBezTo>
                <a:cubicBezTo>
                  <a:pt x="4371" y="11826"/>
                  <a:pt x="4529" y="11876"/>
                  <a:pt x="4719" y="11876"/>
                </a:cubicBezTo>
                <a:lnTo>
                  <a:pt x="16881" y="11876"/>
                </a:lnTo>
                <a:cubicBezTo>
                  <a:pt x="17071" y="11876"/>
                  <a:pt x="17229" y="11826"/>
                  <a:pt x="17356" y="11724"/>
                </a:cubicBezTo>
                <a:cubicBezTo>
                  <a:pt x="17483" y="11623"/>
                  <a:pt x="17546" y="11496"/>
                  <a:pt x="17546" y="11344"/>
                </a:cubicBezTo>
                <a:lnTo>
                  <a:pt x="17546" y="11344"/>
                </a:lnTo>
                <a:lnTo>
                  <a:pt x="17546" y="11344"/>
                </a:lnTo>
                <a:lnTo>
                  <a:pt x="17546" y="11344"/>
                </a:lnTo>
                <a:lnTo>
                  <a:pt x="17546" y="11344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>
            <a:miter lim="400000"/>
          </a:ln>
        </p:spPr>
        <p:txBody>
          <a:bodyPr lIns="27428" tIns="27428" rIns="27428" bIns="27428" anchor="ctr"/>
          <a:lstStyle/>
          <a:p>
            <a:pPr marL="0" marR="0" lvl="0" indent="0" algn="l" defTabSz="3291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lang="pt-BR" sz="129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251" name="Forma">
            <a:extLst>
              <a:ext uri="{FF2B5EF4-FFF2-40B4-BE49-F238E27FC236}">
                <a16:creationId xmlns:a16="http://schemas.microsoft.com/office/drawing/2014/main" id="{AE584793-6688-F8A4-5A60-C42AF8C82E25}"/>
              </a:ext>
            </a:extLst>
          </p:cNvPr>
          <p:cNvSpPr>
            <a:spLocks noChangeAspect="1"/>
          </p:cNvSpPr>
          <p:nvPr/>
        </p:nvSpPr>
        <p:spPr>
          <a:xfrm>
            <a:off x="2896202" y="2165693"/>
            <a:ext cx="180055" cy="180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9" h="21600" extrusionOk="0">
                <a:moveTo>
                  <a:pt x="21260" y="2520"/>
                </a:moveTo>
                <a:cubicBezTo>
                  <a:pt x="21041" y="2106"/>
                  <a:pt x="20720" y="1688"/>
                  <a:pt x="20299" y="1266"/>
                </a:cubicBezTo>
                <a:cubicBezTo>
                  <a:pt x="19877" y="844"/>
                  <a:pt x="19459" y="528"/>
                  <a:pt x="19046" y="317"/>
                </a:cubicBezTo>
                <a:cubicBezTo>
                  <a:pt x="18633" y="106"/>
                  <a:pt x="18224" y="0"/>
                  <a:pt x="17819" y="0"/>
                </a:cubicBezTo>
                <a:cubicBezTo>
                  <a:pt x="17448" y="0"/>
                  <a:pt x="17148" y="68"/>
                  <a:pt x="16921" y="203"/>
                </a:cubicBezTo>
                <a:cubicBezTo>
                  <a:pt x="16693" y="338"/>
                  <a:pt x="16554" y="439"/>
                  <a:pt x="16503" y="506"/>
                </a:cubicBezTo>
                <a:lnTo>
                  <a:pt x="15618" y="1367"/>
                </a:lnTo>
                <a:cubicBezTo>
                  <a:pt x="16124" y="1401"/>
                  <a:pt x="16621" y="1545"/>
                  <a:pt x="17110" y="1798"/>
                </a:cubicBezTo>
                <a:cubicBezTo>
                  <a:pt x="17600" y="2051"/>
                  <a:pt x="18080" y="2406"/>
                  <a:pt x="18553" y="2861"/>
                </a:cubicBezTo>
                <a:cubicBezTo>
                  <a:pt x="18553" y="2878"/>
                  <a:pt x="18561" y="2895"/>
                  <a:pt x="18578" y="2912"/>
                </a:cubicBezTo>
                <a:cubicBezTo>
                  <a:pt x="18595" y="2929"/>
                  <a:pt x="18612" y="2937"/>
                  <a:pt x="18629" y="2937"/>
                </a:cubicBezTo>
                <a:cubicBezTo>
                  <a:pt x="18645" y="2954"/>
                  <a:pt x="18658" y="2971"/>
                  <a:pt x="18667" y="2988"/>
                </a:cubicBezTo>
                <a:cubicBezTo>
                  <a:pt x="18675" y="3005"/>
                  <a:pt x="18688" y="3022"/>
                  <a:pt x="18705" y="3039"/>
                </a:cubicBezTo>
                <a:cubicBezTo>
                  <a:pt x="19177" y="3511"/>
                  <a:pt x="19535" y="3992"/>
                  <a:pt x="19780" y="4482"/>
                </a:cubicBezTo>
                <a:cubicBezTo>
                  <a:pt x="20024" y="4972"/>
                  <a:pt x="20163" y="5461"/>
                  <a:pt x="20197" y="5951"/>
                </a:cubicBezTo>
                <a:lnTo>
                  <a:pt x="21083" y="5090"/>
                </a:lnTo>
                <a:cubicBezTo>
                  <a:pt x="21134" y="5023"/>
                  <a:pt x="21230" y="4879"/>
                  <a:pt x="21374" y="4659"/>
                </a:cubicBezTo>
                <a:cubicBezTo>
                  <a:pt x="21517" y="4440"/>
                  <a:pt x="21589" y="4136"/>
                  <a:pt x="21589" y="3748"/>
                </a:cubicBezTo>
                <a:cubicBezTo>
                  <a:pt x="21589" y="3343"/>
                  <a:pt x="21479" y="2933"/>
                  <a:pt x="21260" y="2520"/>
                </a:cubicBezTo>
                <a:lnTo>
                  <a:pt x="21260" y="2520"/>
                </a:lnTo>
                <a:close/>
                <a:moveTo>
                  <a:pt x="17870" y="3722"/>
                </a:moveTo>
                <a:cubicBezTo>
                  <a:pt x="17448" y="3301"/>
                  <a:pt x="17030" y="2980"/>
                  <a:pt x="16617" y="2760"/>
                </a:cubicBezTo>
                <a:cubicBezTo>
                  <a:pt x="16204" y="2541"/>
                  <a:pt x="15795" y="2431"/>
                  <a:pt x="15390" y="2431"/>
                </a:cubicBezTo>
                <a:cubicBezTo>
                  <a:pt x="15002" y="2431"/>
                  <a:pt x="14698" y="2503"/>
                  <a:pt x="14479" y="2646"/>
                </a:cubicBezTo>
                <a:cubicBezTo>
                  <a:pt x="14260" y="2790"/>
                  <a:pt x="14116" y="2887"/>
                  <a:pt x="14049" y="2937"/>
                </a:cubicBezTo>
                <a:lnTo>
                  <a:pt x="2612" y="14408"/>
                </a:lnTo>
                <a:lnTo>
                  <a:pt x="2587" y="14408"/>
                </a:lnTo>
                <a:lnTo>
                  <a:pt x="2587" y="14434"/>
                </a:lnTo>
                <a:lnTo>
                  <a:pt x="2562" y="14434"/>
                </a:lnTo>
                <a:lnTo>
                  <a:pt x="2562" y="14459"/>
                </a:lnTo>
                <a:lnTo>
                  <a:pt x="2536" y="14459"/>
                </a:lnTo>
                <a:lnTo>
                  <a:pt x="2536" y="14484"/>
                </a:lnTo>
                <a:lnTo>
                  <a:pt x="2511" y="14510"/>
                </a:lnTo>
                <a:lnTo>
                  <a:pt x="2486" y="14535"/>
                </a:lnTo>
                <a:cubicBezTo>
                  <a:pt x="2486" y="14552"/>
                  <a:pt x="2477" y="14560"/>
                  <a:pt x="2460" y="14560"/>
                </a:cubicBezTo>
                <a:lnTo>
                  <a:pt x="2460" y="14586"/>
                </a:lnTo>
                <a:lnTo>
                  <a:pt x="2435" y="14611"/>
                </a:lnTo>
                <a:lnTo>
                  <a:pt x="2435" y="14636"/>
                </a:lnTo>
                <a:cubicBezTo>
                  <a:pt x="2418" y="14636"/>
                  <a:pt x="2410" y="14645"/>
                  <a:pt x="2410" y="14662"/>
                </a:cubicBezTo>
                <a:lnTo>
                  <a:pt x="2410" y="14687"/>
                </a:lnTo>
                <a:lnTo>
                  <a:pt x="2384" y="14687"/>
                </a:lnTo>
                <a:lnTo>
                  <a:pt x="2384" y="14712"/>
                </a:lnTo>
                <a:lnTo>
                  <a:pt x="2384" y="14738"/>
                </a:lnTo>
                <a:lnTo>
                  <a:pt x="2359" y="14738"/>
                </a:lnTo>
                <a:lnTo>
                  <a:pt x="82" y="20081"/>
                </a:lnTo>
                <a:cubicBezTo>
                  <a:pt x="82" y="20098"/>
                  <a:pt x="78" y="20110"/>
                  <a:pt x="69" y="20119"/>
                </a:cubicBezTo>
                <a:cubicBezTo>
                  <a:pt x="61" y="20127"/>
                  <a:pt x="57" y="20140"/>
                  <a:pt x="57" y="20157"/>
                </a:cubicBezTo>
                <a:cubicBezTo>
                  <a:pt x="6" y="20309"/>
                  <a:pt x="-11" y="20465"/>
                  <a:pt x="6" y="20625"/>
                </a:cubicBezTo>
                <a:cubicBezTo>
                  <a:pt x="23" y="20786"/>
                  <a:pt x="73" y="20933"/>
                  <a:pt x="158" y="21068"/>
                </a:cubicBezTo>
                <a:lnTo>
                  <a:pt x="158" y="21094"/>
                </a:lnTo>
                <a:lnTo>
                  <a:pt x="183" y="21119"/>
                </a:lnTo>
                <a:lnTo>
                  <a:pt x="183" y="21144"/>
                </a:lnTo>
                <a:cubicBezTo>
                  <a:pt x="200" y="21144"/>
                  <a:pt x="217" y="21161"/>
                  <a:pt x="234" y="21195"/>
                </a:cubicBezTo>
                <a:cubicBezTo>
                  <a:pt x="234" y="21212"/>
                  <a:pt x="238" y="21220"/>
                  <a:pt x="246" y="21220"/>
                </a:cubicBezTo>
                <a:cubicBezTo>
                  <a:pt x="255" y="21220"/>
                  <a:pt x="259" y="21229"/>
                  <a:pt x="259" y="21245"/>
                </a:cubicBezTo>
                <a:cubicBezTo>
                  <a:pt x="276" y="21245"/>
                  <a:pt x="293" y="21254"/>
                  <a:pt x="310" y="21271"/>
                </a:cubicBezTo>
                <a:cubicBezTo>
                  <a:pt x="394" y="21372"/>
                  <a:pt x="495" y="21448"/>
                  <a:pt x="613" y="21499"/>
                </a:cubicBezTo>
                <a:cubicBezTo>
                  <a:pt x="731" y="21549"/>
                  <a:pt x="849" y="21583"/>
                  <a:pt x="967" y="21600"/>
                </a:cubicBezTo>
                <a:cubicBezTo>
                  <a:pt x="984" y="21600"/>
                  <a:pt x="1001" y="21600"/>
                  <a:pt x="1018" y="21600"/>
                </a:cubicBezTo>
                <a:cubicBezTo>
                  <a:pt x="1035" y="21600"/>
                  <a:pt x="1052" y="21600"/>
                  <a:pt x="1069" y="21600"/>
                </a:cubicBezTo>
                <a:cubicBezTo>
                  <a:pt x="1136" y="21600"/>
                  <a:pt x="1208" y="21592"/>
                  <a:pt x="1284" y="21575"/>
                </a:cubicBezTo>
                <a:cubicBezTo>
                  <a:pt x="1360" y="21558"/>
                  <a:pt x="1431" y="21533"/>
                  <a:pt x="1499" y="21499"/>
                </a:cubicBezTo>
                <a:lnTo>
                  <a:pt x="6838" y="19220"/>
                </a:lnTo>
                <a:lnTo>
                  <a:pt x="6863" y="19220"/>
                </a:lnTo>
                <a:cubicBezTo>
                  <a:pt x="6863" y="19203"/>
                  <a:pt x="6871" y="19194"/>
                  <a:pt x="6888" y="19194"/>
                </a:cubicBezTo>
                <a:lnTo>
                  <a:pt x="6914" y="19194"/>
                </a:lnTo>
                <a:lnTo>
                  <a:pt x="6914" y="19169"/>
                </a:lnTo>
                <a:lnTo>
                  <a:pt x="6939" y="19169"/>
                </a:lnTo>
                <a:cubicBezTo>
                  <a:pt x="6955" y="19169"/>
                  <a:pt x="6964" y="19161"/>
                  <a:pt x="6964" y="19144"/>
                </a:cubicBezTo>
                <a:lnTo>
                  <a:pt x="6989" y="19144"/>
                </a:lnTo>
                <a:cubicBezTo>
                  <a:pt x="6989" y="19127"/>
                  <a:pt x="6998" y="19118"/>
                  <a:pt x="7015" y="19118"/>
                </a:cubicBezTo>
                <a:cubicBezTo>
                  <a:pt x="7031" y="19118"/>
                  <a:pt x="7040" y="19110"/>
                  <a:pt x="7040" y="19093"/>
                </a:cubicBezTo>
                <a:lnTo>
                  <a:pt x="7065" y="19093"/>
                </a:lnTo>
                <a:lnTo>
                  <a:pt x="7065" y="19068"/>
                </a:lnTo>
                <a:lnTo>
                  <a:pt x="7091" y="19068"/>
                </a:lnTo>
                <a:lnTo>
                  <a:pt x="7116" y="19042"/>
                </a:lnTo>
                <a:lnTo>
                  <a:pt x="7141" y="19017"/>
                </a:lnTo>
                <a:lnTo>
                  <a:pt x="7167" y="19017"/>
                </a:lnTo>
                <a:lnTo>
                  <a:pt x="7167" y="18992"/>
                </a:lnTo>
                <a:lnTo>
                  <a:pt x="18629" y="7521"/>
                </a:lnTo>
                <a:cubicBezTo>
                  <a:pt x="18679" y="7470"/>
                  <a:pt x="18776" y="7331"/>
                  <a:pt x="18920" y="7103"/>
                </a:cubicBezTo>
                <a:cubicBezTo>
                  <a:pt x="19063" y="6875"/>
                  <a:pt x="19135" y="6575"/>
                  <a:pt x="19135" y="6204"/>
                </a:cubicBezTo>
                <a:cubicBezTo>
                  <a:pt x="19135" y="5799"/>
                  <a:pt x="19029" y="5390"/>
                  <a:pt x="18818" y="4976"/>
                </a:cubicBezTo>
                <a:cubicBezTo>
                  <a:pt x="18607" y="4562"/>
                  <a:pt x="18291" y="4144"/>
                  <a:pt x="17870" y="3722"/>
                </a:cubicBez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close/>
                <a:moveTo>
                  <a:pt x="5648" y="15928"/>
                </a:moveTo>
                <a:cubicBezTo>
                  <a:pt x="6408" y="16704"/>
                  <a:pt x="6661" y="17472"/>
                  <a:pt x="6408" y="18232"/>
                </a:cubicBezTo>
                <a:lnTo>
                  <a:pt x="1069" y="20511"/>
                </a:lnTo>
                <a:lnTo>
                  <a:pt x="3042" y="15928"/>
                </a:lnTo>
                <a:lnTo>
                  <a:pt x="3371" y="15168"/>
                </a:lnTo>
                <a:cubicBezTo>
                  <a:pt x="3557" y="15050"/>
                  <a:pt x="3742" y="14991"/>
                  <a:pt x="3928" y="14991"/>
                </a:cubicBezTo>
                <a:cubicBezTo>
                  <a:pt x="4113" y="14991"/>
                  <a:pt x="4349" y="15054"/>
                  <a:pt x="4636" y="15181"/>
                </a:cubicBezTo>
                <a:cubicBezTo>
                  <a:pt x="4923" y="15307"/>
                  <a:pt x="5260" y="15557"/>
                  <a:pt x="5648" y="15928"/>
                </a:cubicBezTo>
                <a:lnTo>
                  <a:pt x="5648" y="15928"/>
                </a:lnTo>
                <a:lnTo>
                  <a:pt x="5648" y="15928"/>
                </a:lnTo>
                <a:lnTo>
                  <a:pt x="5648" y="15928"/>
                </a:lnTo>
                <a:lnTo>
                  <a:pt x="5648" y="15928"/>
                </a:lnTo>
                <a:lnTo>
                  <a:pt x="5648" y="15928"/>
                </a:lnTo>
                <a:close/>
                <a:moveTo>
                  <a:pt x="17110" y="4482"/>
                </a:moveTo>
                <a:cubicBezTo>
                  <a:pt x="17870" y="5242"/>
                  <a:pt x="18123" y="6001"/>
                  <a:pt x="17870" y="6761"/>
                </a:cubicBezTo>
                <a:lnTo>
                  <a:pt x="7597" y="17042"/>
                </a:lnTo>
                <a:cubicBezTo>
                  <a:pt x="7512" y="16738"/>
                  <a:pt x="7373" y="16430"/>
                  <a:pt x="7179" y="16118"/>
                </a:cubicBezTo>
                <a:cubicBezTo>
                  <a:pt x="6985" y="15805"/>
                  <a:pt x="6728" y="15489"/>
                  <a:pt x="6408" y="15168"/>
                </a:cubicBezTo>
                <a:cubicBezTo>
                  <a:pt x="6104" y="14848"/>
                  <a:pt x="5796" y="14590"/>
                  <a:pt x="5484" y="14396"/>
                </a:cubicBezTo>
                <a:cubicBezTo>
                  <a:pt x="5172" y="14202"/>
                  <a:pt x="4855" y="14063"/>
                  <a:pt x="4535" y="13978"/>
                </a:cubicBezTo>
                <a:lnTo>
                  <a:pt x="14808" y="3722"/>
                </a:lnTo>
                <a:cubicBezTo>
                  <a:pt x="14993" y="3587"/>
                  <a:pt x="15187" y="3520"/>
                  <a:pt x="15390" y="3520"/>
                </a:cubicBezTo>
                <a:cubicBezTo>
                  <a:pt x="15575" y="3520"/>
                  <a:pt x="15811" y="3583"/>
                  <a:pt x="16098" y="3710"/>
                </a:cubicBezTo>
                <a:cubicBezTo>
                  <a:pt x="16385" y="3836"/>
                  <a:pt x="16722" y="4094"/>
                  <a:pt x="17110" y="4482"/>
                </a:cubicBezTo>
                <a:lnTo>
                  <a:pt x="17110" y="4482"/>
                </a:lnTo>
                <a:lnTo>
                  <a:pt x="17110" y="4482"/>
                </a:lnTo>
                <a:lnTo>
                  <a:pt x="17110" y="4482"/>
                </a:lnTo>
                <a:lnTo>
                  <a:pt x="17110" y="4482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>
            <a:miter lim="400000"/>
          </a:ln>
        </p:spPr>
        <p:txBody>
          <a:bodyPr lIns="27428" tIns="27428" rIns="27428" bIns="27428" anchor="ctr"/>
          <a:lstStyle/>
          <a:p>
            <a:pPr marL="0" marR="0" lvl="0" indent="0" algn="l" defTabSz="3291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lang="pt-BR" sz="129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grpSp>
        <p:nvGrpSpPr>
          <p:cNvPr id="1257" name="Agrupar 1256">
            <a:extLst>
              <a:ext uri="{FF2B5EF4-FFF2-40B4-BE49-F238E27FC236}">
                <a16:creationId xmlns:a16="http://schemas.microsoft.com/office/drawing/2014/main" id="{C1137554-16CE-43DE-5584-50787C9C9E24}"/>
              </a:ext>
            </a:extLst>
          </p:cNvPr>
          <p:cNvGrpSpPr>
            <a:grpSpLocks noChangeAspect="1"/>
          </p:cNvGrpSpPr>
          <p:nvPr/>
        </p:nvGrpSpPr>
        <p:grpSpPr>
          <a:xfrm>
            <a:off x="3940150" y="1928633"/>
            <a:ext cx="331200" cy="216000"/>
            <a:chOff x="2098037" y="6751495"/>
            <a:chExt cx="438150" cy="285750"/>
          </a:xfrm>
        </p:grpSpPr>
        <p:sp>
          <p:nvSpPr>
            <p:cNvPr id="1258" name="Forma Livre: Forma 1257">
              <a:extLst>
                <a:ext uri="{FF2B5EF4-FFF2-40B4-BE49-F238E27FC236}">
                  <a16:creationId xmlns:a16="http://schemas.microsoft.com/office/drawing/2014/main" id="{150E3BEA-D990-444B-B819-E62B19D1F978}"/>
                </a:ext>
              </a:extLst>
            </p:cNvPr>
            <p:cNvSpPr/>
            <p:nvPr/>
          </p:nvSpPr>
          <p:spPr>
            <a:xfrm>
              <a:off x="2126612" y="6751495"/>
              <a:ext cx="257175" cy="228600"/>
            </a:xfrm>
            <a:custGeom>
              <a:avLst/>
              <a:gdLst>
                <a:gd name="connsiteX0" fmla="*/ 0 w 257175"/>
                <a:gd name="connsiteY0" fmla="*/ 104775 h 228600"/>
                <a:gd name="connsiteX1" fmla="*/ 0 w 257175"/>
                <a:gd name="connsiteY1" fmla="*/ 0 h 228600"/>
                <a:gd name="connsiteX2" fmla="*/ 257175 w 257175"/>
                <a:gd name="connsiteY2" fmla="*/ 0 h 228600"/>
                <a:gd name="connsiteX3" fmla="*/ 257175 w 257175"/>
                <a:gd name="connsiteY3" fmla="*/ 228600 h 228600"/>
                <a:gd name="connsiteX4" fmla="*/ 190500 w 257175"/>
                <a:gd name="connsiteY4" fmla="*/ 228600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7175" h="228600">
                  <a:moveTo>
                    <a:pt x="0" y="104775"/>
                  </a:moveTo>
                  <a:lnTo>
                    <a:pt x="0" y="0"/>
                  </a:lnTo>
                  <a:lnTo>
                    <a:pt x="257175" y="0"/>
                  </a:lnTo>
                  <a:lnTo>
                    <a:pt x="257175" y="228600"/>
                  </a:lnTo>
                  <a:lnTo>
                    <a:pt x="190500" y="228600"/>
                  </a:lnTo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9" name="Forma Livre: Forma 1258">
              <a:extLst>
                <a:ext uri="{FF2B5EF4-FFF2-40B4-BE49-F238E27FC236}">
                  <a16:creationId xmlns:a16="http://schemas.microsoft.com/office/drawing/2014/main" id="{CBC80D73-4993-189A-AFC5-9BF225C6C29C}"/>
                </a:ext>
              </a:extLst>
            </p:cNvPr>
            <p:cNvSpPr/>
            <p:nvPr/>
          </p:nvSpPr>
          <p:spPr>
            <a:xfrm>
              <a:off x="2098037" y="6875320"/>
              <a:ext cx="200025" cy="161925"/>
            </a:xfrm>
            <a:custGeom>
              <a:avLst/>
              <a:gdLst>
                <a:gd name="connsiteX0" fmla="*/ 0 w 200025"/>
                <a:gd name="connsiteY0" fmla="*/ 0 h 161925"/>
                <a:gd name="connsiteX1" fmla="*/ 200025 w 200025"/>
                <a:gd name="connsiteY1" fmla="*/ 0 h 161925"/>
                <a:gd name="connsiteX2" fmla="*/ 200025 w 200025"/>
                <a:gd name="connsiteY2" fmla="*/ 161925 h 161925"/>
                <a:gd name="connsiteX3" fmla="*/ 0 w 200025"/>
                <a:gd name="connsiteY3" fmla="*/ 161925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0025" h="161925">
                  <a:moveTo>
                    <a:pt x="0" y="0"/>
                  </a:moveTo>
                  <a:lnTo>
                    <a:pt x="200025" y="0"/>
                  </a:lnTo>
                  <a:lnTo>
                    <a:pt x="200025" y="161925"/>
                  </a:lnTo>
                  <a:lnTo>
                    <a:pt x="0" y="161925"/>
                  </a:lnTo>
                  <a:close/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0" name="Forma Livre: Forma 1259">
              <a:extLst>
                <a:ext uri="{FF2B5EF4-FFF2-40B4-BE49-F238E27FC236}">
                  <a16:creationId xmlns:a16="http://schemas.microsoft.com/office/drawing/2014/main" id="{6E113582-1ED4-A68D-9C77-677C185693C4}"/>
                </a:ext>
              </a:extLst>
            </p:cNvPr>
            <p:cNvSpPr/>
            <p:nvPr/>
          </p:nvSpPr>
          <p:spPr>
            <a:xfrm>
              <a:off x="2164712" y="6875320"/>
              <a:ext cx="66675" cy="38100"/>
            </a:xfrm>
            <a:custGeom>
              <a:avLst/>
              <a:gdLst>
                <a:gd name="connsiteX0" fmla="*/ 0 w 66675"/>
                <a:gd name="connsiteY0" fmla="*/ 0 h 38100"/>
                <a:gd name="connsiteX1" fmla="*/ 66675 w 66675"/>
                <a:gd name="connsiteY1" fmla="*/ 0 h 38100"/>
                <a:gd name="connsiteX2" fmla="*/ 66675 w 66675"/>
                <a:gd name="connsiteY2" fmla="*/ 38100 h 38100"/>
                <a:gd name="connsiteX3" fmla="*/ 0 w 66675"/>
                <a:gd name="connsiteY3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5" h="38100">
                  <a:moveTo>
                    <a:pt x="0" y="0"/>
                  </a:moveTo>
                  <a:lnTo>
                    <a:pt x="66675" y="0"/>
                  </a:lnTo>
                  <a:lnTo>
                    <a:pt x="66675" y="38100"/>
                  </a:lnTo>
                  <a:lnTo>
                    <a:pt x="0" y="38100"/>
                  </a:lnTo>
                  <a:close/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1" name="Forma Livre: Forma 1260">
              <a:extLst>
                <a:ext uri="{FF2B5EF4-FFF2-40B4-BE49-F238E27FC236}">
                  <a16:creationId xmlns:a16="http://schemas.microsoft.com/office/drawing/2014/main" id="{B45D35D5-E85A-5B3D-9BB0-96ABA53B3498}"/>
                </a:ext>
              </a:extLst>
            </p:cNvPr>
            <p:cNvSpPr/>
            <p:nvPr/>
          </p:nvSpPr>
          <p:spPr>
            <a:xfrm>
              <a:off x="2126612" y="6999145"/>
              <a:ext cx="19050" cy="9525"/>
            </a:xfrm>
            <a:custGeom>
              <a:avLst/>
              <a:gdLst>
                <a:gd name="connsiteX0" fmla="*/ 0 w 19050"/>
                <a:gd name="connsiteY0" fmla="*/ 0 h 0"/>
                <a:gd name="connsiteX1" fmla="*/ 19050 w 1905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050">
                  <a:moveTo>
                    <a:pt x="0" y="0"/>
                  </a:moveTo>
                  <a:lnTo>
                    <a:pt x="19050" y="0"/>
                  </a:lnTo>
                </a:path>
              </a:pathLst>
            </a:custGeom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2" name="Forma Livre: Forma 1261">
              <a:extLst>
                <a:ext uri="{FF2B5EF4-FFF2-40B4-BE49-F238E27FC236}">
                  <a16:creationId xmlns:a16="http://schemas.microsoft.com/office/drawing/2014/main" id="{AFFC36D3-50F9-743B-569C-C1C7AD090460}"/>
                </a:ext>
              </a:extLst>
            </p:cNvPr>
            <p:cNvSpPr/>
            <p:nvPr/>
          </p:nvSpPr>
          <p:spPr>
            <a:xfrm>
              <a:off x="2164712" y="6999145"/>
              <a:ext cx="19050" cy="9525"/>
            </a:xfrm>
            <a:custGeom>
              <a:avLst/>
              <a:gdLst>
                <a:gd name="connsiteX0" fmla="*/ 0 w 19050"/>
                <a:gd name="connsiteY0" fmla="*/ 0 h 0"/>
                <a:gd name="connsiteX1" fmla="*/ 19050 w 1905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050">
                  <a:moveTo>
                    <a:pt x="0" y="0"/>
                  </a:moveTo>
                  <a:lnTo>
                    <a:pt x="19050" y="0"/>
                  </a:lnTo>
                </a:path>
              </a:pathLst>
            </a:custGeom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3" name="Forma Livre: Forma 1262">
              <a:extLst>
                <a:ext uri="{FF2B5EF4-FFF2-40B4-BE49-F238E27FC236}">
                  <a16:creationId xmlns:a16="http://schemas.microsoft.com/office/drawing/2014/main" id="{FA2ADE50-4E70-357A-62EA-0B873F6B33D1}"/>
                </a:ext>
              </a:extLst>
            </p:cNvPr>
            <p:cNvSpPr/>
            <p:nvPr/>
          </p:nvSpPr>
          <p:spPr>
            <a:xfrm>
              <a:off x="2383787" y="6808645"/>
              <a:ext cx="152400" cy="171450"/>
            </a:xfrm>
            <a:custGeom>
              <a:avLst/>
              <a:gdLst>
                <a:gd name="connsiteX0" fmla="*/ 0 w 152400"/>
                <a:gd name="connsiteY0" fmla="*/ 0 h 171450"/>
                <a:gd name="connsiteX1" fmla="*/ 75629 w 152400"/>
                <a:gd name="connsiteY1" fmla="*/ 0 h 171450"/>
                <a:gd name="connsiteX2" fmla="*/ 91345 w 152400"/>
                <a:gd name="connsiteY2" fmla="*/ 8287 h 171450"/>
                <a:gd name="connsiteX3" fmla="*/ 123825 w 152400"/>
                <a:gd name="connsiteY3" fmla="*/ 66675 h 171450"/>
                <a:gd name="connsiteX4" fmla="*/ 133350 w 152400"/>
                <a:gd name="connsiteY4" fmla="*/ 66675 h 171450"/>
                <a:gd name="connsiteX5" fmla="*/ 152400 w 152400"/>
                <a:gd name="connsiteY5" fmla="*/ 87725 h 171450"/>
                <a:gd name="connsiteX6" fmla="*/ 152400 w 152400"/>
                <a:gd name="connsiteY6" fmla="*/ 152400 h 171450"/>
                <a:gd name="connsiteX7" fmla="*/ 133350 w 152400"/>
                <a:gd name="connsiteY7" fmla="*/ 171450 h 171450"/>
                <a:gd name="connsiteX8" fmla="*/ 114300 w 152400"/>
                <a:gd name="connsiteY8" fmla="*/ 17145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171450">
                  <a:moveTo>
                    <a:pt x="0" y="0"/>
                  </a:moveTo>
                  <a:lnTo>
                    <a:pt x="75629" y="0"/>
                  </a:lnTo>
                  <a:cubicBezTo>
                    <a:pt x="81915" y="0"/>
                    <a:pt x="87821" y="3143"/>
                    <a:pt x="91345" y="8287"/>
                  </a:cubicBezTo>
                  <a:lnTo>
                    <a:pt x="123825" y="66675"/>
                  </a:lnTo>
                  <a:lnTo>
                    <a:pt x="133350" y="66675"/>
                  </a:lnTo>
                  <a:cubicBezTo>
                    <a:pt x="144113" y="66675"/>
                    <a:pt x="152400" y="73819"/>
                    <a:pt x="152400" y="87725"/>
                  </a:cubicBezTo>
                  <a:lnTo>
                    <a:pt x="152400" y="152400"/>
                  </a:lnTo>
                  <a:cubicBezTo>
                    <a:pt x="152400" y="162877"/>
                    <a:pt x="143827" y="171450"/>
                    <a:pt x="133350" y="171450"/>
                  </a:cubicBezTo>
                  <a:lnTo>
                    <a:pt x="114300" y="171450"/>
                  </a:lnTo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4" name="Forma Livre: Forma 1263">
              <a:extLst>
                <a:ext uri="{FF2B5EF4-FFF2-40B4-BE49-F238E27FC236}">
                  <a16:creationId xmlns:a16="http://schemas.microsoft.com/office/drawing/2014/main" id="{51CE0BE8-43B6-1BE7-A893-21E8C8EFD669}"/>
                </a:ext>
              </a:extLst>
            </p:cNvPr>
            <p:cNvSpPr/>
            <p:nvPr/>
          </p:nvSpPr>
          <p:spPr>
            <a:xfrm>
              <a:off x="2421697" y="6951710"/>
              <a:ext cx="76200" cy="66675"/>
            </a:xfrm>
            <a:custGeom>
              <a:avLst/>
              <a:gdLst>
                <a:gd name="connsiteX0" fmla="*/ 76390 w 76200"/>
                <a:gd name="connsiteY0" fmla="*/ 38005 h 66675"/>
                <a:gd name="connsiteX1" fmla="*/ 38195 w 76200"/>
                <a:gd name="connsiteY1" fmla="*/ 76010 h 66675"/>
                <a:gd name="connsiteX2" fmla="*/ 0 w 76200"/>
                <a:gd name="connsiteY2" fmla="*/ 38005 h 66675"/>
                <a:gd name="connsiteX3" fmla="*/ 38195 w 76200"/>
                <a:gd name="connsiteY3" fmla="*/ 0 h 66675"/>
                <a:gd name="connsiteX4" fmla="*/ 76390 w 76200"/>
                <a:gd name="connsiteY4" fmla="*/ 38005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66675">
                  <a:moveTo>
                    <a:pt x="76390" y="38005"/>
                  </a:moveTo>
                  <a:cubicBezTo>
                    <a:pt x="76390" y="58960"/>
                    <a:pt x="59341" y="76010"/>
                    <a:pt x="38195" y="76010"/>
                  </a:cubicBezTo>
                  <a:cubicBezTo>
                    <a:pt x="17050" y="76010"/>
                    <a:pt x="0" y="58960"/>
                    <a:pt x="0" y="38005"/>
                  </a:cubicBezTo>
                  <a:cubicBezTo>
                    <a:pt x="0" y="17050"/>
                    <a:pt x="17050" y="0"/>
                    <a:pt x="38195" y="0"/>
                  </a:cubicBezTo>
                  <a:cubicBezTo>
                    <a:pt x="59341" y="0"/>
                    <a:pt x="76390" y="17050"/>
                    <a:pt x="76390" y="38005"/>
                  </a:cubicBezTo>
                  <a:close/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5" name="Forma Livre: Forma 1264">
              <a:extLst>
                <a:ext uri="{FF2B5EF4-FFF2-40B4-BE49-F238E27FC236}">
                  <a16:creationId xmlns:a16="http://schemas.microsoft.com/office/drawing/2014/main" id="{EEF69495-8243-6B7A-544D-9B10A6B0442D}"/>
                </a:ext>
              </a:extLst>
            </p:cNvPr>
            <p:cNvSpPr/>
            <p:nvPr/>
          </p:nvSpPr>
          <p:spPr>
            <a:xfrm>
              <a:off x="2383787" y="6980095"/>
              <a:ext cx="38100" cy="9525"/>
            </a:xfrm>
            <a:custGeom>
              <a:avLst/>
              <a:gdLst>
                <a:gd name="connsiteX0" fmla="*/ 0 w 38100"/>
                <a:gd name="connsiteY0" fmla="*/ 0 h 0"/>
                <a:gd name="connsiteX1" fmla="*/ 38100 w 381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00">
                  <a:moveTo>
                    <a:pt x="0" y="0"/>
                  </a:moveTo>
                  <a:lnTo>
                    <a:pt x="38100" y="0"/>
                  </a:lnTo>
                </a:path>
              </a:pathLst>
            </a:custGeom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6" name="Forma Livre: Forma 1265">
              <a:extLst>
                <a:ext uri="{FF2B5EF4-FFF2-40B4-BE49-F238E27FC236}">
                  <a16:creationId xmlns:a16="http://schemas.microsoft.com/office/drawing/2014/main" id="{895AE271-7A86-B7BD-7A79-ACF7B2257B4E}"/>
                </a:ext>
              </a:extLst>
            </p:cNvPr>
            <p:cNvSpPr/>
            <p:nvPr/>
          </p:nvSpPr>
          <p:spPr>
            <a:xfrm>
              <a:off x="2402837" y="6846745"/>
              <a:ext cx="66675" cy="38100"/>
            </a:xfrm>
            <a:custGeom>
              <a:avLst/>
              <a:gdLst>
                <a:gd name="connsiteX0" fmla="*/ 0 w 66675"/>
                <a:gd name="connsiteY0" fmla="*/ 38100 h 38100"/>
                <a:gd name="connsiteX1" fmla="*/ 66675 w 66675"/>
                <a:gd name="connsiteY1" fmla="*/ 38100 h 38100"/>
                <a:gd name="connsiteX2" fmla="*/ 66675 w 66675"/>
                <a:gd name="connsiteY2" fmla="*/ 28575 h 38100"/>
                <a:gd name="connsiteX3" fmla="*/ 47625 w 66675"/>
                <a:gd name="connsiteY3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5" h="38100">
                  <a:moveTo>
                    <a:pt x="0" y="38100"/>
                  </a:moveTo>
                  <a:lnTo>
                    <a:pt x="66675" y="38100"/>
                  </a:lnTo>
                  <a:lnTo>
                    <a:pt x="66675" y="28575"/>
                  </a:lnTo>
                  <a:lnTo>
                    <a:pt x="47625" y="0"/>
                  </a:lnTo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267" name="Forma">
            <a:extLst>
              <a:ext uri="{FF2B5EF4-FFF2-40B4-BE49-F238E27FC236}">
                <a16:creationId xmlns:a16="http://schemas.microsoft.com/office/drawing/2014/main" id="{FB5E8D51-7B5E-4814-B09C-94208B99BE5D}"/>
              </a:ext>
            </a:extLst>
          </p:cNvPr>
          <p:cNvSpPr>
            <a:spLocks noChangeAspect="1"/>
          </p:cNvSpPr>
          <p:nvPr/>
        </p:nvSpPr>
        <p:spPr>
          <a:xfrm>
            <a:off x="3913298" y="4054589"/>
            <a:ext cx="339740" cy="216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05" h="21600" extrusionOk="0">
                <a:moveTo>
                  <a:pt x="20523" y="6151"/>
                </a:moveTo>
                <a:lnTo>
                  <a:pt x="20523" y="20044"/>
                </a:lnTo>
                <a:lnTo>
                  <a:pt x="507" y="20044"/>
                </a:lnTo>
                <a:cubicBezTo>
                  <a:pt x="370" y="20044"/>
                  <a:pt x="251" y="20117"/>
                  <a:pt x="152" y="20261"/>
                </a:cubicBezTo>
                <a:cubicBezTo>
                  <a:pt x="53" y="20406"/>
                  <a:pt x="3" y="20587"/>
                  <a:pt x="3" y="20804"/>
                </a:cubicBezTo>
                <a:cubicBezTo>
                  <a:pt x="-12" y="21021"/>
                  <a:pt x="30" y="21208"/>
                  <a:pt x="129" y="21365"/>
                </a:cubicBezTo>
                <a:cubicBezTo>
                  <a:pt x="228" y="21522"/>
                  <a:pt x="347" y="21600"/>
                  <a:pt x="484" y="21600"/>
                </a:cubicBezTo>
                <a:lnTo>
                  <a:pt x="20523" y="21600"/>
                </a:lnTo>
                <a:cubicBezTo>
                  <a:pt x="20783" y="21600"/>
                  <a:pt x="21008" y="21450"/>
                  <a:pt x="21199" y="21148"/>
                </a:cubicBezTo>
                <a:cubicBezTo>
                  <a:pt x="21389" y="20846"/>
                  <a:pt x="21485" y="20478"/>
                  <a:pt x="21485" y="20044"/>
                </a:cubicBezTo>
                <a:lnTo>
                  <a:pt x="21485" y="4631"/>
                </a:lnTo>
                <a:lnTo>
                  <a:pt x="20523" y="6151"/>
                </a:lnTo>
                <a:lnTo>
                  <a:pt x="20523" y="6151"/>
                </a:lnTo>
                <a:close/>
                <a:moveTo>
                  <a:pt x="4881" y="0"/>
                </a:moveTo>
                <a:cubicBezTo>
                  <a:pt x="4438" y="0"/>
                  <a:pt x="4137" y="326"/>
                  <a:pt x="3977" y="977"/>
                </a:cubicBezTo>
                <a:cubicBezTo>
                  <a:pt x="3816" y="1628"/>
                  <a:pt x="3904" y="2195"/>
                  <a:pt x="4240" y="2677"/>
                </a:cubicBezTo>
                <a:lnTo>
                  <a:pt x="12050" y="13495"/>
                </a:lnTo>
                <a:cubicBezTo>
                  <a:pt x="12233" y="13761"/>
                  <a:pt x="12450" y="13893"/>
                  <a:pt x="12702" y="13893"/>
                </a:cubicBezTo>
                <a:cubicBezTo>
                  <a:pt x="12954" y="13893"/>
                  <a:pt x="13172" y="13761"/>
                  <a:pt x="13355" y="13495"/>
                </a:cubicBezTo>
                <a:lnTo>
                  <a:pt x="21164" y="2677"/>
                </a:lnTo>
                <a:cubicBezTo>
                  <a:pt x="21500" y="2195"/>
                  <a:pt x="21588" y="1628"/>
                  <a:pt x="21428" y="977"/>
                </a:cubicBezTo>
                <a:cubicBezTo>
                  <a:pt x="21267" y="326"/>
                  <a:pt x="20966" y="0"/>
                  <a:pt x="20523" y="0"/>
                </a:cubicBezTo>
                <a:lnTo>
                  <a:pt x="4881" y="0"/>
                </a:lnTo>
                <a:lnTo>
                  <a:pt x="4881" y="0"/>
                </a:lnTo>
                <a:lnTo>
                  <a:pt x="4881" y="0"/>
                </a:lnTo>
                <a:close/>
                <a:moveTo>
                  <a:pt x="12691" y="12084"/>
                </a:moveTo>
                <a:lnTo>
                  <a:pt x="4790" y="1520"/>
                </a:lnTo>
                <a:lnTo>
                  <a:pt x="20615" y="1520"/>
                </a:lnTo>
                <a:lnTo>
                  <a:pt x="12691" y="12084"/>
                </a:lnTo>
                <a:lnTo>
                  <a:pt x="12691" y="12084"/>
                </a:lnTo>
                <a:lnTo>
                  <a:pt x="12691" y="12084"/>
                </a:lnTo>
                <a:close/>
                <a:moveTo>
                  <a:pt x="2099" y="12103"/>
                </a:moveTo>
                <a:cubicBezTo>
                  <a:pt x="1999" y="11946"/>
                  <a:pt x="1950" y="11771"/>
                  <a:pt x="1950" y="11578"/>
                </a:cubicBezTo>
                <a:cubicBezTo>
                  <a:pt x="1950" y="11361"/>
                  <a:pt x="1999" y="11174"/>
                  <a:pt x="2099" y="11017"/>
                </a:cubicBezTo>
                <a:cubicBezTo>
                  <a:pt x="2198" y="10860"/>
                  <a:pt x="2309" y="10782"/>
                  <a:pt x="2431" y="10782"/>
                </a:cubicBezTo>
                <a:lnTo>
                  <a:pt x="4400" y="10782"/>
                </a:lnTo>
                <a:cubicBezTo>
                  <a:pt x="4522" y="10782"/>
                  <a:pt x="4633" y="10860"/>
                  <a:pt x="4733" y="11017"/>
                </a:cubicBezTo>
                <a:cubicBezTo>
                  <a:pt x="4832" y="11174"/>
                  <a:pt x="4881" y="11361"/>
                  <a:pt x="4881" y="11578"/>
                </a:cubicBezTo>
                <a:cubicBezTo>
                  <a:pt x="4881" y="11771"/>
                  <a:pt x="4832" y="11946"/>
                  <a:pt x="4733" y="12103"/>
                </a:cubicBezTo>
                <a:cubicBezTo>
                  <a:pt x="4633" y="12260"/>
                  <a:pt x="4522" y="12338"/>
                  <a:pt x="4400" y="12338"/>
                </a:cubicBezTo>
                <a:lnTo>
                  <a:pt x="2431" y="12338"/>
                </a:lnTo>
                <a:lnTo>
                  <a:pt x="2431" y="12338"/>
                </a:lnTo>
                <a:lnTo>
                  <a:pt x="2431" y="12338"/>
                </a:lnTo>
                <a:cubicBezTo>
                  <a:pt x="2309" y="12338"/>
                  <a:pt x="2198" y="12260"/>
                  <a:pt x="2099" y="12103"/>
                </a:cubicBezTo>
                <a:lnTo>
                  <a:pt x="2099" y="12103"/>
                </a:lnTo>
                <a:close/>
                <a:moveTo>
                  <a:pt x="1469" y="16969"/>
                </a:moveTo>
                <a:cubicBezTo>
                  <a:pt x="1332" y="16969"/>
                  <a:pt x="1213" y="16891"/>
                  <a:pt x="1114" y="16734"/>
                </a:cubicBezTo>
                <a:cubicBezTo>
                  <a:pt x="1015" y="16577"/>
                  <a:pt x="965" y="16402"/>
                  <a:pt x="965" y="16209"/>
                </a:cubicBezTo>
                <a:cubicBezTo>
                  <a:pt x="965" y="15992"/>
                  <a:pt x="1015" y="15805"/>
                  <a:pt x="1114" y="15648"/>
                </a:cubicBezTo>
                <a:cubicBezTo>
                  <a:pt x="1213" y="15491"/>
                  <a:pt x="1332" y="15413"/>
                  <a:pt x="1469" y="15413"/>
                </a:cubicBezTo>
                <a:lnTo>
                  <a:pt x="5362" y="15413"/>
                </a:lnTo>
                <a:cubicBezTo>
                  <a:pt x="5500" y="15413"/>
                  <a:pt x="5618" y="15491"/>
                  <a:pt x="5717" y="15648"/>
                </a:cubicBezTo>
                <a:cubicBezTo>
                  <a:pt x="5816" y="15805"/>
                  <a:pt x="5866" y="15992"/>
                  <a:pt x="5866" y="16209"/>
                </a:cubicBezTo>
                <a:cubicBezTo>
                  <a:pt x="5866" y="16402"/>
                  <a:pt x="5816" y="16577"/>
                  <a:pt x="5717" y="16734"/>
                </a:cubicBezTo>
                <a:cubicBezTo>
                  <a:pt x="5618" y="16891"/>
                  <a:pt x="5500" y="16969"/>
                  <a:pt x="5362" y="16969"/>
                </a:cubicBezTo>
                <a:lnTo>
                  <a:pt x="1469" y="16969"/>
                </a:lnTo>
                <a:lnTo>
                  <a:pt x="1469" y="16969"/>
                </a:lnTo>
                <a:lnTo>
                  <a:pt x="1469" y="16969"/>
                </a:lnTo>
                <a:lnTo>
                  <a:pt x="1469" y="16969"/>
                </a:lnTo>
                <a:lnTo>
                  <a:pt x="1469" y="16969"/>
                </a:lnTo>
                <a:close/>
                <a:moveTo>
                  <a:pt x="2935" y="7707"/>
                </a:moveTo>
                <a:lnTo>
                  <a:pt x="2935" y="6151"/>
                </a:lnTo>
                <a:lnTo>
                  <a:pt x="3897" y="6151"/>
                </a:lnTo>
                <a:lnTo>
                  <a:pt x="3897" y="7707"/>
                </a:lnTo>
                <a:lnTo>
                  <a:pt x="2935" y="7707"/>
                </a:lnTo>
                <a:lnTo>
                  <a:pt x="2935" y="7707"/>
                </a:lnTo>
                <a:lnTo>
                  <a:pt x="2935" y="7707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>
            <a:miter lim="400000"/>
          </a:ln>
        </p:spPr>
        <p:txBody>
          <a:bodyPr lIns="27428" tIns="27428" rIns="27428" bIns="27428" anchor="ctr"/>
          <a:lstStyle/>
          <a:p>
            <a:pPr marL="0" marR="0" lvl="0" indent="0" algn="l" defTabSz="3291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lang="pt-BR" sz="129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268" name="CaixaDeTexto 1267">
            <a:extLst>
              <a:ext uri="{FF2B5EF4-FFF2-40B4-BE49-F238E27FC236}">
                <a16:creationId xmlns:a16="http://schemas.microsoft.com/office/drawing/2014/main" id="{B03F09B8-3BF4-86A8-B75D-F8CA8DF56E0A}"/>
              </a:ext>
            </a:extLst>
          </p:cNvPr>
          <p:cNvSpPr txBox="1"/>
          <p:nvPr/>
        </p:nvSpPr>
        <p:spPr>
          <a:xfrm>
            <a:off x="3686410" y="4280358"/>
            <a:ext cx="84811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165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E-mail</a:t>
            </a:r>
          </a:p>
        </p:txBody>
      </p:sp>
      <p:grpSp>
        <p:nvGrpSpPr>
          <p:cNvPr id="1269" name="Agrupar 1268">
            <a:extLst>
              <a:ext uri="{FF2B5EF4-FFF2-40B4-BE49-F238E27FC236}">
                <a16:creationId xmlns:a16="http://schemas.microsoft.com/office/drawing/2014/main" id="{1FD17F97-9B83-E64B-57F0-281D5FCF58F4}"/>
              </a:ext>
            </a:extLst>
          </p:cNvPr>
          <p:cNvGrpSpPr>
            <a:grpSpLocks noChangeAspect="1"/>
          </p:cNvGrpSpPr>
          <p:nvPr/>
        </p:nvGrpSpPr>
        <p:grpSpPr>
          <a:xfrm>
            <a:off x="6027148" y="2270809"/>
            <a:ext cx="169714" cy="284165"/>
            <a:chOff x="2116817" y="2794455"/>
            <a:chExt cx="314325" cy="400050"/>
          </a:xfrm>
        </p:grpSpPr>
        <p:sp>
          <p:nvSpPr>
            <p:cNvPr id="1270" name="Forma Livre: Forma 1269">
              <a:extLst>
                <a:ext uri="{FF2B5EF4-FFF2-40B4-BE49-F238E27FC236}">
                  <a16:creationId xmlns:a16="http://schemas.microsoft.com/office/drawing/2014/main" id="{E8252AAA-E703-A774-4673-7464E0B777FC}"/>
                </a:ext>
              </a:extLst>
            </p:cNvPr>
            <p:cNvSpPr/>
            <p:nvPr/>
          </p:nvSpPr>
          <p:spPr>
            <a:xfrm>
              <a:off x="2116817" y="2794455"/>
              <a:ext cx="314325" cy="133350"/>
            </a:xfrm>
            <a:custGeom>
              <a:avLst/>
              <a:gdLst>
                <a:gd name="connsiteX0" fmla="*/ 0 w 314325"/>
                <a:gd name="connsiteY0" fmla="*/ 0 h 133350"/>
                <a:gd name="connsiteX1" fmla="*/ 314325 w 314325"/>
                <a:gd name="connsiteY1" fmla="*/ 0 h 133350"/>
                <a:gd name="connsiteX2" fmla="*/ 314325 w 314325"/>
                <a:gd name="connsiteY2" fmla="*/ 133350 h 133350"/>
                <a:gd name="connsiteX3" fmla="*/ 0 w 314325"/>
                <a:gd name="connsiteY3" fmla="*/ 13335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133350">
                  <a:moveTo>
                    <a:pt x="0" y="0"/>
                  </a:moveTo>
                  <a:lnTo>
                    <a:pt x="314325" y="0"/>
                  </a:lnTo>
                  <a:lnTo>
                    <a:pt x="314325" y="133350"/>
                  </a:lnTo>
                  <a:lnTo>
                    <a:pt x="0" y="133350"/>
                  </a:lnTo>
                  <a:close/>
                </a:path>
              </a:pathLst>
            </a:custGeom>
            <a:noFill/>
            <a:ln w="1270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1" name="Forma Livre: Forma 1270">
              <a:extLst>
                <a:ext uri="{FF2B5EF4-FFF2-40B4-BE49-F238E27FC236}">
                  <a16:creationId xmlns:a16="http://schemas.microsoft.com/office/drawing/2014/main" id="{82EB6A19-5F1B-969B-A692-72C230F7DAA8}"/>
                </a:ext>
              </a:extLst>
            </p:cNvPr>
            <p:cNvSpPr/>
            <p:nvPr/>
          </p:nvSpPr>
          <p:spPr>
            <a:xfrm>
              <a:off x="2240642" y="2861130"/>
              <a:ext cx="66675" cy="19050"/>
            </a:xfrm>
            <a:custGeom>
              <a:avLst/>
              <a:gdLst>
                <a:gd name="connsiteX0" fmla="*/ 0 w 66675"/>
                <a:gd name="connsiteY0" fmla="*/ 0 h 19050"/>
                <a:gd name="connsiteX1" fmla="*/ 0 w 66675"/>
                <a:gd name="connsiteY1" fmla="*/ 19050 h 19050"/>
                <a:gd name="connsiteX2" fmla="*/ 66675 w 66675"/>
                <a:gd name="connsiteY2" fmla="*/ 19050 h 19050"/>
                <a:gd name="connsiteX3" fmla="*/ 66675 w 66675"/>
                <a:gd name="connsiteY3" fmla="*/ 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5" h="19050">
                  <a:moveTo>
                    <a:pt x="0" y="0"/>
                  </a:moveTo>
                  <a:lnTo>
                    <a:pt x="0" y="19050"/>
                  </a:lnTo>
                  <a:lnTo>
                    <a:pt x="66675" y="19050"/>
                  </a:lnTo>
                  <a:lnTo>
                    <a:pt x="66675" y="0"/>
                  </a:lnTo>
                </a:path>
              </a:pathLst>
            </a:custGeom>
            <a:noFill/>
            <a:ln w="1270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2" name="Forma Livre: Forma 1271">
              <a:extLst>
                <a:ext uri="{FF2B5EF4-FFF2-40B4-BE49-F238E27FC236}">
                  <a16:creationId xmlns:a16="http://schemas.microsoft.com/office/drawing/2014/main" id="{632473D8-3FCD-77AC-C713-FD20AA0C1D96}"/>
                </a:ext>
              </a:extLst>
            </p:cNvPr>
            <p:cNvSpPr/>
            <p:nvPr/>
          </p:nvSpPr>
          <p:spPr>
            <a:xfrm>
              <a:off x="2116817" y="2927805"/>
              <a:ext cx="314325" cy="133350"/>
            </a:xfrm>
            <a:custGeom>
              <a:avLst/>
              <a:gdLst>
                <a:gd name="connsiteX0" fmla="*/ 0 w 314325"/>
                <a:gd name="connsiteY0" fmla="*/ 0 h 133350"/>
                <a:gd name="connsiteX1" fmla="*/ 314325 w 314325"/>
                <a:gd name="connsiteY1" fmla="*/ 0 h 133350"/>
                <a:gd name="connsiteX2" fmla="*/ 314325 w 314325"/>
                <a:gd name="connsiteY2" fmla="*/ 133350 h 133350"/>
                <a:gd name="connsiteX3" fmla="*/ 0 w 314325"/>
                <a:gd name="connsiteY3" fmla="*/ 13335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133350">
                  <a:moveTo>
                    <a:pt x="0" y="0"/>
                  </a:moveTo>
                  <a:lnTo>
                    <a:pt x="314325" y="0"/>
                  </a:lnTo>
                  <a:lnTo>
                    <a:pt x="314325" y="133350"/>
                  </a:lnTo>
                  <a:lnTo>
                    <a:pt x="0" y="133350"/>
                  </a:lnTo>
                  <a:close/>
                </a:path>
              </a:pathLst>
            </a:custGeom>
            <a:noFill/>
            <a:ln w="1270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3" name="Forma Livre: Forma 1272">
              <a:extLst>
                <a:ext uri="{FF2B5EF4-FFF2-40B4-BE49-F238E27FC236}">
                  <a16:creationId xmlns:a16="http://schemas.microsoft.com/office/drawing/2014/main" id="{2B53ECC1-A20E-682C-4397-E033DC286099}"/>
                </a:ext>
              </a:extLst>
            </p:cNvPr>
            <p:cNvSpPr/>
            <p:nvPr/>
          </p:nvSpPr>
          <p:spPr>
            <a:xfrm>
              <a:off x="2240642" y="2994480"/>
              <a:ext cx="66675" cy="19050"/>
            </a:xfrm>
            <a:custGeom>
              <a:avLst/>
              <a:gdLst>
                <a:gd name="connsiteX0" fmla="*/ 0 w 66675"/>
                <a:gd name="connsiteY0" fmla="*/ 0 h 19050"/>
                <a:gd name="connsiteX1" fmla="*/ 0 w 66675"/>
                <a:gd name="connsiteY1" fmla="*/ 19050 h 19050"/>
                <a:gd name="connsiteX2" fmla="*/ 66675 w 66675"/>
                <a:gd name="connsiteY2" fmla="*/ 19050 h 19050"/>
                <a:gd name="connsiteX3" fmla="*/ 66675 w 66675"/>
                <a:gd name="connsiteY3" fmla="*/ 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5" h="19050">
                  <a:moveTo>
                    <a:pt x="0" y="0"/>
                  </a:moveTo>
                  <a:lnTo>
                    <a:pt x="0" y="19050"/>
                  </a:lnTo>
                  <a:lnTo>
                    <a:pt x="66675" y="19050"/>
                  </a:lnTo>
                  <a:lnTo>
                    <a:pt x="66675" y="0"/>
                  </a:lnTo>
                </a:path>
              </a:pathLst>
            </a:custGeom>
            <a:noFill/>
            <a:ln w="1270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4" name="Forma Livre: Forma 1273">
              <a:extLst>
                <a:ext uri="{FF2B5EF4-FFF2-40B4-BE49-F238E27FC236}">
                  <a16:creationId xmlns:a16="http://schemas.microsoft.com/office/drawing/2014/main" id="{46CC2E3A-DC4F-E154-0F7A-9DEB0A9480DE}"/>
                </a:ext>
              </a:extLst>
            </p:cNvPr>
            <p:cNvSpPr/>
            <p:nvPr/>
          </p:nvSpPr>
          <p:spPr>
            <a:xfrm>
              <a:off x="2116817" y="3061155"/>
              <a:ext cx="314325" cy="133350"/>
            </a:xfrm>
            <a:custGeom>
              <a:avLst/>
              <a:gdLst>
                <a:gd name="connsiteX0" fmla="*/ 0 w 314325"/>
                <a:gd name="connsiteY0" fmla="*/ 0 h 133350"/>
                <a:gd name="connsiteX1" fmla="*/ 314325 w 314325"/>
                <a:gd name="connsiteY1" fmla="*/ 0 h 133350"/>
                <a:gd name="connsiteX2" fmla="*/ 314325 w 314325"/>
                <a:gd name="connsiteY2" fmla="*/ 133350 h 133350"/>
                <a:gd name="connsiteX3" fmla="*/ 0 w 314325"/>
                <a:gd name="connsiteY3" fmla="*/ 13335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133350">
                  <a:moveTo>
                    <a:pt x="0" y="0"/>
                  </a:moveTo>
                  <a:lnTo>
                    <a:pt x="314325" y="0"/>
                  </a:lnTo>
                  <a:lnTo>
                    <a:pt x="314325" y="133350"/>
                  </a:lnTo>
                  <a:lnTo>
                    <a:pt x="0" y="133350"/>
                  </a:lnTo>
                  <a:close/>
                </a:path>
              </a:pathLst>
            </a:custGeom>
            <a:noFill/>
            <a:ln w="1270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5" name="Forma Livre: Forma 1274">
              <a:extLst>
                <a:ext uri="{FF2B5EF4-FFF2-40B4-BE49-F238E27FC236}">
                  <a16:creationId xmlns:a16="http://schemas.microsoft.com/office/drawing/2014/main" id="{30714AD4-892A-2996-51C1-2BC972B5D210}"/>
                </a:ext>
              </a:extLst>
            </p:cNvPr>
            <p:cNvSpPr/>
            <p:nvPr/>
          </p:nvSpPr>
          <p:spPr>
            <a:xfrm>
              <a:off x="2240642" y="3127830"/>
              <a:ext cx="66675" cy="19050"/>
            </a:xfrm>
            <a:custGeom>
              <a:avLst/>
              <a:gdLst>
                <a:gd name="connsiteX0" fmla="*/ 0 w 66675"/>
                <a:gd name="connsiteY0" fmla="*/ 0 h 19050"/>
                <a:gd name="connsiteX1" fmla="*/ 0 w 66675"/>
                <a:gd name="connsiteY1" fmla="*/ 19050 h 19050"/>
                <a:gd name="connsiteX2" fmla="*/ 66675 w 66675"/>
                <a:gd name="connsiteY2" fmla="*/ 19050 h 19050"/>
                <a:gd name="connsiteX3" fmla="*/ 66675 w 66675"/>
                <a:gd name="connsiteY3" fmla="*/ 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5" h="19050">
                  <a:moveTo>
                    <a:pt x="0" y="0"/>
                  </a:moveTo>
                  <a:lnTo>
                    <a:pt x="0" y="19050"/>
                  </a:lnTo>
                  <a:lnTo>
                    <a:pt x="66675" y="19050"/>
                  </a:lnTo>
                  <a:lnTo>
                    <a:pt x="66675" y="0"/>
                  </a:lnTo>
                </a:path>
              </a:pathLst>
            </a:custGeom>
            <a:noFill/>
            <a:ln w="1270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276" name="CaixaDeTexto 1275">
            <a:extLst>
              <a:ext uri="{FF2B5EF4-FFF2-40B4-BE49-F238E27FC236}">
                <a16:creationId xmlns:a16="http://schemas.microsoft.com/office/drawing/2014/main" id="{CA06B1C6-9CDD-3376-5E76-A10C8749D73E}"/>
              </a:ext>
            </a:extLst>
          </p:cNvPr>
          <p:cNvSpPr txBox="1"/>
          <p:nvPr/>
        </p:nvSpPr>
        <p:spPr>
          <a:xfrm>
            <a:off x="5696533" y="2512524"/>
            <a:ext cx="8481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165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Acervos físicos</a:t>
            </a:r>
          </a:p>
        </p:txBody>
      </p:sp>
      <p:grpSp>
        <p:nvGrpSpPr>
          <p:cNvPr id="1277" name="Agrupar 1276">
            <a:extLst>
              <a:ext uri="{FF2B5EF4-FFF2-40B4-BE49-F238E27FC236}">
                <a16:creationId xmlns:a16="http://schemas.microsoft.com/office/drawing/2014/main" id="{5922329A-7015-91D2-13F9-1F879D56C201}"/>
              </a:ext>
            </a:extLst>
          </p:cNvPr>
          <p:cNvGrpSpPr>
            <a:grpSpLocks noChangeAspect="1"/>
          </p:cNvGrpSpPr>
          <p:nvPr/>
        </p:nvGrpSpPr>
        <p:grpSpPr>
          <a:xfrm>
            <a:off x="6129580" y="3118067"/>
            <a:ext cx="244503" cy="284165"/>
            <a:chOff x="1314272" y="5999659"/>
            <a:chExt cx="438150" cy="371475"/>
          </a:xfrm>
        </p:grpSpPr>
        <p:sp>
          <p:nvSpPr>
            <p:cNvPr id="1278" name="Forma Livre: Forma 1277">
              <a:extLst>
                <a:ext uri="{FF2B5EF4-FFF2-40B4-BE49-F238E27FC236}">
                  <a16:creationId xmlns:a16="http://schemas.microsoft.com/office/drawing/2014/main" id="{19C9793E-B266-8B2E-B797-A63266A75182}"/>
                </a:ext>
              </a:extLst>
            </p:cNvPr>
            <p:cNvSpPr/>
            <p:nvPr/>
          </p:nvSpPr>
          <p:spPr>
            <a:xfrm>
              <a:off x="1314272" y="5999659"/>
              <a:ext cx="438150" cy="257175"/>
            </a:xfrm>
            <a:custGeom>
              <a:avLst/>
              <a:gdLst>
                <a:gd name="connsiteX0" fmla="*/ 352425 w 438150"/>
                <a:gd name="connsiteY0" fmla="*/ 257175 h 257175"/>
                <a:gd name="connsiteX1" fmla="*/ 361950 w 438150"/>
                <a:gd name="connsiteY1" fmla="*/ 257175 h 257175"/>
                <a:gd name="connsiteX2" fmla="*/ 371475 w 438150"/>
                <a:gd name="connsiteY2" fmla="*/ 257175 h 257175"/>
                <a:gd name="connsiteX3" fmla="*/ 438150 w 438150"/>
                <a:gd name="connsiteY3" fmla="*/ 190500 h 257175"/>
                <a:gd name="connsiteX4" fmla="*/ 371475 w 438150"/>
                <a:gd name="connsiteY4" fmla="*/ 123825 h 257175"/>
                <a:gd name="connsiteX5" fmla="*/ 351187 w 438150"/>
                <a:gd name="connsiteY5" fmla="*/ 126968 h 257175"/>
                <a:gd name="connsiteX6" fmla="*/ 352425 w 438150"/>
                <a:gd name="connsiteY6" fmla="*/ 114300 h 257175"/>
                <a:gd name="connsiteX7" fmla="*/ 285750 w 438150"/>
                <a:gd name="connsiteY7" fmla="*/ 47625 h 257175"/>
                <a:gd name="connsiteX8" fmla="*/ 242221 w 438150"/>
                <a:gd name="connsiteY8" fmla="*/ 63913 h 257175"/>
                <a:gd name="connsiteX9" fmla="*/ 152305 w 438150"/>
                <a:gd name="connsiteY9" fmla="*/ 0 h 257175"/>
                <a:gd name="connsiteX10" fmla="*/ 57055 w 438150"/>
                <a:gd name="connsiteY10" fmla="*/ 95250 h 257175"/>
                <a:gd name="connsiteX11" fmla="*/ 61532 w 438150"/>
                <a:gd name="connsiteY11" fmla="*/ 124016 h 257175"/>
                <a:gd name="connsiteX12" fmla="*/ 0 w 438150"/>
                <a:gd name="connsiteY12" fmla="*/ 190500 h 257175"/>
                <a:gd name="connsiteX13" fmla="*/ 66675 w 438150"/>
                <a:gd name="connsiteY13" fmla="*/ 257175 h 257175"/>
                <a:gd name="connsiteX14" fmla="*/ 76200 w 438150"/>
                <a:gd name="connsiteY14" fmla="*/ 257175 h 257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8150" h="257175">
                  <a:moveTo>
                    <a:pt x="352425" y="257175"/>
                  </a:moveTo>
                  <a:lnTo>
                    <a:pt x="361950" y="257175"/>
                  </a:lnTo>
                  <a:lnTo>
                    <a:pt x="371475" y="257175"/>
                  </a:lnTo>
                  <a:cubicBezTo>
                    <a:pt x="408337" y="257175"/>
                    <a:pt x="438150" y="227362"/>
                    <a:pt x="438150" y="190500"/>
                  </a:cubicBezTo>
                  <a:cubicBezTo>
                    <a:pt x="438150" y="153638"/>
                    <a:pt x="408337" y="123825"/>
                    <a:pt x="371475" y="123825"/>
                  </a:cubicBezTo>
                  <a:cubicBezTo>
                    <a:pt x="364426" y="123825"/>
                    <a:pt x="357569" y="124968"/>
                    <a:pt x="351187" y="126968"/>
                  </a:cubicBezTo>
                  <a:cubicBezTo>
                    <a:pt x="351949" y="122873"/>
                    <a:pt x="352425" y="118681"/>
                    <a:pt x="352425" y="114300"/>
                  </a:cubicBezTo>
                  <a:cubicBezTo>
                    <a:pt x="352425" y="77438"/>
                    <a:pt x="322612" y="47625"/>
                    <a:pt x="285750" y="47625"/>
                  </a:cubicBezTo>
                  <a:cubicBezTo>
                    <a:pt x="269081" y="47625"/>
                    <a:pt x="253937" y="53816"/>
                    <a:pt x="242221" y="63913"/>
                  </a:cubicBezTo>
                  <a:cubicBezTo>
                    <a:pt x="229267" y="26670"/>
                    <a:pt x="193929" y="0"/>
                    <a:pt x="152305" y="0"/>
                  </a:cubicBezTo>
                  <a:cubicBezTo>
                    <a:pt x="99727" y="0"/>
                    <a:pt x="57055" y="42672"/>
                    <a:pt x="57055" y="95250"/>
                  </a:cubicBezTo>
                  <a:cubicBezTo>
                    <a:pt x="57055" y="105251"/>
                    <a:pt x="58674" y="114967"/>
                    <a:pt x="61532" y="124016"/>
                  </a:cubicBezTo>
                  <a:cubicBezTo>
                    <a:pt x="27146" y="126682"/>
                    <a:pt x="0" y="155448"/>
                    <a:pt x="0" y="190500"/>
                  </a:cubicBezTo>
                  <a:cubicBezTo>
                    <a:pt x="0" y="227362"/>
                    <a:pt x="29813" y="257175"/>
                    <a:pt x="66675" y="257175"/>
                  </a:cubicBezTo>
                  <a:lnTo>
                    <a:pt x="76200" y="257175"/>
                  </a:lnTo>
                </a:path>
              </a:pathLst>
            </a:custGeom>
            <a:noFill/>
            <a:ln w="1270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9" name="Forma Livre: Forma 1278">
              <a:extLst>
                <a:ext uri="{FF2B5EF4-FFF2-40B4-BE49-F238E27FC236}">
                  <a16:creationId xmlns:a16="http://schemas.microsoft.com/office/drawing/2014/main" id="{43E4AEB2-D231-BCF1-2A22-38F661DC06EA}"/>
                </a:ext>
              </a:extLst>
            </p:cNvPr>
            <p:cNvSpPr/>
            <p:nvPr/>
          </p:nvSpPr>
          <p:spPr>
            <a:xfrm>
              <a:off x="1556683" y="6063476"/>
              <a:ext cx="9525" cy="19050"/>
            </a:xfrm>
            <a:custGeom>
              <a:avLst/>
              <a:gdLst>
                <a:gd name="connsiteX0" fmla="*/ 0 w 0"/>
                <a:gd name="connsiteY0" fmla="*/ 0 h 19050"/>
                <a:gd name="connsiteX1" fmla="*/ 4858 w 0"/>
                <a:gd name="connsiteY1" fmla="*/ 21908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9050">
                  <a:moveTo>
                    <a:pt x="0" y="0"/>
                  </a:moveTo>
                  <a:cubicBezTo>
                    <a:pt x="2476" y="6953"/>
                    <a:pt x="4096" y="14288"/>
                    <a:pt x="4858" y="21908"/>
                  </a:cubicBezTo>
                </a:path>
              </a:pathLst>
            </a:custGeom>
            <a:noFill/>
            <a:ln w="1270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0" name="Forma Livre: Forma 1279">
              <a:extLst>
                <a:ext uri="{FF2B5EF4-FFF2-40B4-BE49-F238E27FC236}">
                  <a16:creationId xmlns:a16="http://schemas.microsoft.com/office/drawing/2014/main" id="{3D424807-3645-03DF-6E3A-8088E1C11A50}"/>
                </a:ext>
              </a:extLst>
            </p:cNvPr>
            <p:cNvSpPr/>
            <p:nvPr/>
          </p:nvSpPr>
          <p:spPr>
            <a:xfrm>
              <a:off x="1657172" y="6126627"/>
              <a:ext cx="9525" cy="19050"/>
            </a:xfrm>
            <a:custGeom>
              <a:avLst/>
              <a:gdLst>
                <a:gd name="connsiteX0" fmla="*/ 8287 w 0"/>
                <a:gd name="connsiteY0" fmla="*/ 0 h 19050"/>
                <a:gd name="connsiteX1" fmla="*/ 0 w 0"/>
                <a:gd name="connsiteY1" fmla="*/ 21622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9050">
                  <a:moveTo>
                    <a:pt x="8287" y="0"/>
                  </a:moveTo>
                  <a:cubicBezTo>
                    <a:pt x="6763" y="7810"/>
                    <a:pt x="3905" y="15145"/>
                    <a:pt x="0" y="21622"/>
                  </a:cubicBezTo>
                </a:path>
              </a:pathLst>
            </a:custGeom>
            <a:noFill/>
            <a:ln w="1270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1" name="Forma Livre: Forma 1280">
              <a:extLst>
                <a:ext uri="{FF2B5EF4-FFF2-40B4-BE49-F238E27FC236}">
                  <a16:creationId xmlns:a16="http://schemas.microsoft.com/office/drawing/2014/main" id="{26C51EE5-814C-D57D-217E-DDC3D4DC8FB9}"/>
                </a:ext>
              </a:extLst>
            </p:cNvPr>
            <p:cNvSpPr/>
            <p:nvPr/>
          </p:nvSpPr>
          <p:spPr>
            <a:xfrm>
              <a:off x="1375804" y="6123468"/>
              <a:ext cx="19050" cy="9525"/>
            </a:xfrm>
            <a:custGeom>
              <a:avLst/>
              <a:gdLst>
                <a:gd name="connsiteX0" fmla="*/ 0 w 19050"/>
                <a:gd name="connsiteY0" fmla="*/ 207 h 0"/>
                <a:gd name="connsiteX1" fmla="*/ 24765 w 19050"/>
                <a:gd name="connsiteY1" fmla="*/ 296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050">
                  <a:moveTo>
                    <a:pt x="0" y="207"/>
                  </a:moveTo>
                  <a:cubicBezTo>
                    <a:pt x="8287" y="-460"/>
                    <a:pt x="16669" y="492"/>
                    <a:pt x="24765" y="2969"/>
                  </a:cubicBezTo>
                </a:path>
              </a:pathLst>
            </a:custGeom>
            <a:noFill/>
            <a:ln w="1270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2" name="Forma Livre: Forma 1281">
              <a:extLst>
                <a:ext uri="{FF2B5EF4-FFF2-40B4-BE49-F238E27FC236}">
                  <a16:creationId xmlns:a16="http://schemas.microsoft.com/office/drawing/2014/main" id="{6474BB9B-2005-440A-EF5B-2A3645F2BC22}"/>
                </a:ext>
              </a:extLst>
            </p:cNvPr>
            <p:cNvSpPr/>
            <p:nvPr/>
          </p:nvSpPr>
          <p:spPr>
            <a:xfrm>
              <a:off x="1447622" y="6237784"/>
              <a:ext cx="200025" cy="133350"/>
            </a:xfrm>
            <a:custGeom>
              <a:avLst/>
              <a:gdLst>
                <a:gd name="connsiteX0" fmla="*/ 0 w 200025"/>
                <a:gd name="connsiteY0" fmla="*/ 0 h 133350"/>
                <a:gd name="connsiteX1" fmla="*/ 200025 w 200025"/>
                <a:gd name="connsiteY1" fmla="*/ 0 h 133350"/>
                <a:gd name="connsiteX2" fmla="*/ 200025 w 200025"/>
                <a:gd name="connsiteY2" fmla="*/ 133350 h 133350"/>
                <a:gd name="connsiteX3" fmla="*/ 0 w 200025"/>
                <a:gd name="connsiteY3" fmla="*/ 13335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0025" h="133350">
                  <a:moveTo>
                    <a:pt x="0" y="0"/>
                  </a:moveTo>
                  <a:lnTo>
                    <a:pt x="200025" y="0"/>
                  </a:lnTo>
                  <a:lnTo>
                    <a:pt x="200025" y="133350"/>
                  </a:lnTo>
                  <a:lnTo>
                    <a:pt x="0" y="133350"/>
                  </a:lnTo>
                  <a:close/>
                </a:path>
              </a:pathLst>
            </a:custGeom>
            <a:noFill/>
            <a:ln w="1270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3" name="Forma Livre: Forma 1282">
              <a:extLst>
                <a:ext uri="{FF2B5EF4-FFF2-40B4-BE49-F238E27FC236}">
                  <a16:creationId xmlns:a16="http://schemas.microsoft.com/office/drawing/2014/main" id="{0CE29B4F-620B-4895-7D88-287F454FC4D7}"/>
                </a:ext>
              </a:extLst>
            </p:cNvPr>
            <p:cNvSpPr/>
            <p:nvPr/>
          </p:nvSpPr>
          <p:spPr>
            <a:xfrm>
              <a:off x="1409522" y="6180634"/>
              <a:ext cx="257081" cy="150776"/>
            </a:xfrm>
            <a:custGeom>
              <a:avLst/>
              <a:gdLst>
                <a:gd name="connsiteX0" fmla="*/ 209550 w 209550"/>
                <a:gd name="connsiteY0" fmla="*/ 38100 h 190500"/>
                <a:gd name="connsiteX1" fmla="*/ 209550 w 209550"/>
                <a:gd name="connsiteY1" fmla="*/ 19050 h 190500"/>
                <a:gd name="connsiteX2" fmla="*/ 104775 w 209550"/>
                <a:gd name="connsiteY2" fmla="*/ 19050 h 190500"/>
                <a:gd name="connsiteX3" fmla="*/ 85725 w 209550"/>
                <a:gd name="connsiteY3" fmla="*/ 0 h 190500"/>
                <a:gd name="connsiteX4" fmla="*/ 0 w 209550"/>
                <a:gd name="connsiteY4" fmla="*/ 0 h 190500"/>
                <a:gd name="connsiteX5" fmla="*/ 0 w 209550"/>
                <a:gd name="connsiteY5" fmla="*/ 161925 h 190500"/>
                <a:gd name="connsiteX6" fmla="*/ 28575 w 209550"/>
                <a:gd name="connsiteY6" fmla="*/ 190500 h 190500"/>
                <a:gd name="connsiteX7" fmla="*/ 38100 w 209550"/>
                <a:gd name="connsiteY7" fmla="*/ 19050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0" h="190500">
                  <a:moveTo>
                    <a:pt x="209550" y="38100"/>
                  </a:moveTo>
                  <a:lnTo>
                    <a:pt x="209550" y="19050"/>
                  </a:lnTo>
                  <a:lnTo>
                    <a:pt x="104775" y="19050"/>
                  </a:lnTo>
                  <a:lnTo>
                    <a:pt x="85725" y="0"/>
                  </a:lnTo>
                  <a:lnTo>
                    <a:pt x="0" y="0"/>
                  </a:lnTo>
                  <a:lnTo>
                    <a:pt x="0" y="161925"/>
                  </a:lnTo>
                  <a:lnTo>
                    <a:pt x="28575" y="190500"/>
                  </a:lnTo>
                  <a:lnTo>
                    <a:pt x="38100" y="190500"/>
                  </a:lnTo>
                </a:path>
              </a:pathLst>
            </a:custGeom>
            <a:noFill/>
            <a:ln w="1270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284" name="CaixaDeTexto 1283">
            <a:extLst>
              <a:ext uri="{FF2B5EF4-FFF2-40B4-BE49-F238E27FC236}">
                <a16:creationId xmlns:a16="http://schemas.microsoft.com/office/drawing/2014/main" id="{8DE726BE-B801-62AD-92DB-617433ABF1A7}"/>
              </a:ext>
            </a:extLst>
          </p:cNvPr>
          <p:cNvSpPr txBox="1"/>
          <p:nvPr/>
        </p:nvSpPr>
        <p:spPr>
          <a:xfrm>
            <a:off x="5823361" y="3340232"/>
            <a:ext cx="8481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165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Acervos digitais</a:t>
            </a:r>
          </a:p>
        </p:txBody>
      </p:sp>
      <p:grpSp>
        <p:nvGrpSpPr>
          <p:cNvPr id="1285" name="Agrupar 1284">
            <a:extLst>
              <a:ext uri="{FF2B5EF4-FFF2-40B4-BE49-F238E27FC236}">
                <a16:creationId xmlns:a16="http://schemas.microsoft.com/office/drawing/2014/main" id="{4AD7A182-C29D-B949-9A25-5907D396B404}"/>
              </a:ext>
            </a:extLst>
          </p:cNvPr>
          <p:cNvGrpSpPr/>
          <p:nvPr/>
        </p:nvGrpSpPr>
        <p:grpSpPr>
          <a:xfrm>
            <a:off x="3825097" y="3128663"/>
            <a:ext cx="532505" cy="480258"/>
            <a:chOff x="1836280" y="2728063"/>
            <a:chExt cx="532505" cy="480258"/>
          </a:xfrm>
        </p:grpSpPr>
        <p:sp>
          <p:nvSpPr>
            <p:cNvPr id="1286" name="CaixaDeTexto 1285">
              <a:extLst>
                <a:ext uri="{FF2B5EF4-FFF2-40B4-BE49-F238E27FC236}">
                  <a16:creationId xmlns:a16="http://schemas.microsoft.com/office/drawing/2014/main" id="{BAF598C8-80CF-F135-BE46-668DEE042BD0}"/>
                </a:ext>
              </a:extLst>
            </p:cNvPr>
            <p:cNvSpPr txBox="1"/>
            <p:nvPr/>
          </p:nvSpPr>
          <p:spPr>
            <a:xfrm>
              <a:off x="1836280" y="2977489"/>
              <a:ext cx="532505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3165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Mobile</a:t>
              </a:r>
            </a:p>
          </p:txBody>
        </p:sp>
        <p:sp>
          <p:nvSpPr>
            <p:cNvPr id="1287" name="Forma">
              <a:extLst>
                <a:ext uri="{FF2B5EF4-FFF2-40B4-BE49-F238E27FC236}">
                  <a16:creationId xmlns:a16="http://schemas.microsoft.com/office/drawing/2014/main" id="{CF40E4B7-B0D0-7A07-BC7E-446F9BF53FF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26902" y="2728063"/>
              <a:ext cx="151261" cy="252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018" y="950"/>
                  </a:moveTo>
                  <a:cubicBezTo>
                    <a:pt x="21073" y="1583"/>
                    <a:pt x="21600" y="2347"/>
                    <a:pt x="21600" y="3241"/>
                  </a:cubicBezTo>
                  <a:lnTo>
                    <a:pt x="21600" y="18359"/>
                  </a:lnTo>
                  <a:cubicBezTo>
                    <a:pt x="21600" y="19254"/>
                    <a:pt x="21073" y="20017"/>
                    <a:pt x="20018" y="20650"/>
                  </a:cubicBezTo>
                  <a:cubicBezTo>
                    <a:pt x="18963" y="21283"/>
                    <a:pt x="17690" y="21600"/>
                    <a:pt x="16200" y="21600"/>
                  </a:cubicBezTo>
                  <a:lnTo>
                    <a:pt x="5400" y="21600"/>
                  </a:lnTo>
                  <a:cubicBezTo>
                    <a:pt x="3909" y="21600"/>
                    <a:pt x="2637" y="21283"/>
                    <a:pt x="1582" y="20650"/>
                  </a:cubicBezTo>
                  <a:cubicBezTo>
                    <a:pt x="527" y="20017"/>
                    <a:pt x="0" y="19254"/>
                    <a:pt x="0" y="18359"/>
                  </a:cubicBezTo>
                  <a:lnTo>
                    <a:pt x="0" y="3241"/>
                  </a:lnTo>
                  <a:cubicBezTo>
                    <a:pt x="0" y="2347"/>
                    <a:pt x="527" y="1583"/>
                    <a:pt x="1582" y="950"/>
                  </a:cubicBezTo>
                  <a:cubicBezTo>
                    <a:pt x="2637" y="317"/>
                    <a:pt x="3909" y="0"/>
                    <a:pt x="5400" y="0"/>
                  </a:cubicBezTo>
                  <a:lnTo>
                    <a:pt x="16200" y="0"/>
                  </a:lnTo>
                  <a:cubicBezTo>
                    <a:pt x="17690" y="0"/>
                    <a:pt x="18963" y="317"/>
                    <a:pt x="20018" y="950"/>
                  </a:cubicBezTo>
                  <a:lnTo>
                    <a:pt x="20018" y="950"/>
                  </a:lnTo>
                  <a:close/>
                  <a:moveTo>
                    <a:pt x="19786" y="18359"/>
                  </a:moveTo>
                  <a:lnTo>
                    <a:pt x="19786" y="16206"/>
                  </a:lnTo>
                  <a:lnTo>
                    <a:pt x="1814" y="16206"/>
                  </a:lnTo>
                  <a:lnTo>
                    <a:pt x="1814" y="18359"/>
                  </a:lnTo>
                  <a:cubicBezTo>
                    <a:pt x="1814" y="18950"/>
                    <a:pt x="2165" y="19456"/>
                    <a:pt x="2869" y="19878"/>
                  </a:cubicBezTo>
                  <a:cubicBezTo>
                    <a:pt x="3571" y="20300"/>
                    <a:pt x="4415" y="20511"/>
                    <a:pt x="5400" y="20511"/>
                  </a:cubicBezTo>
                  <a:lnTo>
                    <a:pt x="16200" y="20511"/>
                  </a:lnTo>
                  <a:cubicBezTo>
                    <a:pt x="17184" y="20511"/>
                    <a:pt x="18028" y="20300"/>
                    <a:pt x="18731" y="19878"/>
                  </a:cubicBezTo>
                  <a:cubicBezTo>
                    <a:pt x="19434" y="19456"/>
                    <a:pt x="19786" y="18950"/>
                    <a:pt x="19786" y="18359"/>
                  </a:cubicBezTo>
                  <a:lnTo>
                    <a:pt x="19786" y="18359"/>
                  </a:lnTo>
                  <a:lnTo>
                    <a:pt x="19786" y="18359"/>
                  </a:lnTo>
                  <a:close/>
                  <a:moveTo>
                    <a:pt x="19786" y="4305"/>
                  </a:moveTo>
                  <a:lnTo>
                    <a:pt x="1814" y="4305"/>
                  </a:lnTo>
                  <a:lnTo>
                    <a:pt x="1814" y="15117"/>
                  </a:lnTo>
                  <a:lnTo>
                    <a:pt x="19786" y="15117"/>
                  </a:lnTo>
                  <a:lnTo>
                    <a:pt x="19786" y="4305"/>
                  </a:lnTo>
                  <a:lnTo>
                    <a:pt x="19786" y="4305"/>
                  </a:lnTo>
                  <a:close/>
                  <a:moveTo>
                    <a:pt x="1814" y="3241"/>
                  </a:moveTo>
                  <a:lnTo>
                    <a:pt x="19786" y="3241"/>
                  </a:lnTo>
                  <a:cubicBezTo>
                    <a:pt x="19786" y="2634"/>
                    <a:pt x="19434" y="2119"/>
                    <a:pt x="18731" y="1697"/>
                  </a:cubicBezTo>
                  <a:cubicBezTo>
                    <a:pt x="18028" y="1275"/>
                    <a:pt x="17184" y="1064"/>
                    <a:pt x="16200" y="1064"/>
                  </a:cubicBezTo>
                  <a:lnTo>
                    <a:pt x="5400" y="1064"/>
                  </a:lnTo>
                  <a:cubicBezTo>
                    <a:pt x="4415" y="1064"/>
                    <a:pt x="3571" y="1275"/>
                    <a:pt x="2869" y="1697"/>
                  </a:cubicBezTo>
                  <a:cubicBezTo>
                    <a:pt x="2165" y="2119"/>
                    <a:pt x="1814" y="2634"/>
                    <a:pt x="1814" y="3241"/>
                  </a:cubicBezTo>
                  <a:lnTo>
                    <a:pt x="1814" y="3241"/>
                  </a:lnTo>
                  <a:lnTo>
                    <a:pt x="1814" y="3241"/>
                  </a:lnTo>
                  <a:close/>
                  <a:moveTo>
                    <a:pt x="8986" y="18359"/>
                  </a:moveTo>
                  <a:cubicBezTo>
                    <a:pt x="8986" y="18663"/>
                    <a:pt x="9161" y="18920"/>
                    <a:pt x="9513" y="19131"/>
                  </a:cubicBezTo>
                  <a:cubicBezTo>
                    <a:pt x="9865" y="19342"/>
                    <a:pt x="10294" y="19448"/>
                    <a:pt x="10800" y="19448"/>
                  </a:cubicBezTo>
                  <a:cubicBezTo>
                    <a:pt x="11306" y="19448"/>
                    <a:pt x="11735" y="19342"/>
                    <a:pt x="12087" y="19131"/>
                  </a:cubicBezTo>
                  <a:cubicBezTo>
                    <a:pt x="12438" y="18920"/>
                    <a:pt x="12614" y="18663"/>
                    <a:pt x="12614" y="18359"/>
                  </a:cubicBezTo>
                  <a:cubicBezTo>
                    <a:pt x="12614" y="18055"/>
                    <a:pt x="12438" y="17798"/>
                    <a:pt x="12087" y="17586"/>
                  </a:cubicBezTo>
                  <a:cubicBezTo>
                    <a:pt x="11735" y="17376"/>
                    <a:pt x="11306" y="17270"/>
                    <a:pt x="10800" y="17270"/>
                  </a:cubicBezTo>
                  <a:cubicBezTo>
                    <a:pt x="10294" y="17270"/>
                    <a:pt x="9865" y="17376"/>
                    <a:pt x="9513" y="17586"/>
                  </a:cubicBezTo>
                  <a:cubicBezTo>
                    <a:pt x="9161" y="17798"/>
                    <a:pt x="8986" y="18055"/>
                    <a:pt x="8986" y="18359"/>
                  </a:cubicBezTo>
                  <a:lnTo>
                    <a:pt x="8986" y="18359"/>
                  </a:lnTo>
                  <a:lnTo>
                    <a:pt x="8986" y="18359"/>
                  </a:lnTo>
                  <a:close/>
                  <a:moveTo>
                    <a:pt x="6286" y="7546"/>
                  </a:moveTo>
                  <a:cubicBezTo>
                    <a:pt x="6539" y="7546"/>
                    <a:pt x="6757" y="7495"/>
                    <a:pt x="6940" y="7394"/>
                  </a:cubicBezTo>
                  <a:cubicBezTo>
                    <a:pt x="7122" y="7293"/>
                    <a:pt x="7214" y="7166"/>
                    <a:pt x="7214" y="7014"/>
                  </a:cubicBezTo>
                  <a:lnTo>
                    <a:pt x="7214" y="5925"/>
                  </a:lnTo>
                  <a:cubicBezTo>
                    <a:pt x="7214" y="5791"/>
                    <a:pt x="7122" y="5668"/>
                    <a:pt x="6940" y="5558"/>
                  </a:cubicBezTo>
                  <a:cubicBezTo>
                    <a:pt x="6757" y="5449"/>
                    <a:pt x="6539" y="5394"/>
                    <a:pt x="6286" y="5394"/>
                  </a:cubicBezTo>
                  <a:lnTo>
                    <a:pt x="4514" y="5394"/>
                  </a:lnTo>
                  <a:cubicBezTo>
                    <a:pt x="4261" y="5394"/>
                    <a:pt x="4043" y="5449"/>
                    <a:pt x="3860" y="5558"/>
                  </a:cubicBezTo>
                  <a:cubicBezTo>
                    <a:pt x="3677" y="5668"/>
                    <a:pt x="3586" y="5791"/>
                    <a:pt x="3586" y="5925"/>
                  </a:cubicBezTo>
                  <a:lnTo>
                    <a:pt x="3586" y="7014"/>
                  </a:lnTo>
                  <a:cubicBezTo>
                    <a:pt x="3586" y="7166"/>
                    <a:pt x="3677" y="7293"/>
                    <a:pt x="3860" y="7394"/>
                  </a:cubicBezTo>
                  <a:cubicBezTo>
                    <a:pt x="4043" y="7495"/>
                    <a:pt x="4261" y="7546"/>
                    <a:pt x="4514" y="7546"/>
                  </a:cubicBezTo>
                  <a:lnTo>
                    <a:pt x="6286" y="7546"/>
                  </a:lnTo>
                  <a:lnTo>
                    <a:pt x="6286" y="7546"/>
                  </a:lnTo>
                  <a:lnTo>
                    <a:pt x="6286" y="7546"/>
                  </a:lnTo>
                  <a:close/>
                  <a:moveTo>
                    <a:pt x="12340" y="7394"/>
                  </a:moveTo>
                  <a:cubicBezTo>
                    <a:pt x="12522" y="7293"/>
                    <a:pt x="12614" y="7166"/>
                    <a:pt x="12614" y="7014"/>
                  </a:cubicBezTo>
                  <a:lnTo>
                    <a:pt x="12614" y="5925"/>
                  </a:lnTo>
                  <a:cubicBezTo>
                    <a:pt x="12614" y="5791"/>
                    <a:pt x="12522" y="5668"/>
                    <a:pt x="12340" y="5558"/>
                  </a:cubicBezTo>
                  <a:cubicBezTo>
                    <a:pt x="12157" y="5449"/>
                    <a:pt x="11939" y="5394"/>
                    <a:pt x="11686" y="5394"/>
                  </a:cubicBezTo>
                  <a:lnTo>
                    <a:pt x="9914" y="5394"/>
                  </a:lnTo>
                  <a:cubicBezTo>
                    <a:pt x="9661" y="5394"/>
                    <a:pt x="9443" y="5449"/>
                    <a:pt x="9260" y="5558"/>
                  </a:cubicBezTo>
                  <a:cubicBezTo>
                    <a:pt x="9077" y="5668"/>
                    <a:pt x="8986" y="5791"/>
                    <a:pt x="8986" y="5925"/>
                  </a:cubicBezTo>
                  <a:lnTo>
                    <a:pt x="8986" y="7014"/>
                  </a:lnTo>
                  <a:cubicBezTo>
                    <a:pt x="8986" y="7166"/>
                    <a:pt x="9077" y="7293"/>
                    <a:pt x="9260" y="7394"/>
                  </a:cubicBezTo>
                  <a:cubicBezTo>
                    <a:pt x="9443" y="7495"/>
                    <a:pt x="9661" y="7546"/>
                    <a:pt x="9914" y="7546"/>
                  </a:cubicBezTo>
                  <a:lnTo>
                    <a:pt x="11686" y="7546"/>
                  </a:lnTo>
                  <a:cubicBezTo>
                    <a:pt x="11939" y="7546"/>
                    <a:pt x="12157" y="7495"/>
                    <a:pt x="12340" y="7394"/>
                  </a:cubicBezTo>
                  <a:lnTo>
                    <a:pt x="12340" y="7394"/>
                  </a:lnTo>
                  <a:close/>
                  <a:moveTo>
                    <a:pt x="17740" y="7394"/>
                  </a:moveTo>
                  <a:cubicBezTo>
                    <a:pt x="17922" y="7293"/>
                    <a:pt x="18014" y="7166"/>
                    <a:pt x="18014" y="7014"/>
                  </a:cubicBezTo>
                  <a:lnTo>
                    <a:pt x="18014" y="5925"/>
                  </a:lnTo>
                  <a:cubicBezTo>
                    <a:pt x="18014" y="5791"/>
                    <a:pt x="17922" y="5668"/>
                    <a:pt x="17740" y="5558"/>
                  </a:cubicBezTo>
                  <a:cubicBezTo>
                    <a:pt x="17557" y="5449"/>
                    <a:pt x="17339" y="5394"/>
                    <a:pt x="17086" y="5394"/>
                  </a:cubicBezTo>
                  <a:lnTo>
                    <a:pt x="15314" y="5394"/>
                  </a:lnTo>
                  <a:cubicBezTo>
                    <a:pt x="15061" y="5394"/>
                    <a:pt x="14843" y="5449"/>
                    <a:pt x="14660" y="5558"/>
                  </a:cubicBezTo>
                  <a:cubicBezTo>
                    <a:pt x="14477" y="5668"/>
                    <a:pt x="14386" y="5791"/>
                    <a:pt x="14386" y="5925"/>
                  </a:cubicBezTo>
                  <a:lnTo>
                    <a:pt x="14386" y="7014"/>
                  </a:lnTo>
                  <a:cubicBezTo>
                    <a:pt x="14386" y="7166"/>
                    <a:pt x="14477" y="7293"/>
                    <a:pt x="14660" y="7394"/>
                  </a:cubicBezTo>
                  <a:cubicBezTo>
                    <a:pt x="14843" y="7495"/>
                    <a:pt x="15061" y="7546"/>
                    <a:pt x="15314" y="7546"/>
                  </a:cubicBezTo>
                  <a:lnTo>
                    <a:pt x="17086" y="7546"/>
                  </a:lnTo>
                  <a:cubicBezTo>
                    <a:pt x="17339" y="7546"/>
                    <a:pt x="17557" y="7495"/>
                    <a:pt x="17740" y="7394"/>
                  </a:cubicBezTo>
                  <a:lnTo>
                    <a:pt x="17740" y="7394"/>
                  </a:lnTo>
                  <a:close/>
                  <a:moveTo>
                    <a:pt x="6286" y="10787"/>
                  </a:moveTo>
                  <a:cubicBezTo>
                    <a:pt x="6539" y="10787"/>
                    <a:pt x="6757" y="10737"/>
                    <a:pt x="6940" y="10635"/>
                  </a:cubicBezTo>
                  <a:cubicBezTo>
                    <a:pt x="7122" y="10534"/>
                    <a:pt x="7214" y="10408"/>
                    <a:pt x="7214" y="10256"/>
                  </a:cubicBezTo>
                  <a:lnTo>
                    <a:pt x="7214" y="9167"/>
                  </a:lnTo>
                  <a:cubicBezTo>
                    <a:pt x="7214" y="9032"/>
                    <a:pt x="7122" y="8910"/>
                    <a:pt x="6940" y="8800"/>
                  </a:cubicBezTo>
                  <a:cubicBezTo>
                    <a:pt x="6757" y="8690"/>
                    <a:pt x="6539" y="8635"/>
                    <a:pt x="6286" y="8635"/>
                  </a:cubicBezTo>
                  <a:lnTo>
                    <a:pt x="4514" y="8635"/>
                  </a:lnTo>
                  <a:cubicBezTo>
                    <a:pt x="4261" y="8635"/>
                    <a:pt x="4043" y="8690"/>
                    <a:pt x="3860" y="8800"/>
                  </a:cubicBezTo>
                  <a:cubicBezTo>
                    <a:pt x="3677" y="8910"/>
                    <a:pt x="3586" y="9032"/>
                    <a:pt x="3586" y="9167"/>
                  </a:cubicBezTo>
                  <a:lnTo>
                    <a:pt x="3586" y="10256"/>
                  </a:lnTo>
                  <a:cubicBezTo>
                    <a:pt x="3586" y="10408"/>
                    <a:pt x="3677" y="10534"/>
                    <a:pt x="3860" y="10635"/>
                  </a:cubicBezTo>
                  <a:cubicBezTo>
                    <a:pt x="4043" y="10737"/>
                    <a:pt x="4261" y="10787"/>
                    <a:pt x="4514" y="10787"/>
                  </a:cubicBezTo>
                  <a:lnTo>
                    <a:pt x="6286" y="10787"/>
                  </a:lnTo>
                  <a:lnTo>
                    <a:pt x="6286" y="10787"/>
                  </a:lnTo>
                  <a:lnTo>
                    <a:pt x="6286" y="10787"/>
                  </a:lnTo>
                  <a:close/>
                  <a:moveTo>
                    <a:pt x="12340" y="10635"/>
                  </a:moveTo>
                  <a:cubicBezTo>
                    <a:pt x="12522" y="10534"/>
                    <a:pt x="12614" y="10408"/>
                    <a:pt x="12614" y="10256"/>
                  </a:cubicBezTo>
                  <a:lnTo>
                    <a:pt x="12614" y="9167"/>
                  </a:lnTo>
                  <a:cubicBezTo>
                    <a:pt x="12614" y="9032"/>
                    <a:pt x="12522" y="8910"/>
                    <a:pt x="12340" y="8800"/>
                  </a:cubicBezTo>
                  <a:cubicBezTo>
                    <a:pt x="12157" y="8690"/>
                    <a:pt x="11939" y="8635"/>
                    <a:pt x="11686" y="8635"/>
                  </a:cubicBezTo>
                  <a:lnTo>
                    <a:pt x="9914" y="8635"/>
                  </a:lnTo>
                  <a:cubicBezTo>
                    <a:pt x="9661" y="8635"/>
                    <a:pt x="9443" y="8690"/>
                    <a:pt x="9260" y="8800"/>
                  </a:cubicBezTo>
                  <a:cubicBezTo>
                    <a:pt x="9077" y="8910"/>
                    <a:pt x="8986" y="9032"/>
                    <a:pt x="8986" y="9167"/>
                  </a:cubicBezTo>
                  <a:lnTo>
                    <a:pt x="8986" y="10256"/>
                  </a:lnTo>
                  <a:cubicBezTo>
                    <a:pt x="8986" y="10408"/>
                    <a:pt x="9077" y="10534"/>
                    <a:pt x="9260" y="10635"/>
                  </a:cubicBezTo>
                  <a:cubicBezTo>
                    <a:pt x="9443" y="10737"/>
                    <a:pt x="9661" y="10787"/>
                    <a:pt x="9914" y="10787"/>
                  </a:cubicBezTo>
                  <a:lnTo>
                    <a:pt x="11686" y="10787"/>
                  </a:lnTo>
                  <a:cubicBezTo>
                    <a:pt x="11939" y="10787"/>
                    <a:pt x="12157" y="10737"/>
                    <a:pt x="12340" y="10635"/>
                  </a:cubicBezTo>
                  <a:lnTo>
                    <a:pt x="12340" y="10635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miter lim="400000"/>
            </a:ln>
          </p:spPr>
          <p:txBody>
            <a:bodyPr lIns="27428" tIns="27428" rIns="27428" bIns="27428" anchor="ctr"/>
            <a:lstStyle/>
            <a:p>
              <a:pPr marL="0" marR="0" lvl="0" indent="0" algn="l" defTabSz="3291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b="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lang="pt-BR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sym typeface="Gill Sans"/>
              </a:endParaRPr>
            </a:p>
          </p:txBody>
        </p:sp>
      </p:grpSp>
      <p:grpSp>
        <p:nvGrpSpPr>
          <p:cNvPr id="1288" name="Agrupar 1287">
            <a:extLst>
              <a:ext uri="{FF2B5EF4-FFF2-40B4-BE49-F238E27FC236}">
                <a16:creationId xmlns:a16="http://schemas.microsoft.com/office/drawing/2014/main" id="{32616325-7257-329A-5A3F-CF5503BF6D51}"/>
              </a:ext>
            </a:extLst>
          </p:cNvPr>
          <p:cNvGrpSpPr/>
          <p:nvPr/>
        </p:nvGrpSpPr>
        <p:grpSpPr>
          <a:xfrm>
            <a:off x="9111086" y="3043413"/>
            <a:ext cx="631908" cy="463049"/>
            <a:chOff x="1794065" y="3269051"/>
            <a:chExt cx="631907" cy="463049"/>
          </a:xfrm>
        </p:grpSpPr>
        <p:sp>
          <p:nvSpPr>
            <p:cNvPr id="1289" name="CaixaDeTexto 1288">
              <a:extLst>
                <a:ext uri="{FF2B5EF4-FFF2-40B4-BE49-F238E27FC236}">
                  <a16:creationId xmlns:a16="http://schemas.microsoft.com/office/drawing/2014/main" id="{4F922BE4-A255-A54D-1864-8AEE8AB8F989}"/>
                </a:ext>
              </a:extLst>
            </p:cNvPr>
            <p:cNvSpPr txBox="1"/>
            <p:nvPr/>
          </p:nvSpPr>
          <p:spPr>
            <a:xfrm>
              <a:off x="1794065" y="3501268"/>
              <a:ext cx="63190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3165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Hub</a:t>
              </a:r>
            </a:p>
          </p:txBody>
        </p:sp>
        <p:sp>
          <p:nvSpPr>
            <p:cNvPr id="1290" name="Forma">
              <a:extLst>
                <a:ext uri="{FF2B5EF4-FFF2-40B4-BE49-F238E27FC236}">
                  <a16:creationId xmlns:a16="http://schemas.microsoft.com/office/drawing/2014/main" id="{3E46D1A6-23CA-9A86-42FD-A4920CC6E75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56127" y="3269051"/>
              <a:ext cx="307782" cy="252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62" y="21417"/>
                  </a:moveTo>
                  <a:cubicBezTo>
                    <a:pt x="21554" y="21295"/>
                    <a:pt x="21600" y="21160"/>
                    <a:pt x="21600" y="21009"/>
                  </a:cubicBezTo>
                  <a:cubicBezTo>
                    <a:pt x="21600" y="20841"/>
                    <a:pt x="21554" y="20696"/>
                    <a:pt x="21462" y="20573"/>
                  </a:cubicBezTo>
                  <a:cubicBezTo>
                    <a:pt x="21370" y="20452"/>
                    <a:pt x="21255" y="20391"/>
                    <a:pt x="21116" y="20391"/>
                  </a:cubicBezTo>
                  <a:lnTo>
                    <a:pt x="484" y="20391"/>
                  </a:lnTo>
                  <a:cubicBezTo>
                    <a:pt x="345" y="20391"/>
                    <a:pt x="230" y="20452"/>
                    <a:pt x="138" y="20573"/>
                  </a:cubicBezTo>
                  <a:cubicBezTo>
                    <a:pt x="46" y="20696"/>
                    <a:pt x="0" y="20841"/>
                    <a:pt x="0" y="21009"/>
                  </a:cubicBezTo>
                  <a:cubicBezTo>
                    <a:pt x="0" y="21160"/>
                    <a:pt x="46" y="21295"/>
                    <a:pt x="138" y="21417"/>
                  </a:cubicBezTo>
                  <a:cubicBezTo>
                    <a:pt x="230" y="21539"/>
                    <a:pt x="345" y="21600"/>
                    <a:pt x="484" y="21600"/>
                  </a:cubicBezTo>
                  <a:lnTo>
                    <a:pt x="21116" y="21600"/>
                  </a:lnTo>
                  <a:lnTo>
                    <a:pt x="21116" y="21600"/>
                  </a:lnTo>
                  <a:lnTo>
                    <a:pt x="21116" y="21600"/>
                  </a:lnTo>
                  <a:cubicBezTo>
                    <a:pt x="21255" y="21600"/>
                    <a:pt x="21370" y="21539"/>
                    <a:pt x="21462" y="21417"/>
                  </a:cubicBezTo>
                  <a:lnTo>
                    <a:pt x="21462" y="21417"/>
                  </a:lnTo>
                  <a:close/>
                  <a:moveTo>
                    <a:pt x="19643" y="15609"/>
                  </a:moveTo>
                  <a:lnTo>
                    <a:pt x="1957" y="15609"/>
                  </a:lnTo>
                  <a:lnTo>
                    <a:pt x="1957" y="1209"/>
                  </a:lnTo>
                  <a:lnTo>
                    <a:pt x="19643" y="1209"/>
                  </a:lnTo>
                  <a:lnTo>
                    <a:pt x="19643" y="15609"/>
                  </a:lnTo>
                  <a:lnTo>
                    <a:pt x="19643" y="15609"/>
                  </a:lnTo>
                  <a:close/>
                  <a:moveTo>
                    <a:pt x="1957" y="0"/>
                  </a:moveTo>
                  <a:cubicBezTo>
                    <a:pt x="1681" y="0"/>
                    <a:pt x="1447" y="117"/>
                    <a:pt x="1255" y="352"/>
                  </a:cubicBezTo>
                  <a:cubicBezTo>
                    <a:pt x="1063" y="586"/>
                    <a:pt x="967" y="872"/>
                    <a:pt x="967" y="1209"/>
                  </a:cubicBezTo>
                  <a:lnTo>
                    <a:pt x="967" y="15609"/>
                  </a:lnTo>
                  <a:cubicBezTo>
                    <a:pt x="967" y="15928"/>
                    <a:pt x="1063" y="16205"/>
                    <a:pt x="1255" y="16439"/>
                  </a:cubicBezTo>
                  <a:cubicBezTo>
                    <a:pt x="1447" y="16674"/>
                    <a:pt x="1681" y="16791"/>
                    <a:pt x="1957" y="16791"/>
                  </a:cubicBezTo>
                  <a:lnTo>
                    <a:pt x="19643" y="16791"/>
                  </a:lnTo>
                  <a:cubicBezTo>
                    <a:pt x="19919" y="16791"/>
                    <a:pt x="20153" y="16674"/>
                    <a:pt x="20345" y="16439"/>
                  </a:cubicBezTo>
                  <a:cubicBezTo>
                    <a:pt x="20537" y="16205"/>
                    <a:pt x="20633" y="15928"/>
                    <a:pt x="20633" y="15609"/>
                  </a:cubicBezTo>
                  <a:lnTo>
                    <a:pt x="20633" y="1209"/>
                  </a:lnTo>
                  <a:cubicBezTo>
                    <a:pt x="20633" y="872"/>
                    <a:pt x="20537" y="586"/>
                    <a:pt x="20345" y="352"/>
                  </a:cubicBezTo>
                  <a:cubicBezTo>
                    <a:pt x="20153" y="117"/>
                    <a:pt x="19919" y="0"/>
                    <a:pt x="19643" y="0"/>
                  </a:cubicBezTo>
                  <a:lnTo>
                    <a:pt x="1957" y="0"/>
                  </a:lnTo>
                  <a:lnTo>
                    <a:pt x="1957" y="0"/>
                  </a:lnTo>
                  <a:close/>
                  <a:moveTo>
                    <a:pt x="15221" y="2391"/>
                  </a:moveTo>
                  <a:cubicBezTo>
                    <a:pt x="15359" y="2391"/>
                    <a:pt x="15475" y="2452"/>
                    <a:pt x="15567" y="2573"/>
                  </a:cubicBezTo>
                  <a:cubicBezTo>
                    <a:pt x="15659" y="2696"/>
                    <a:pt x="15705" y="2841"/>
                    <a:pt x="15705" y="3009"/>
                  </a:cubicBezTo>
                  <a:lnTo>
                    <a:pt x="15705" y="4191"/>
                  </a:lnTo>
                  <a:cubicBezTo>
                    <a:pt x="15705" y="4359"/>
                    <a:pt x="15659" y="4505"/>
                    <a:pt x="15567" y="4627"/>
                  </a:cubicBezTo>
                  <a:cubicBezTo>
                    <a:pt x="15475" y="4749"/>
                    <a:pt x="15359" y="4809"/>
                    <a:pt x="15221" y="4809"/>
                  </a:cubicBezTo>
                  <a:lnTo>
                    <a:pt x="14231" y="4809"/>
                  </a:lnTo>
                  <a:cubicBezTo>
                    <a:pt x="14108" y="4809"/>
                    <a:pt x="13997" y="4749"/>
                    <a:pt x="13897" y="4627"/>
                  </a:cubicBezTo>
                  <a:cubicBezTo>
                    <a:pt x="13797" y="4505"/>
                    <a:pt x="13748" y="4359"/>
                    <a:pt x="13748" y="4191"/>
                  </a:cubicBezTo>
                  <a:lnTo>
                    <a:pt x="13748" y="3009"/>
                  </a:lnTo>
                  <a:cubicBezTo>
                    <a:pt x="13748" y="2841"/>
                    <a:pt x="13797" y="2696"/>
                    <a:pt x="13897" y="2573"/>
                  </a:cubicBezTo>
                  <a:cubicBezTo>
                    <a:pt x="13997" y="2452"/>
                    <a:pt x="14108" y="2391"/>
                    <a:pt x="14231" y="2391"/>
                  </a:cubicBezTo>
                  <a:lnTo>
                    <a:pt x="15221" y="2391"/>
                  </a:lnTo>
                  <a:lnTo>
                    <a:pt x="15221" y="2391"/>
                  </a:lnTo>
                  <a:lnTo>
                    <a:pt x="15221" y="2391"/>
                  </a:lnTo>
                  <a:close/>
                  <a:moveTo>
                    <a:pt x="18169" y="2391"/>
                  </a:moveTo>
                  <a:cubicBezTo>
                    <a:pt x="18307" y="2391"/>
                    <a:pt x="18422" y="2452"/>
                    <a:pt x="18514" y="2573"/>
                  </a:cubicBezTo>
                  <a:cubicBezTo>
                    <a:pt x="18606" y="2696"/>
                    <a:pt x="18652" y="2841"/>
                    <a:pt x="18652" y="3009"/>
                  </a:cubicBezTo>
                  <a:lnTo>
                    <a:pt x="18652" y="4191"/>
                  </a:lnTo>
                  <a:cubicBezTo>
                    <a:pt x="18652" y="4359"/>
                    <a:pt x="18606" y="4505"/>
                    <a:pt x="18514" y="4627"/>
                  </a:cubicBezTo>
                  <a:cubicBezTo>
                    <a:pt x="18422" y="4749"/>
                    <a:pt x="18307" y="4809"/>
                    <a:pt x="18169" y="4809"/>
                  </a:cubicBezTo>
                  <a:lnTo>
                    <a:pt x="17179" y="4809"/>
                  </a:lnTo>
                  <a:cubicBezTo>
                    <a:pt x="17056" y="4809"/>
                    <a:pt x="16944" y="4749"/>
                    <a:pt x="16845" y="4627"/>
                  </a:cubicBezTo>
                  <a:cubicBezTo>
                    <a:pt x="16745" y="4505"/>
                    <a:pt x="16695" y="4359"/>
                    <a:pt x="16695" y="4191"/>
                  </a:cubicBezTo>
                  <a:lnTo>
                    <a:pt x="16695" y="3009"/>
                  </a:lnTo>
                  <a:cubicBezTo>
                    <a:pt x="16695" y="2841"/>
                    <a:pt x="16745" y="2696"/>
                    <a:pt x="16845" y="2573"/>
                  </a:cubicBezTo>
                  <a:cubicBezTo>
                    <a:pt x="16944" y="2452"/>
                    <a:pt x="17056" y="2391"/>
                    <a:pt x="17179" y="2391"/>
                  </a:cubicBezTo>
                  <a:lnTo>
                    <a:pt x="18169" y="2391"/>
                  </a:lnTo>
                  <a:lnTo>
                    <a:pt x="18169" y="2391"/>
                  </a:lnTo>
                  <a:lnTo>
                    <a:pt x="18169" y="2391"/>
                  </a:lnTo>
                  <a:close/>
                  <a:moveTo>
                    <a:pt x="15221" y="5991"/>
                  </a:moveTo>
                  <a:cubicBezTo>
                    <a:pt x="15359" y="5991"/>
                    <a:pt x="15475" y="6052"/>
                    <a:pt x="15567" y="6173"/>
                  </a:cubicBezTo>
                  <a:cubicBezTo>
                    <a:pt x="15659" y="6296"/>
                    <a:pt x="15705" y="6441"/>
                    <a:pt x="15705" y="6609"/>
                  </a:cubicBezTo>
                  <a:lnTo>
                    <a:pt x="15705" y="7791"/>
                  </a:lnTo>
                  <a:cubicBezTo>
                    <a:pt x="15705" y="7959"/>
                    <a:pt x="15659" y="8105"/>
                    <a:pt x="15567" y="8227"/>
                  </a:cubicBezTo>
                  <a:cubicBezTo>
                    <a:pt x="15475" y="8349"/>
                    <a:pt x="15359" y="8409"/>
                    <a:pt x="15221" y="8409"/>
                  </a:cubicBezTo>
                  <a:lnTo>
                    <a:pt x="14231" y="8409"/>
                  </a:lnTo>
                  <a:cubicBezTo>
                    <a:pt x="14108" y="8409"/>
                    <a:pt x="13997" y="8349"/>
                    <a:pt x="13897" y="8227"/>
                  </a:cubicBezTo>
                  <a:cubicBezTo>
                    <a:pt x="13797" y="8105"/>
                    <a:pt x="13748" y="7959"/>
                    <a:pt x="13748" y="7791"/>
                  </a:cubicBezTo>
                  <a:lnTo>
                    <a:pt x="13748" y="6609"/>
                  </a:lnTo>
                  <a:cubicBezTo>
                    <a:pt x="13748" y="6441"/>
                    <a:pt x="13797" y="6296"/>
                    <a:pt x="13897" y="6173"/>
                  </a:cubicBezTo>
                  <a:cubicBezTo>
                    <a:pt x="13997" y="6052"/>
                    <a:pt x="14108" y="5991"/>
                    <a:pt x="14231" y="5991"/>
                  </a:cubicBezTo>
                  <a:lnTo>
                    <a:pt x="15221" y="5991"/>
                  </a:lnTo>
                  <a:lnTo>
                    <a:pt x="15221" y="5991"/>
                  </a:lnTo>
                  <a:lnTo>
                    <a:pt x="15221" y="5991"/>
                  </a:lnTo>
                  <a:close/>
                  <a:moveTo>
                    <a:pt x="18169" y="5991"/>
                  </a:moveTo>
                  <a:cubicBezTo>
                    <a:pt x="18307" y="5991"/>
                    <a:pt x="18422" y="6052"/>
                    <a:pt x="18514" y="6173"/>
                  </a:cubicBezTo>
                  <a:cubicBezTo>
                    <a:pt x="18606" y="6296"/>
                    <a:pt x="18652" y="6441"/>
                    <a:pt x="18652" y="6609"/>
                  </a:cubicBezTo>
                  <a:lnTo>
                    <a:pt x="18652" y="7791"/>
                  </a:lnTo>
                  <a:cubicBezTo>
                    <a:pt x="18652" y="7959"/>
                    <a:pt x="18606" y="8105"/>
                    <a:pt x="18514" y="8227"/>
                  </a:cubicBezTo>
                  <a:cubicBezTo>
                    <a:pt x="18422" y="8349"/>
                    <a:pt x="18307" y="8409"/>
                    <a:pt x="18169" y="8409"/>
                  </a:cubicBezTo>
                  <a:lnTo>
                    <a:pt x="17179" y="8409"/>
                  </a:lnTo>
                  <a:cubicBezTo>
                    <a:pt x="17056" y="8409"/>
                    <a:pt x="16944" y="8349"/>
                    <a:pt x="16845" y="8227"/>
                  </a:cubicBezTo>
                  <a:cubicBezTo>
                    <a:pt x="16745" y="8105"/>
                    <a:pt x="16695" y="7959"/>
                    <a:pt x="16695" y="7791"/>
                  </a:cubicBezTo>
                  <a:lnTo>
                    <a:pt x="16695" y="6609"/>
                  </a:lnTo>
                  <a:cubicBezTo>
                    <a:pt x="16695" y="6441"/>
                    <a:pt x="16745" y="6296"/>
                    <a:pt x="16845" y="6173"/>
                  </a:cubicBezTo>
                  <a:cubicBezTo>
                    <a:pt x="16944" y="6052"/>
                    <a:pt x="17056" y="5991"/>
                    <a:pt x="17179" y="5991"/>
                  </a:cubicBezTo>
                  <a:lnTo>
                    <a:pt x="18169" y="5991"/>
                  </a:lnTo>
                  <a:lnTo>
                    <a:pt x="18169" y="5991"/>
                  </a:lnTo>
                  <a:lnTo>
                    <a:pt x="18169" y="5991"/>
                  </a:lnTo>
                  <a:close/>
                  <a:moveTo>
                    <a:pt x="18169" y="9591"/>
                  </a:moveTo>
                  <a:cubicBezTo>
                    <a:pt x="18307" y="9591"/>
                    <a:pt x="18422" y="9652"/>
                    <a:pt x="18514" y="9773"/>
                  </a:cubicBezTo>
                  <a:cubicBezTo>
                    <a:pt x="18606" y="9896"/>
                    <a:pt x="18652" y="10041"/>
                    <a:pt x="18652" y="10209"/>
                  </a:cubicBezTo>
                  <a:lnTo>
                    <a:pt x="18652" y="11391"/>
                  </a:lnTo>
                  <a:cubicBezTo>
                    <a:pt x="18652" y="11559"/>
                    <a:pt x="18606" y="11705"/>
                    <a:pt x="18514" y="11827"/>
                  </a:cubicBezTo>
                  <a:cubicBezTo>
                    <a:pt x="18422" y="11949"/>
                    <a:pt x="18307" y="12009"/>
                    <a:pt x="18169" y="12009"/>
                  </a:cubicBezTo>
                  <a:lnTo>
                    <a:pt x="17179" y="12009"/>
                  </a:lnTo>
                  <a:cubicBezTo>
                    <a:pt x="17056" y="12009"/>
                    <a:pt x="16944" y="11949"/>
                    <a:pt x="16845" y="11827"/>
                  </a:cubicBezTo>
                  <a:cubicBezTo>
                    <a:pt x="16745" y="11705"/>
                    <a:pt x="16695" y="11559"/>
                    <a:pt x="16695" y="11391"/>
                  </a:cubicBezTo>
                  <a:lnTo>
                    <a:pt x="16695" y="10209"/>
                  </a:lnTo>
                  <a:cubicBezTo>
                    <a:pt x="16695" y="10041"/>
                    <a:pt x="16745" y="9896"/>
                    <a:pt x="16845" y="9773"/>
                  </a:cubicBezTo>
                  <a:cubicBezTo>
                    <a:pt x="16944" y="9652"/>
                    <a:pt x="17056" y="9591"/>
                    <a:pt x="17179" y="9591"/>
                  </a:cubicBezTo>
                  <a:lnTo>
                    <a:pt x="18169" y="9591"/>
                  </a:lnTo>
                  <a:lnTo>
                    <a:pt x="18169" y="9591"/>
                  </a:lnTo>
                  <a:lnTo>
                    <a:pt x="18169" y="9591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miter lim="400000"/>
            </a:ln>
          </p:spPr>
          <p:txBody>
            <a:bodyPr lIns="27428" tIns="27428" rIns="27428" bIns="27428" anchor="ctr"/>
            <a:lstStyle/>
            <a:p>
              <a:pPr marL="0" marR="0" lvl="0" indent="0" algn="l" defTabSz="3291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b="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lang="pt-BR" sz="1296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sym typeface="Gill Sans"/>
              </a:endParaRPr>
            </a:p>
          </p:txBody>
        </p:sp>
      </p:grpSp>
      <p:grpSp>
        <p:nvGrpSpPr>
          <p:cNvPr id="1219" name="Agrupar 1218">
            <a:extLst>
              <a:ext uri="{FF2B5EF4-FFF2-40B4-BE49-F238E27FC236}">
                <a16:creationId xmlns:a16="http://schemas.microsoft.com/office/drawing/2014/main" id="{8898F2CB-2AA0-930A-2586-9C4584EB8992}"/>
              </a:ext>
            </a:extLst>
          </p:cNvPr>
          <p:cNvGrpSpPr/>
          <p:nvPr/>
        </p:nvGrpSpPr>
        <p:grpSpPr>
          <a:xfrm>
            <a:off x="1667611" y="1891139"/>
            <a:ext cx="848110" cy="577532"/>
            <a:chOff x="1671462" y="2183867"/>
            <a:chExt cx="848111" cy="577531"/>
          </a:xfrm>
        </p:grpSpPr>
        <p:sp>
          <p:nvSpPr>
            <p:cNvPr id="1200" name="Forma">
              <a:extLst>
                <a:ext uri="{FF2B5EF4-FFF2-40B4-BE49-F238E27FC236}">
                  <a16:creationId xmlns:a16="http://schemas.microsoft.com/office/drawing/2014/main" id="{BA160F35-B8C6-3ABF-BAD7-6D638C06A5B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00980" y="2183867"/>
              <a:ext cx="189075" cy="252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12285" y="0"/>
                    <a:pt x="13680" y="203"/>
                    <a:pt x="14985" y="608"/>
                  </a:cubicBezTo>
                  <a:cubicBezTo>
                    <a:pt x="16312" y="1030"/>
                    <a:pt x="17460" y="1604"/>
                    <a:pt x="18428" y="2330"/>
                  </a:cubicBezTo>
                  <a:cubicBezTo>
                    <a:pt x="19395" y="3056"/>
                    <a:pt x="20171" y="3900"/>
                    <a:pt x="20756" y="4862"/>
                  </a:cubicBezTo>
                  <a:cubicBezTo>
                    <a:pt x="21318" y="5841"/>
                    <a:pt x="21600" y="6879"/>
                    <a:pt x="21600" y="7977"/>
                  </a:cubicBezTo>
                  <a:cubicBezTo>
                    <a:pt x="21600" y="9074"/>
                    <a:pt x="21037" y="10399"/>
                    <a:pt x="19913" y="11952"/>
                  </a:cubicBezTo>
                  <a:cubicBezTo>
                    <a:pt x="18787" y="13522"/>
                    <a:pt x="17550" y="15020"/>
                    <a:pt x="16200" y="16447"/>
                  </a:cubicBezTo>
                  <a:cubicBezTo>
                    <a:pt x="14850" y="17874"/>
                    <a:pt x="13612" y="19085"/>
                    <a:pt x="12488" y="20081"/>
                  </a:cubicBezTo>
                  <a:lnTo>
                    <a:pt x="10800" y="21600"/>
                  </a:lnTo>
                  <a:lnTo>
                    <a:pt x="9113" y="20081"/>
                  </a:lnTo>
                  <a:cubicBezTo>
                    <a:pt x="7987" y="19085"/>
                    <a:pt x="6750" y="17874"/>
                    <a:pt x="5400" y="16447"/>
                  </a:cubicBezTo>
                  <a:cubicBezTo>
                    <a:pt x="4050" y="15020"/>
                    <a:pt x="2812" y="13522"/>
                    <a:pt x="1687" y="11952"/>
                  </a:cubicBezTo>
                  <a:cubicBezTo>
                    <a:pt x="562" y="10399"/>
                    <a:pt x="0" y="9074"/>
                    <a:pt x="0" y="7977"/>
                  </a:cubicBezTo>
                  <a:cubicBezTo>
                    <a:pt x="0" y="6879"/>
                    <a:pt x="281" y="5841"/>
                    <a:pt x="844" y="4862"/>
                  </a:cubicBezTo>
                  <a:cubicBezTo>
                    <a:pt x="1406" y="3900"/>
                    <a:pt x="2177" y="3056"/>
                    <a:pt x="3156" y="2330"/>
                  </a:cubicBezTo>
                  <a:cubicBezTo>
                    <a:pt x="4134" y="1604"/>
                    <a:pt x="5276" y="1030"/>
                    <a:pt x="6581" y="608"/>
                  </a:cubicBezTo>
                  <a:cubicBezTo>
                    <a:pt x="7886" y="203"/>
                    <a:pt x="9292" y="0"/>
                    <a:pt x="10800" y="0"/>
                  </a:cubicBezTo>
                  <a:lnTo>
                    <a:pt x="10800" y="0"/>
                  </a:lnTo>
                  <a:lnTo>
                    <a:pt x="10800" y="0"/>
                  </a:lnTo>
                  <a:lnTo>
                    <a:pt x="10800" y="0"/>
                  </a:lnTo>
                  <a:lnTo>
                    <a:pt x="10800" y="0"/>
                  </a:lnTo>
                  <a:close/>
                  <a:moveTo>
                    <a:pt x="15019" y="15801"/>
                  </a:moveTo>
                  <a:cubicBezTo>
                    <a:pt x="15783" y="14991"/>
                    <a:pt x="16470" y="14223"/>
                    <a:pt x="17078" y="13497"/>
                  </a:cubicBezTo>
                  <a:cubicBezTo>
                    <a:pt x="17685" y="12771"/>
                    <a:pt x="18202" y="12096"/>
                    <a:pt x="18630" y="11471"/>
                  </a:cubicBezTo>
                  <a:cubicBezTo>
                    <a:pt x="19260" y="10543"/>
                    <a:pt x="19670" y="9800"/>
                    <a:pt x="19862" y="9243"/>
                  </a:cubicBezTo>
                  <a:cubicBezTo>
                    <a:pt x="20053" y="8686"/>
                    <a:pt x="20149" y="8264"/>
                    <a:pt x="20149" y="7977"/>
                  </a:cubicBezTo>
                  <a:cubicBezTo>
                    <a:pt x="20149" y="7504"/>
                    <a:pt x="20087" y="7044"/>
                    <a:pt x="19963" y="6596"/>
                  </a:cubicBezTo>
                  <a:cubicBezTo>
                    <a:pt x="19839" y="6149"/>
                    <a:pt x="19654" y="5714"/>
                    <a:pt x="19406" y="5292"/>
                  </a:cubicBezTo>
                  <a:cubicBezTo>
                    <a:pt x="19181" y="4887"/>
                    <a:pt x="18900" y="4499"/>
                    <a:pt x="18563" y="4128"/>
                  </a:cubicBezTo>
                  <a:cubicBezTo>
                    <a:pt x="18225" y="3756"/>
                    <a:pt x="17842" y="3410"/>
                    <a:pt x="17415" y="3089"/>
                  </a:cubicBezTo>
                  <a:cubicBezTo>
                    <a:pt x="16987" y="2785"/>
                    <a:pt x="16526" y="2507"/>
                    <a:pt x="16031" y="2254"/>
                  </a:cubicBezTo>
                  <a:cubicBezTo>
                    <a:pt x="15536" y="2000"/>
                    <a:pt x="15007" y="1789"/>
                    <a:pt x="14445" y="1621"/>
                  </a:cubicBezTo>
                  <a:cubicBezTo>
                    <a:pt x="13860" y="1435"/>
                    <a:pt x="13264" y="1296"/>
                    <a:pt x="12656" y="1203"/>
                  </a:cubicBezTo>
                  <a:cubicBezTo>
                    <a:pt x="12049" y="1110"/>
                    <a:pt x="11430" y="1064"/>
                    <a:pt x="10800" y="1064"/>
                  </a:cubicBezTo>
                  <a:cubicBezTo>
                    <a:pt x="10170" y="1064"/>
                    <a:pt x="9545" y="1110"/>
                    <a:pt x="8927" y="1203"/>
                  </a:cubicBezTo>
                  <a:cubicBezTo>
                    <a:pt x="8308" y="1296"/>
                    <a:pt x="7717" y="1435"/>
                    <a:pt x="7155" y="1621"/>
                  </a:cubicBezTo>
                  <a:cubicBezTo>
                    <a:pt x="6592" y="1789"/>
                    <a:pt x="6058" y="2000"/>
                    <a:pt x="5552" y="2254"/>
                  </a:cubicBezTo>
                  <a:cubicBezTo>
                    <a:pt x="5046" y="2507"/>
                    <a:pt x="4578" y="2785"/>
                    <a:pt x="4151" y="3089"/>
                  </a:cubicBezTo>
                  <a:cubicBezTo>
                    <a:pt x="3724" y="3410"/>
                    <a:pt x="3341" y="3756"/>
                    <a:pt x="3004" y="4128"/>
                  </a:cubicBezTo>
                  <a:cubicBezTo>
                    <a:pt x="2666" y="4499"/>
                    <a:pt x="2385" y="4887"/>
                    <a:pt x="2160" y="5292"/>
                  </a:cubicBezTo>
                  <a:cubicBezTo>
                    <a:pt x="1912" y="5714"/>
                    <a:pt x="1727" y="6149"/>
                    <a:pt x="1603" y="6596"/>
                  </a:cubicBezTo>
                  <a:cubicBezTo>
                    <a:pt x="1479" y="7044"/>
                    <a:pt x="1417" y="7504"/>
                    <a:pt x="1417" y="7977"/>
                  </a:cubicBezTo>
                  <a:cubicBezTo>
                    <a:pt x="1417" y="8264"/>
                    <a:pt x="1519" y="8686"/>
                    <a:pt x="1721" y="9243"/>
                  </a:cubicBezTo>
                  <a:cubicBezTo>
                    <a:pt x="1924" y="9800"/>
                    <a:pt x="2340" y="10543"/>
                    <a:pt x="2970" y="11471"/>
                  </a:cubicBezTo>
                  <a:cubicBezTo>
                    <a:pt x="3397" y="12096"/>
                    <a:pt x="3915" y="12775"/>
                    <a:pt x="4523" y="13509"/>
                  </a:cubicBezTo>
                  <a:cubicBezTo>
                    <a:pt x="5130" y="14244"/>
                    <a:pt x="5805" y="15016"/>
                    <a:pt x="6547" y="15826"/>
                  </a:cubicBezTo>
                  <a:cubicBezTo>
                    <a:pt x="7358" y="16671"/>
                    <a:pt x="8139" y="17451"/>
                    <a:pt x="8893" y="18169"/>
                  </a:cubicBezTo>
                  <a:cubicBezTo>
                    <a:pt x="9647" y="18887"/>
                    <a:pt x="10282" y="19473"/>
                    <a:pt x="10800" y="19929"/>
                  </a:cubicBezTo>
                  <a:cubicBezTo>
                    <a:pt x="11295" y="19473"/>
                    <a:pt x="11925" y="18882"/>
                    <a:pt x="12690" y="18156"/>
                  </a:cubicBezTo>
                  <a:cubicBezTo>
                    <a:pt x="13455" y="17431"/>
                    <a:pt x="14231" y="16646"/>
                    <a:pt x="15019" y="15801"/>
                  </a:cubicBezTo>
                  <a:lnTo>
                    <a:pt x="15019" y="15801"/>
                  </a:lnTo>
                  <a:lnTo>
                    <a:pt x="15019" y="15801"/>
                  </a:lnTo>
                  <a:close/>
                  <a:moveTo>
                    <a:pt x="10800" y="3241"/>
                  </a:moveTo>
                  <a:cubicBezTo>
                    <a:pt x="12195" y="3241"/>
                    <a:pt x="13382" y="3608"/>
                    <a:pt x="14361" y="4343"/>
                  </a:cubicBezTo>
                  <a:cubicBezTo>
                    <a:pt x="15339" y="5077"/>
                    <a:pt x="15829" y="5968"/>
                    <a:pt x="15829" y="7014"/>
                  </a:cubicBezTo>
                  <a:cubicBezTo>
                    <a:pt x="15829" y="8061"/>
                    <a:pt x="15339" y="8951"/>
                    <a:pt x="14361" y="9686"/>
                  </a:cubicBezTo>
                  <a:cubicBezTo>
                    <a:pt x="13382" y="10420"/>
                    <a:pt x="12195" y="10787"/>
                    <a:pt x="10800" y="10787"/>
                  </a:cubicBezTo>
                  <a:cubicBezTo>
                    <a:pt x="9405" y="10787"/>
                    <a:pt x="8212" y="10420"/>
                    <a:pt x="7223" y="9686"/>
                  </a:cubicBezTo>
                  <a:cubicBezTo>
                    <a:pt x="6232" y="8951"/>
                    <a:pt x="5738" y="8061"/>
                    <a:pt x="5738" y="7014"/>
                  </a:cubicBezTo>
                  <a:cubicBezTo>
                    <a:pt x="5738" y="5968"/>
                    <a:pt x="6232" y="5077"/>
                    <a:pt x="7223" y="4343"/>
                  </a:cubicBezTo>
                  <a:cubicBezTo>
                    <a:pt x="8212" y="3608"/>
                    <a:pt x="9405" y="3241"/>
                    <a:pt x="10800" y="3241"/>
                  </a:cubicBezTo>
                  <a:lnTo>
                    <a:pt x="10800" y="3241"/>
                  </a:lnTo>
                  <a:lnTo>
                    <a:pt x="10800" y="3241"/>
                  </a:lnTo>
                  <a:close/>
                  <a:moveTo>
                    <a:pt x="10800" y="9724"/>
                  </a:moveTo>
                  <a:cubicBezTo>
                    <a:pt x="11790" y="9724"/>
                    <a:pt x="12634" y="9458"/>
                    <a:pt x="13331" y="8926"/>
                  </a:cubicBezTo>
                  <a:cubicBezTo>
                    <a:pt x="14028" y="8394"/>
                    <a:pt x="14378" y="7757"/>
                    <a:pt x="14378" y="7014"/>
                  </a:cubicBezTo>
                  <a:cubicBezTo>
                    <a:pt x="14378" y="6272"/>
                    <a:pt x="14028" y="5634"/>
                    <a:pt x="13331" y="5102"/>
                  </a:cubicBezTo>
                  <a:cubicBezTo>
                    <a:pt x="12634" y="4571"/>
                    <a:pt x="11790" y="4305"/>
                    <a:pt x="10800" y="4305"/>
                  </a:cubicBezTo>
                  <a:cubicBezTo>
                    <a:pt x="9810" y="4305"/>
                    <a:pt x="8961" y="4571"/>
                    <a:pt x="8252" y="5102"/>
                  </a:cubicBezTo>
                  <a:cubicBezTo>
                    <a:pt x="7543" y="5634"/>
                    <a:pt x="7189" y="6272"/>
                    <a:pt x="7189" y="7014"/>
                  </a:cubicBezTo>
                  <a:cubicBezTo>
                    <a:pt x="7189" y="7757"/>
                    <a:pt x="7543" y="8394"/>
                    <a:pt x="8252" y="8926"/>
                  </a:cubicBezTo>
                  <a:cubicBezTo>
                    <a:pt x="8961" y="9458"/>
                    <a:pt x="9810" y="9724"/>
                    <a:pt x="10800" y="9724"/>
                  </a:cubicBezTo>
                  <a:lnTo>
                    <a:pt x="10800" y="9724"/>
                  </a:lnTo>
                  <a:lnTo>
                    <a:pt x="10800" y="9724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miter lim="400000"/>
            </a:ln>
          </p:spPr>
          <p:txBody>
            <a:bodyPr lIns="27428" tIns="27428" rIns="27428" bIns="27428" anchor="ctr"/>
            <a:lstStyle/>
            <a:p>
              <a:pPr marL="0" marR="0" lvl="0" indent="0" algn="ctr" defTabSz="3291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b="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1296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sym typeface="Gill Sans"/>
              </a:endParaRPr>
            </a:p>
          </p:txBody>
        </p:sp>
        <p:sp>
          <p:nvSpPr>
            <p:cNvPr id="1201" name="CaixaDeTexto 1200">
              <a:extLst>
                <a:ext uri="{FF2B5EF4-FFF2-40B4-BE49-F238E27FC236}">
                  <a16:creationId xmlns:a16="http://schemas.microsoft.com/office/drawing/2014/main" id="{92FD56F8-492F-767D-D0D7-3809FEC849A3}"/>
                </a:ext>
              </a:extLst>
            </p:cNvPr>
            <p:cNvSpPr txBox="1"/>
            <p:nvPr/>
          </p:nvSpPr>
          <p:spPr>
            <a:xfrm>
              <a:off x="1671462" y="2392066"/>
              <a:ext cx="84811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3165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Agências/</a:t>
              </a:r>
            </a:p>
            <a:p>
              <a:pPr marL="0" marR="0" lvl="0" indent="0" algn="ctr" defTabSz="13165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Plataformas</a:t>
              </a:r>
            </a:p>
          </p:txBody>
        </p:sp>
      </p:grpSp>
      <p:cxnSp>
        <p:nvCxnSpPr>
          <p:cNvPr id="1317" name="Conector: Angulado 1316">
            <a:extLst>
              <a:ext uri="{FF2B5EF4-FFF2-40B4-BE49-F238E27FC236}">
                <a16:creationId xmlns:a16="http://schemas.microsoft.com/office/drawing/2014/main" id="{1BDD314A-8C94-3F61-FA36-36FAE395BCC8}"/>
              </a:ext>
            </a:extLst>
          </p:cNvPr>
          <p:cNvCxnSpPr>
            <a:cxnSpLocks/>
          </p:cNvCxnSpPr>
          <p:nvPr/>
        </p:nvCxnSpPr>
        <p:spPr>
          <a:xfrm flipV="1">
            <a:off x="3263053" y="2035881"/>
            <a:ext cx="677097" cy="289606"/>
          </a:xfrm>
          <a:prstGeom prst="bentConnector3">
            <a:avLst>
              <a:gd name="adj1" fmla="val 37666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1" name="Conector: Angulado 1320">
            <a:extLst>
              <a:ext uri="{FF2B5EF4-FFF2-40B4-BE49-F238E27FC236}">
                <a16:creationId xmlns:a16="http://schemas.microsoft.com/office/drawing/2014/main" id="{9A551043-345D-2677-8DE8-CAA14174AFF2}"/>
              </a:ext>
            </a:extLst>
          </p:cNvPr>
          <p:cNvCxnSpPr>
            <a:cxnSpLocks/>
          </p:cNvCxnSpPr>
          <p:nvPr/>
        </p:nvCxnSpPr>
        <p:spPr>
          <a:xfrm>
            <a:off x="3161529" y="2311298"/>
            <a:ext cx="716404" cy="312273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9" name="Conector: Angulado 1338">
            <a:extLst>
              <a:ext uri="{FF2B5EF4-FFF2-40B4-BE49-F238E27FC236}">
                <a16:creationId xmlns:a16="http://schemas.microsoft.com/office/drawing/2014/main" id="{8185F857-490C-63D2-A783-A238296B5C0B}"/>
              </a:ext>
            </a:extLst>
          </p:cNvPr>
          <p:cNvCxnSpPr>
            <a:cxnSpLocks/>
          </p:cNvCxnSpPr>
          <p:nvPr/>
        </p:nvCxnSpPr>
        <p:spPr>
          <a:xfrm rot="16200000" flipH="1">
            <a:off x="3448538" y="3288323"/>
            <a:ext cx="504220" cy="411813"/>
          </a:xfrm>
          <a:prstGeom prst="bentConnector3">
            <a:avLst>
              <a:gd name="adj1" fmla="val 100375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63" name="Agrupar 1362">
            <a:extLst>
              <a:ext uri="{FF2B5EF4-FFF2-40B4-BE49-F238E27FC236}">
                <a16:creationId xmlns:a16="http://schemas.microsoft.com/office/drawing/2014/main" id="{FC208DF7-A84C-77D7-04D6-13D3DE23BB56}"/>
              </a:ext>
            </a:extLst>
          </p:cNvPr>
          <p:cNvGrpSpPr>
            <a:grpSpLocks noChangeAspect="1"/>
          </p:cNvGrpSpPr>
          <p:nvPr/>
        </p:nvGrpSpPr>
        <p:grpSpPr>
          <a:xfrm>
            <a:off x="5166708" y="4105489"/>
            <a:ext cx="227316" cy="216000"/>
            <a:chOff x="12721450" y="1236389"/>
            <a:chExt cx="438150" cy="416338"/>
          </a:xfrm>
        </p:grpSpPr>
        <p:sp>
          <p:nvSpPr>
            <p:cNvPr id="1364" name="Forma Livre: Forma 1363">
              <a:extLst>
                <a:ext uri="{FF2B5EF4-FFF2-40B4-BE49-F238E27FC236}">
                  <a16:creationId xmlns:a16="http://schemas.microsoft.com/office/drawing/2014/main" id="{A7D88849-93C2-6A63-CC6B-F026C0B41D16}"/>
                </a:ext>
              </a:extLst>
            </p:cNvPr>
            <p:cNvSpPr/>
            <p:nvPr/>
          </p:nvSpPr>
          <p:spPr>
            <a:xfrm>
              <a:off x="12853655" y="1399867"/>
              <a:ext cx="171450" cy="161925"/>
            </a:xfrm>
            <a:custGeom>
              <a:avLst/>
              <a:gdLst>
                <a:gd name="connsiteX0" fmla="*/ 88299 w 171450"/>
                <a:gd name="connsiteY0" fmla="*/ 160943 h 161925"/>
                <a:gd name="connsiteX1" fmla="*/ 85918 w 171450"/>
                <a:gd name="connsiteY1" fmla="*/ 158467 h 161925"/>
                <a:gd name="connsiteX2" fmla="*/ 83441 w 171450"/>
                <a:gd name="connsiteY2" fmla="*/ 160848 h 161925"/>
                <a:gd name="connsiteX3" fmla="*/ 42865 w 171450"/>
                <a:gd name="connsiteY3" fmla="*/ 147037 h 161925"/>
                <a:gd name="connsiteX4" fmla="*/ 42389 w 171450"/>
                <a:gd name="connsiteY4" fmla="*/ 143608 h 161925"/>
                <a:gd name="connsiteX5" fmla="*/ 38960 w 171450"/>
                <a:gd name="connsiteY5" fmla="*/ 144084 h 161925"/>
                <a:gd name="connsiteX6" fmla="*/ 14290 w 171450"/>
                <a:gd name="connsiteY6" fmla="*/ 109127 h 161925"/>
                <a:gd name="connsiteX7" fmla="*/ 15909 w 171450"/>
                <a:gd name="connsiteY7" fmla="*/ 106079 h 161925"/>
                <a:gd name="connsiteX8" fmla="*/ 12861 w 171450"/>
                <a:gd name="connsiteY8" fmla="*/ 104460 h 161925"/>
                <a:gd name="connsiteX9" fmla="*/ 13433 w 171450"/>
                <a:gd name="connsiteY9" fmla="*/ 61693 h 161925"/>
                <a:gd name="connsiteX10" fmla="*/ 16481 w 171450"/>
                <a:gd name="connsiteY10" fmla="*/ 60169 h 161925"/>
                <a:gd name="connsiteX11" fmla="*/ 14957 w 171450"/>
                <a:gd name="connsiteY11" fmla="*/ 57121 h 161925"/>
                <a:gd name="connsiteX12" fmla="*/ 40579 w 171450"/>
                <a:gd name="connsiteY12" fmla="*/ 22831 h 161925"/>
                <a:gd name="connsiteX13" fmla="*/ 44008 w 171450"/>
                <a:gd name="connsiteY13" fmla="*/ 23402 h 161925"/>
                <a:gd name="connsiteX14" fmla="*/ 44579 w 171450"/>
                <a:gd name="connsiteY14" fmla="*/ 19973 h 161925"/>
                <a:gd name="connsiteX15" fmla="*/ 85442 w 171450"/>
                <a:gd name="connsiteY15" fmla="*/ 7305 h 161925"/>
                <a:gd name="connsiteX16" fmla="*/ 87823 w 171450"/>
                <a:gd name="connsiteY16" fmla="*/ 9782 h 161925"/>
                <a:gd name="connsiteX17" fmla="*/ 90299 w 171450"/>
                <a:gd name="connsiteY17" fmla="*/ 7400 h 161925"/>
                <a:gd name="connsiteX18" fmla="*/ 130876 w 171450"/>
                <a:gd name="connsiteY18" fmla="*/ 21212 h 161925"/>
                <a:gd name="connsiteX19" fmla="*/ 131352 w 171450"/>
                <a:gd name="connsiteY19" fmla="*/ 24641 h 161925"/>
                <a:gd name="connsiteX20" fmla="*/ 134781 w 171450"/>
                <a:gd name="connsiteY20" fmla="*/ 24164 h 161925"/>
                <a:gd name="connsiteX21" fmla="*/ 159451 w 171450"/>
                <a:gd name="connsiteY21" fmla="*/ 59121 h 161925"/>
                <a:gd name="connsiteX22" fmla="*/ 157832 w 171450"/>
                <a:gd name="connsiteY22" fmla="*/ 62169 h 161925"/>
                <a:gd name="connsiteX23" fmla="*/ 160880 w 171450"/>
                <a:gd name="connsiteY23" fmla="*/ 63788 h 161925"/>
                <a:gd name="connsiteX24" fmla="*/ 160308 w 171450"/>
                <a:gd name="connsiteY24" fmla="*/ 106556 h 161925"/>
                <a:gd name="connsiteX25" fmla="*/ 157260 w 171450"/>
                <a:gd name="connsiteY25" fmla="*/ 108080 h 161925"/>
                <a:gd name="connsiteX26" fmla="*/ 158784 w 171450"/>
                <a:gd name="connsiteY26" fmla="*/ 111128 h 161925"/>
                <a:gd name="connsiteX27" fmla="*/ 133162 w 171450"/>
                <a:gd name="connsiteY27" fmla="*/ 145418 h 161925"/>
                <a:gd name="connsiteX28" fmla="*/ 129733 w 171450"/>
                <a:gd name="connsiteY28" fmla="*/ 144846 h 161925"/>
                <a:gd name="connsiteX29" fmla="*/ 129161 w 171450"/>
                <a:gd name="connsiteY29" fmla="*/ 148275 h 161925"/>
                <a:gd name="connsiteX30" fmla="*/ 88299 w 171450"/>
                <a:gd name="connsiteY30" fmla="*/ 160943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71450" h="161925">
                  <a:moveTo>
                    <a:pt x="88299" y="160943"/>
                  </a:moveTo>
                  <a:lnTo>
                    <a:pt x="85918" y="158467"/>
                  </a:lnTo>
                  <a:lnTo>
                    <a:pt x="83441" y="160848"/>
                  </a:lnTo>
                  <a:cubicBezTo>
                    <a:pt x="69344" y="174564"/>
                    <a:pt x="45627" y="166563"/>
                    <a:pt x="42865" y="147037"/>
                  </a:cubicBezTo>
                  <a:lnTo>
                    <a:pt x="42389" y="143608"/>
                  </a:lnTo>
                  <a:lnTo>
                    <a:pt x="38960" y="144084"/>
                  </a:lnTo>
                  <a:cubicBezTo>
                    <a:pt x="19529" y="146942"/>
                    <a:pt x="5051" y="126463"/>
                    <a:pt x="14290" y="109127"/>
                  </a:cubicBezTo>
                  <a:lnTo>
                    <a:pt x="15909" y="106079"/>
                  </a:lnTo>
                  <a:lnTo>
                    <a:pt x="12861" y="104460"/>
                  </a:lnTo>
                  <a:cubicBezTo>
                    <a:pt x="-4570" y="95316"/>
                    <a:pt x="-4189" y="70265"/>
                    <a:pt x="13433" y="61693"/>
                  </a:cubicBezTo>
                  <a:lnTo>
                    <a:pt x="16481" y="60169"/>
                  </a:lnTo>
                  <a:lnTo>
                    <a:pt x="14957" y="57121"/>
                  </a:lnTo>
                  <a:cubicBezTo>
                    <a:pt x="6194" y="39500"/>
                    <a:pt x="21243" y="19402"/>
                    <a:pt x="40579" y="22831"/>
                  </a:cubicBezTo>
                  <a:lnTo>
                    <a:pt x="44008" y="23402"/>
                  </a:lnTo>
                  <a:lnTo>
                    <a:pt x="44579" y="19973"/>
                  </a:lnTo>
                  <a:cubicBezTo>
                    <a:pt x="47818" y="638"/>
                    <a:pt x="71821" y="-6792"/>
                    <a:pt x="85442" y="7305"/>
                  </a:cubicBezTo>
                  <a:lnTo>
                    <a:pt x="87823" y="9782"/>
                  </a:lnTo>
                  <a:lnTo>
                    <a:pt x="90299" y="7400"/>
                  </a:lnTo>
                  <a:cubicBezTo>
                    <a:pt x="104396" y="-6316"/>
                    <a:pt x="128114" y="1685"/>
                    <a:pt x="130876" y="21212"/>
                  </a:cubicBezTo>
                  <a:lnTo>
                    <a:pt x="131352" y="24641"/>
                  </a:lnTo>
                  <a:lnTo>
                    <a:pt x="134781" y="24164"/>
                  </a:lnTo>
                  <a:cubicBezTo>
                    <a:pt x="154212" y="21307"/>
                    <a:pt x="168690" y="41786"/>
                    <a:pt x="159451" y="59121"/>
                  </a:cubicBezTo>
                  <a:lnTo>
                    <a:pt x="157832" y="62169"/>
                  </a:lnTo>
                  <a:lnTo>
                    <a:pt x="160880" y="63788"/>
                  </a:lnTo>
                  <a:cubicBezTo>
                    <a:pt x="178310" y="72932"/>
                    <a:pt x="177929" y="97983"/>
                    <a:pt x="160308" y="106556"/>
                  </a:cubicBezTo>
                  <a:lnTo>
                    <a:pt x="157260" y="108080"/>
                  </a:lnTo>
                  <a:lnTo>
                    <a:pt x="158784" y="111128"/>
                  </a:lnTo>
                  <a:cubicBezTo>
                    <a:pt x="167547" y="128749"/>
                    <a:pt x="152498" y="148847"/>
                    <a:pt x="133162" y="145418"/>
                  </a:cubicBezTo>
                  <a:lnTo>
                    <a:pt x="129733" y="144846"/>
                  </a:lnTo>
                  <a:lnTo>
                    <a:pt x="129161" y="148275"/>
                  </a:lnTo>
                  <a:cubicBezTo>
                    <a:pt x="125828" y="167611"/>
                    <a:pt x="101920" y="175040"/>
                    <a:pt x="88299" y="160943"/>
                  </a:cubicBezTo>
                  <a:close/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5" name="Forma Livre: Forma 1364">
              <a:extLst>
                <a:ext uri="{FF2B5EF4-FFF2-40B4-BE49-F238E27FC236}">
                  <a16:creationId xmlns:a16="http://schemas.microsoft.com/office/drawing/2014/main" id="{73110198-AD6A-C108-3A59-E3C4A4B457C3}"/>
                </a:ext>
              </a:extLst>
            </p:cNvPr>
            <p:cNvSpPr/>
            <p:nvPr/>
          </p:nvSpPr>
          <p:spPr>
            <a:xfrm>
              <a:off x="12864896" y="1562335"/>
              <a:ext cx="57150" cy="85725"/>
            </a:xfrm>
            <a:custGeom>
              <a:avLst/>
              <a:gdLst>
                <a:gd name="connsiteX0" fmla="*/ 66104 w 57150"/>
                <a:gd name="connsiteY0" fmla="*/ 55054 h 85725"/>
                <a:gd name="connsiteX1" fmla="*/ 42863 w 57150"/>
                <a:gd name="connsiteY1" fmla="*/ 94678 h 85725"/>
                <a:gd name="connsiteX2" fmla="*/ 30766 w 57150"/>
                <a:gd name="connsiteY2" fmla="*/ 66103 h 85725"/>
                <a:gd name="connsiteX3" fmla="*/ 0 w 57150"/>
                <a:gd name="connsiteY3" fmla="*/ 69818 h 85725"/>
                <a:gd name="connsiteX4" fmla="*/ 40386 w 57150"/>
                <a:gd name="connsiteY4" fmla="*/ 0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85725">
                  <a:moveTo>
                    <a:pt x="66104" y="55054"/>
                  </a:moveTo>
                  <a:lnTo>
                    <a:pt x="42863" y="94678"/>
                  </a:lnTo>
                  <a:lnTo>
                    <a:pt x="30766" y="66103"/>
                  </a:lnTo>
                  <a:lnTo>
                    <a:pt x="0" y="69818"/>
                  </a:lnTo>
                  <a:lnTo>
                    <a:pt x="40386" y="0"/>
                  </a:lnTo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6" name="Forma Livre: Forma 1365">
              <a:extLst>
                <a:ext uri="{FF2B5EF4-FFF2-40B4-BE49-F238E27FC236}">
                  <a16:creationId xmlns:a16="http://schemas.microsoft.com/office/drawing/2014/main" id="{B61B455B-734C-B2B7-1A08-C02F5926EA6E}"/>
                </a:ext>
              </a:extLst>
            </p:cNvPr>
            <p:cNvSpPr/>
            <p:nvPr/>
          </p:nvSpPr>
          <p:spPr>
            <a:xfrm>
              <a:off x="12927190" y="1557477"/>
              <a:ext cx="85725" cy="95250"/>
            </a:xfrm>
            <a:custGeom>
              <a:avLst/>
              <a:gdLst>
                <a:gd name="connsiteX0" fmla="*/ 0 w 85725"/>
                <a:gd name="connsiteY0" fmla="*/ 9144 h 95250"/>
                <a:gd name="connsiteX1" fmla="*/ 52197 w 85725"/>
                <a:gd name="connsiteY1" fmla="*/ 99536 h 95250"/>
                <a:gd name="connsiteX2" fmla="*/ 64294 w 85725"/>
                <a:gd name="connsiteY2" fmla="*/ 70961 h 95250"/>
                <a:gd name="connsiteX3" fmla="*/ 95060 w 85725"/>
                <a:gd name="connsiteY3" fmla="*/ 74676 h 95250"/>
                <a:gd name="connsiteX4" fmla="*/ 51911 w 85725"/>
                <a:gd name="connsiteY4" fmla="*/ 0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725" h="95250">
                  <a:moveTo>
                    <a:pt x="0" y="9144"/>
                  </a:moveTo>
                  <a:lnTo>
                    <a:pt x="52197" y="99536"/>
                  </a:lnTo>
                  <a:lnTo>
                    <a:pt x="64294" y="70961"/>
                  </a:lnTo>
                  <a:lnTo>
                    <a:pt x="95060" y="74676"/>
                  </a:lnTo>
                  <a:lnTo>
                    <a:pt x="51911" y="0"/>
                  </a:lnTo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7" name="Forma Livre: Forma 1366">
              <a:extLst>
                <a:ext uri="{FF2B5EF4-FFF2-40B4-BE49-F238E27FC236}">
                  <a16:creationId xmlns:a16="http://schemas.microsoft.com/office/drawing/2014/main" id="{8BB845B9-03C4-8705-A00F-DA594D1DCC36}"/>
                </a:ext>
              </a:extLst>
            </p:cNvPr>
            <p:cNvSpPr/>
            <p:nvPr/>
          </p:nvSpPr>
          <p:spPr>
            <a:xfrm>
              <a:off x="12721450" y="1236389"/>
              <a:ext cx="438150" cy="295275"/>
            </a:xfrm>
            <a:custGeom>
              <a:avLst/>
              <a:gdLst>
                <a:gd name="connsiteX0" fmla="*/ 314325 w 438150"/>
                <a:gd name="connsiteY0" fmla="*/ 295275 h 295275"/>
                <a:gd name="connsiteX1" fmla="*/ 438150 w 438150"/>
                <a:gd name="connsiteY1" fmla="*/ 295275 h 295275"/>
                <a:gd name="connsiteX2" fmla="*/ 438150 w 438150"/>
                <a:gd name="connsiteY2" fmla="*/ 0 h 295275"/>
                <a:gd name="connsiteX3" fmla="*/ 0 w 438150"/>
                <a:gd name="connsiteY3" fmla="*/ 0 h 295275"/>
                <a:gd name="connsiteX4" fmla="*/ 0 w 438150"/>
                <a:gd name="connsiteY4" fmla="*/ 295275 h 295275"/>
                <a:gd name="connsiteX5" fmla="*/ 123825 w 438150"/>
                <a:gd name="connsiteY5" fmla="*/ 295275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8150" h="295275">
                  <a:moveTo>
                    <a:pt x="314325" y="295275"/>
                  </a:moveTo>
                  <a:lnTo>
                    <a:pt x="438150" y="295275"/>
                  </a:lnTo>
                  <a:lnTo>
                    <a:pt x="438150" y="0"/>
                  </a:lnTo>
                  <a:lnTo>
                    <a:pt x="0" y="0"/>
                  </a:lnTo>
                  <a:lnTo>
                    <a:pt x="0" y="295275"/>
                  </a:lnTo>
                  <a:lnTo>
                    <a:pt x="123825" y="295275"/>
                  </a:lnTo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8" name="Forma Livre: Forma 1367">
              <a:extLst>
                <a:ext uri="{FF2B5EF4-FFF2-40B4-BE49-F238E27FC236}">
                  <a16:creationId xmlns:a16="http://schemas.microsoft.com/office/drawing/2014/main" id="{5397A4C8-2B30-052D-4669-FA9517C074B7}"/>
                </a:ext>
              </a:extLst>
            </p:cNvPr>
            <p:cNvSpPr/>
            <p:nvPr/>
          </p:nvSpPr>
          <p:spPr>
            <a:xfrm>
              <a:off x="12864325" y="1312589"/>
              <a:ext cx="152400" cy="9525"/>
            </a:xfrm>
            <a:custGeom>
              <a:avLst/>
              <a:gdLst>
                <a:gd name="connsiteX0" fmla="*/ 0 w 152400"/>
                <a:gd name="connsiteY0" fmla="*/ 0 h 0"/>
                <a:gd name="connsiteX1" fmla="*/ 152400 w 1524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2400">
                  <a:moveTo>
                    <a:pt x="0" y="0"/>
                  </a:moveTo>
                  <a:lnTo>
                    <a:pt x="152400" y="0"/>
                  </a:lnTo>
                </a:path>
              </a:pathLst>
            </a:custGeom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9" name="Forma Livre: Forma 1368">
              <a:extLst>
                <a:ext uri="{FF2B5EF4-FFF2-40B4-BE49-F238E27FC236}">
                  <a16:creationId xmlns:a16="http://schemas.microsoft.com/office/drawing/2014/main" id="{4D097919-09A1-1262-BE7D-7A5ADEFC969F}"/>
                </a:ext>
              </a:extLst>
            </p:cNvPr>
            <p:cNvSpPr/>
            <p:nvPr/>
          </p:nvSpPr>
          <p:spPr>
            <a:xfrm>
              <a:off x="12892900" y="1350689"/>
              <a:ext cx="95250" cy="9525"/>
            </a:xfrm>
            <a:custGeom>
              <a:avLst/>
              <a:gdLst>
                <a:gd name="connsiteX0" fmla="*/ 0 w 95250"/>
                <a:gd name="connsiteY0" fmla="*/ 0 h 0"/>
                <a:gd name="connsiteX1" fmla="*/ 95250 w 9525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0">
                  <a:moveTo>
                    <a:pt x="0" y="0"/>
                  </a:moveTo>
                  <a:lnTo>
                    <a:pt x="95250" y="0"/>
                  </a:lnTo>
                </a:path>
              </a:pathLst>
            </a:custGeom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0" name="Forma Livre: Forma 1369">
              <a:extLst>
                <a:ext uri="{FF2B5EF4-FFF2-40B4-BE49-F238E27FC236}">
                  <a16:creationId xmlns:a16="http://schemas.microsoft.com/office/drawing/2014/main" id="{503DF1FE-E7D7-EA40-8DDF-7AA8359E187C}"/>
                </a:ext>
              </a:extLst>
            </p:cNvPr>
            <p:cNvSpPr/>
            <p:nvPr/>
          </p:nvSpPr>
          <p:spPr>
            <a:xfrm>
              <a:off x="12759550" y="1274489"/>
              <a:ext cx="38100" cy="38100"/>
            </a:xfrm>
            <a:custGeom>
              <a:avLst/>
              <a:gdLst>
                <a:gd name="connsiteX0" fmla="*/ 0 w 38100"/>
                <a:gd name="connsiteY0" fmla="*/ 38100 h 38100"/>
                <a:gd name="connsiteX1" fmla="*/ 0 w 38100"/>
                <a:gd name="connsiteY1" fmla="*/ 0 h 38100"/>
                <a:gd name="connsiteX2" fmla="*/ 38100 w 38100"/>
                <a:gd name="connsiteY2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100" h="38100">
                  <a:moveTo>
                    <a:pt x="0" y="38100"/>
                  </a:moveTo>
                  <a:lnTo>
                    <a:pt x="0" y="0"/>
                  </a:lnTo>
                  <a:lnTo>
                    <a:pt x="38100" y="0"/>
                  </a:lnTo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1" name="Forma Livre: Forma 1370">
              <a:extLst>
                <a:ext uri="{FF2B5EF4-FFF2-40B4-BE49-F238E27FC236}">
                  <a16:creationId xmlns:a16="http://schemas.microsoft.com/office/drawing/2014/main" id="{92B04440-7B11-9233-8D0B-008C7CFE011F}"/>
                </a:ext>
              </a:extLst>
            </p:cNvPr>
            <p:cNvSpPr/>
            <p:nvPr/>
          </p:nvSpPr>
          <p:spPr>
            <a:xfrm>
              <a:off x="13083400" y="1274489"/>
              <a:ext cx="38100" cy="38100"/>
            </a:xfrm>
            <a:custGeom>
              <a:avLst/>
              <a:gdLst>
                <a:gd name="connsiteX0" fmla="*/ 38100 w 38100"/>
                <a:gd name="connsiteY0" fmla="*/ 38100 h 38100"/>
                <a:gd name="connsiteX1" fmla="*/ 38100 w 38100"/>
                <a:gd name="connsiteY1" fmla="*/ 0 h 38100"/>
                <a:gd name="connsiteX2" fmla="*/ 0 w 38100"/>
                <a:gd name="connsiteY2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100" h="38100">
                  <a:moveTo>
                    <a:pt x="38100" y="38100"/>
                  </a:moveTo>
                  <a:lnTo>
                    <a:pt x="38100" y="0"/>
                  </a:lnTo>
                  <a:lnTo>
                    <a:pt x="0" y="0"/>
                  </a:lnTo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2" name="Forma Livre: Forma 1371">
              <a:extLst>
                <a:ext uri="{FF2B5EF4-FFF2-40B4-BE49-F238E27FC236}">
                  <a16:creationId xmlns:a16="http://schemas.microsoft.com/office/drawing/2014/main" id="{F7AEFBED-157E-D4E7-7E79-3726D9DC30A9}"/>
                </a:ext>
              </a:extLst>
            </p:cNvPr>
            <p:cNvSpPr/>
            <p:nvPr/>
          </p:nvSpPr>
          <p:spPr>
            <a:xfrm>
              <a:off x="12759550" y="1455464"/>
              <a:ext cx="38100" cy="38100"/>
            </a:xfrm>
            <a:custGeom>
              <a:avLst/>
              <a:gdLst>
                <a:gd name="connsiteX0" fmla="*/ 0 w 38100"/>
                <a:gd name="connsiteY0" fmla="*/ 0 h 38100"/>
                <a:gd name="connsiteX1" fmla="*/ 0 w 38100"/>
                <a:gd name="connsiteY1" fmla="*/ 38100 h 38100"/>
                <a:gd name="connsiteX2" fmla="*/ 38100 w 38100"/>
                <a:gd name="connsiteY2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100" h="38100">
                  <a:moveTo>
                    <a:pt x="0" y="0"/>
                  </a:moveTo>
                  <a:lnTo>
                    <a:pt x="0" y="38100"/>
                  </a:lnTo>
                  <a:lnTo>
                    <a:pt x="38100" y="38100"/>
                  </a:lnTo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3" name="Forma Livre: Forma 1372">
              <a:extLst>
                <a:ext uri="{FF2B5EF4-FFF2-40B4-BE49-F238E27FC236}">
                  <a16:creationId xmlns:a16="http://schemas.microsoft.com/office/drawing/2014/main" id="{90D78165-891F-1586-D6E8-016222EEE61D}"/>
                </a:ext>
              </a:extLst>
            </p:cNvPr>
            <p:cNvSpPr/>
            <p:nvPr/>
          </p:nvSpPr>
          <p:spPr>
            <a:xfrm>
              <a:off x="13083400" y="1455464"/>
              <a:ext cx="38100" cy="38100"/>
            </a:xfrm>
            <a:custGeom>
              <a:avLst/>
              <a:gdLst>
                <a:gd name="connsiteX0" fmla="*/ 38100 w 38100"/>
                <a:gd name="connsiteY0" fmla="*/ 0 h 38100"/>
                <a:gd name="connsiteX1" fmla="*/ 38100 w 38100"/>
                <a:gd name="connsiteY1" fmla="*/ 38100 h 38100"/>
                <a:gd name="connsiteX2" fmla="*/ 0 w 38100"/>
                <a:gd name="connsiteY2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100" h="38100">
                  <a:moveTo>
                    <a:pt x="38100" y="0"/>
                  </a:moveTo>
                  <a:lnTo>
                    <a:pt x="38100" y="38100"/>
                  </a:lnTo>
                  <a:lnTo>
                    <a:pt x="0" y="38100"/>
                  </a:lnTo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4" name="Forma Livre: Forma 1373">
              <a:extLst>
                <a:ext uri="{FF2B5EF4-FFF2-40B4-BE49-F238E27FC236}">
                  <a16:creationId xmlns:a16="http://schemas.microsoft.com/office/drawing/2014/main" id="{279E5AF1-8BBC-3248-C856-CFDF7FCBFF9D}"/>
                </a:ext>
              </a:extLst>
            </p:cNvPr>
            <p:cNvSpPr/>
            <p:nvPr/>
          </p:nvSpPr>
          <p:spPr>
            <a:xfrm>
              <a:off x="12892900" y="1436414"/>
              <a:ext cx="95250" cy="85725"/>
            </a:xfrm>
            <a:custGeom>
              <a:avLst/>
              <a:gdLst>
                <a:gd name="connsiteX0" fmla="*/ 47625 w 95250"/>
                <a:gd name="connsiteY0" fmla="*/ 0 h 85725"/>
                <a:gd name="connsiteX1" fmla="*/ 63246 w 95250"/>
                <a:gd name="connsiteY1" fmla="*/ 28861 h 85725"/>
                <a:gd name="connsiteX2" fmla="*/ 95250 w 95250"/>
                <a:gd name="connsiteY2" fmla="*/ 32766 h 85725"/>
                <a:gd name="connsiteX3" fmla="*/ 72866 w 95250"/>
                <a:gd name="connsiteY3" fmla="*/ 56864 h 85725"/>
                <a:gd name="connsiteX4" fmla="*/ 77057 w 95250"/>
                <a:gd name="connsiteY4" fmla="*/ 85725 h 85725"/>
                <a:gd name="connsiteX5" fmla="*/ 47625 w 95250"/>
                <a:gd name="connsiteY5" fmla="*/ 74200 h 85725"/>
                <a:gd name="connsiteX6" fmla="*/ 18193 w 95250"/>
                <a:gd name="connsiteY6" fmla="*/ 85725 h 85725"/>
                <a:gd name="connsiteX7" fmla="*/ 22384 w 95250"/>
                <a:gd name="connsiteY7" fmla="*/ 56864 h 85725"/>
                <a:gd name="connsiteX8" fmla="*/ 0 w 95250"/>
                <a:gd name="connsiteY8" fmla="*/ 32766 h 85725"/>
                <a:gd name="connsiteX9" fmla="*/ 32004 w 95250"/>
                <a:gd name="connsiteY9" fmla="*/ 28861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5250" h="85725">
                  <a:moveTo>
                    <a:pt x="47625" y="0"/>
                  </a:moveTo>
                  <a:lnTo>
                    <a:pt x="63246" y="28861"/>
                  </a:lnTo>
                  <a:lnTo>
                    <a:pt x="95250" y="32766"/>
                  </a:lnTo>
                  <a:lnTo>
                    <a:pt x="72866" y="56864"/>
                  </a:lnTo>
                  <a:lnTo>
                    <a:pt x="77057" y="85725"/>
                  </a:lnTo>
                  <a:lnTo>
                    <a:pt x="47625" y="74200"/>
                  </a:lnTo>
                  <a:lnTo>
                    <a:pt x="18193" y="85725"/>
                  </a:lnTo>
                  <a:lnTo>
                    <a:pt x="22384" y="56864"/>
                  </a:lnTo>
                  <a:lnTo>
                    <a:pt x="0" y="32766"/>
                  </a:lnTo>
                  <a:lnTo>
                    <a:pt x="32004" y="28861"/>
                  </a:lnTo>
                  <a:close/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375" name="CaixaDeTexto 1374">
            <a:extLst>
              <a:ext uri="{FF2B5EF4-FFF2-40B4-BE49-F238E27FC236}">
                <a16:creationId xmlns:a16="http://schemas.microsoft.com/office/drawing/2014/main" id="{E43E05E2-A74C-3294-1397-6012E40D6E76}"/>
              </a:ext>
            </a:extLst>
          </p:cNvPr>
          <p:cNvSpPr txBox="1"/>
          <p:nvPr/>
        </p:nvSpPr>
        <p:spPr>
          <a:xfrm>
            <a:off x="4797402" y="4271529"/>
            <a:ext cx="96592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165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Certificadores</a:t>
            </a:r>
          </a:p>
        </p:txBody>
      </p:sp>
      <p:sp>
        <p:nvSpPr>
          <p:cNvPr id="1376" name="Forma">
            <a:extLst>
              <a:ext uri="{FF2B5EF4-FFF2-40B4-BE49-F238E27FC236}">
                <a16:creationId xmlns:a16="http://schemas.microsoft.com/office/drawing/2014/main" id="{357208FF-B449-6932-2D1E-ED7ACFD90A3F}"/>
              </a:ext>
            </a:extLst>
          </p:cNvPr>
          <p:cNvSpPr>
            <a:spLocks noChangeAspect="1"/>
          </p:cNvSpPr>
          <p:nvPr/>
        </p:nvSpPr>
        <p:spPr>
          <a:xfrm>
            <a:off x="3961750" y="2462377"/>
            <a:ext cx="288340" cy="288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25" y="5394"/>
                </a:moveTo>
                <a:cubicBezTo>
                  <a:pt x="20032" y="5394"/>
                  <a:pt x="20546" y="5605"/>
                  <a:pt x="20968" y="6027"/>
                </a:cubicBezTo>
                <a:cubicBezTo>
                  <a:pt x="21389" y="6449"/>
                  <a:pt x="21600" y="6955"/>
                  <a:pt x="21600" y="7546"/>
                </a:cubicBezTo>
                <a:lnTo>
                  <a:pt x="21600" y="15117"/>
                </a:lnTo>
                <a:cubicBezTo>
                  <a:pt x="21600" y="15709"/>
                  <a:pt x="21389" y="16215"/>
                  <a:pt x="20968" y="16637"/>
                </a:cubicBezTo>
                <a:cubicBezTo>
                  <a:pt x="20546" y="17059"/>
                  <a:pt x="20032" y="17270"/>
                  <a:pt x="19425" y="17270"/>
                </a:cubicBezTo>
                <a:lnTo>
                  <a:pt x="16187" y="17270"/>
                </a:lnTo>
                <a:lnTo>
                  <a:pt x="16187" y="19448"/>
                </a:lnTo>
                <a:cubicBezTo>
                  <a:pt x="16187" y="20039"/>
                  <a:pt x="15976" y="20545"/>
                  <a:pt x="15555" y="20967"/>
                </a:cubicBezTo>
                <a:cubicBezTo>
                  <a:pt x="15133" y="21389"/>
                  <a:pt x="14628" y="21600"/>
                  <a:pt x="14037" y="21600"/>
                </a:cubicBezTo>
                <a:lnTo>
                  <a:pt x="7563" y="21600"/>
                </a:lnTo>
                <a:cubicBezTo>
                  <a:pt x="6972" y="21600"/>
                  <a:pt x="6466" y="21389"/>
                  <a:pt x="6045" y="20967"/>
                </a:cubicBezTo>
                <a:cubicBezTo>
                  <a:pt x="5623" y="20545"/>
                  <a:pt x="5413" y="20039"/>
                  <a:pt x="5413" y="19448"/>
                </a:cubicBezTo>
                <a:lnTo>
                  <a:pt x="5413" y="17270"/>
                </a:lnTo>
                <a:lnTo>
                  <a:pt x="2175" y="17270"/>
                </a:lnTo>
                <a:cubicBezTo>
                  <a:pt x="1568" y="17270"/>
                  <a:pt x="1054" y="17059"/>
                  <a:pt x="632" y="16637"/>
                </a:cubicBezTo>
                <a:cubicBezTo>
                  <a:pt x="211" y="16215"/>
                  <a:pt x="0" y="15709"/>
                  <a:pt x="0" y="15117"/>
                </a:cubicBezTo>
                <a:lnTo>
                  <a:pt x="0" y="7546"/>
                </a:lnTo>
                <a:cubicBezTo>
                  <a:pt x="0" y="6955"/>
                  <a:pt x="211" y="6449"/>
                  <a:pt x="632" y="6027"/>
                </a:cubicBezTo>
                <a:cubicBezTo>
                  <a:pt x="1054" y="5605"/>
                  <a:pt x="1568" y="5394"/>
                  <a:pt x="2175" y="5394"/>
                </a:cubicBezTo>
                <a:lnTo>
                  <a:pt x="5413" y="5394"/>
                </a:lnTo>
                <a:lnTo>
                  <a:pt x="5413" y="2152"/>
                </a:lnTo>
                <a:cubicBezTo>
                  <a:pt x="5413" y="1562"/>
                  <a:pt x="5623" y="1055"/>
                  <a:pt x="6045" y="633"/>
                </a:cubicBezTo>
                <a:cubicBezTo>
                  <a:pt x="6466" y="211"/>
                  <a:pt x="6972" y="0"/>
                  <a:pt x="7563" y="0"/>
                </a:cubicBezTo>
                <a:lnTo>
                  <a:pt x="14037" y="0"/>
                </a:lnTo>
                <a:cubicBezTo>
                  <a:pt x="14628" y="0"/>
                  <a:pt x="15133" y="211"/>
                  <a:pt x="15555" y="633"/>
                </a:cubicBezTo>
                <a:cubicBezTo>
                  <a:pt x="15976" y="1055"/>
                  <a:pt x="16187" y="1562"/>
                  <a:pt x="16187" y="2152"/>
                </a:cubicBezTo>
                <a:lnTo>
                  <a:pt x="16187" y="5394"/>
                </a:lnTo>
                <a:lnTo>
                  <a:pt x="19425" y="5394"/>
                </a:lnTo>
                <a:lnTo>
                  <a:pt x="19425" y="5394"/>
                </a:lnTo>
                <a:lnTo>
                  <a:pt x="19425" y="5394"/>
                </a:lnTo>
                <a:close/>
                <a:moveTo>
                  <a:pt x="6475" y="2152"/>
                </a:moveTo>
                <a:lnTo>
                  <a:pt x="6475" y="5394"/>
                </a:lnTo>
                <a:lnTo>
                  <a:pt x="15125" y="5394"/>
                </a:lnTo>
                <a:lnTo>
                  <a:pt x="15125" y="2152"/>
                </a:lnTo>
                <a:cubicBezTo>
                  <a:pt x="15125" y="1849"/>
                  <a:pt x="15020" y="1591"/>
                  <a:pt x="14809" y="1380"/>
                </a:cubicBezTo>
                <a:cubicBezTo>
                  <a:pt x="14598" y="1169"/>
                  <a:pt x="14341" y="1064"/>
                  <a:pt x="14037" y="1064"/>
                </a:cubicBezTo>
                <a:lnTo>
                  <a:pt x="7563" y="1064"/>
                </a:lnTo>
                <a:cubicBezTo>
                  <a:pt x="7259" y="1064"/>
                  <a:pt x="7002" y="1169"/>
                  <a:pt x="6791" y="1380"/>
                </a:cubicBezTo>
                <a:cubicBezTo>
                  <a:pt x="6580" y="1591"/>
                  <a:pt x="6475" y="1849"/>
                  <a:pt x="6475" y="2152"/>
                </a:cubicBezTo>
                <a:lnTo>
                  <a:pt x="6475" y="2152"/>
                </a:lnTo>
                <a:lnTo>
                  <a:pt x="6475" y="2152"/>
                </a:lnTo>
                <a:close/>
                <a:moveTo>
                  <a:pt x="15125" y="19448"/>
                </a:moveTo>
                <a:lnTo>
                  <a:pt x="15125" y="12965"/>
                </a:lnTo>
                <a:lnTo>
                  <a:pt x="6475" y="12965"/>
                </a:lnTo>
                <a:lnTo>
                  <a:pt x="6475" y="19448"/>
                </a:lnTo>
                <a:cubicBezTo>
                  <a:pt x="6475" y="19735"/>
                  <a:pt x="6580" y="19984"/>
                  <a:pt x="6791" y="20195"/>
                </a:cubicBezTo>
                <a:cubicBezTo>
                  <a:pt x="7002" y="20406"/>
                  <a:pt x="7259" y="20511"/>
                  <a:pt x="7563" y="20511"/>
                </a:cubicBezTo>
                <a:lnTo>
                  <a:pt x="14037" y="20511"/>
                </a:lnTo>
                <a:cubicBezTo>
                  <a:pt x="14341" y="20511"/>
                  <a:pt x="14598" y="20406"/>
                  <a:pt x="14809" y="20195"/>
                </a:cubicBezTo>
                <a:cubicBezTo>
                  <a:pt x="15020" y="19984"/>
                  <a:pt x="15125" y="19735"/>
                  <a:pt x="15125" y="19448"/>
                </a:cubicBezTo>
                <a:lnTo>
                  <a:pt x="15125" y="19448"/>
                </a:lnTo>
                <a:lnTo>
                  <a:pt x="15125" y="19448"/>
                </a:lnTo>
                <a:close/>
                <a:moveTo>
                  <a:pt x="20512" y="15117"/>
                </a:moveTo>
                <a:lnTo>
                  <a:pt x="20512" y="7546"/>
                </a:lnTo>
                <a:cubicBezTo>
                  <a:pt x="20512" y="7259"/>
                  <a:pt x="20407" y="7010"/>
                  <a:pt x="20196" y="6799"/>
                </a:cubicBezTo>
                <a:cubicBezTo>
                  <a:pt x="19985" y="6588"/>
                  <a:pt x="19728" y="6483"/>
                  <a:pt x="19425" y="6483"/>
                </a:cubicBezTo>
                <a:lnTo>
                  <a:pt x="2175" y="6483"/>
                </a:lnTo>
                <a:cubicBezTo>
                  <a:pt x="1872" y="6483"/>
                  <a:pt x="1615" y="6588"/>
                  <a:pt x="1404" y="6799"/>
                </a:cubicBezTo>
                <a:cubicBezTo>
                  <a:pt x="1193" y="7010"/>
                  <a:pt x="1088" y="7259"/>
                  <a:pt x="1088" y="7546"/>
                </a:cubicBezTo>
                <a:lnTo>
                  <a:pt x="1088" y="15117"/>
                </a:lnTo>
                <a:cubicBezTo>
                  <a:pt x="1088" y="15421"/>
                  <a:pt x="1193" y="15679"/>
                  <a:pt x="1404" y="15890"/>
                </a:cubicBezTo>
                <a:cubicBezTo>
                  <a:pt x="1615" y="16101"/>
                  <a:pt x="1872" y="16206"/>
                  <a:pt x="2175" y="16206"/>
                </a:cubicBezTo>
                <a:lnTo>
                  <a:pt x="5413" y="16206"/>
                </a:lnTo>
                <a:lnTo>
                  <a:pt x="5413" y="11876"/>
                </a:lnTo>
                <a:lnTo>
                  <a:pt x="16187" y="11876"/>
                </a:lnTo>
                <a:lnTo>
                  <a:pt x="16187" y="16206"/>
                </a:lnTo>
                <a:lnTo>
                  <a:pt x="19425" y="16206"/>
                </a:lnTo>
                <a:cubicBezTo>
                  <a:pt x="19728" y="16206"/>
                  <a:pt x="19985" y="16101"/>
                  <a:pt x="20196" y="15890"/>
                </a:cubicBezTo>
                <a:cubicBezTo>
                  <a:pt x="20407" y="15679"/>
                  <a:pt x="20512" y="15421"/>
                  <a:pt x="20512" y="15117"/>
                </a:cubicBezTo>
                <a:lnTo>
                  <a:pt x="20512" y="15117"/>
                </a:lnTo>
                <a:lnTo>
                  <a:pt x="20512" y="15117"/>
                </a:lnTo>
                <a:close/>
                <a:moveTo>
                  <a:pt x="8094" y="16206"/>
                </a:moveTo>
                <a:cubicBezTo>
                  <a:pt x="7959" y="16206"/>
                  <a:pt x="7837" y="16152"/>
                  <a:pt x="7727" y="16042"/>
                </a:cubicBezTo>
                <a:cubicBezTo>
                  <a:pt x="7617" y="15932"/>
                  <a:pt x="7563" y="15801"/>
                  <a:pt x="7563" y="15649"/>
                </a:cubicBezTo>
                <a:cubicBezTo>
                  <a:pt x="7563" y="15514"/>
                  <a:pt x="7617" y="15392"/>
                  <a:pt x="7727" y="15282"/>
                </a:cubicBezTo>
                <a:cubicBezTo>
                  <a:pt x="7837" y="15172"/>
                  <a:pt x="7959" y="15117"/>
                  <a:pt x="8094" y="15117"/>
                </a:cubicBezTo>
                <a:lnTo>
                  <a:pt x="13506" y="15117"/>
                </a:lnTo>
                <a:cubicBezTo>
                  <a:pt x="13658" y="15117"/>
                  <a:pt x="13785" y="15172"/>
                  <a:pt x="13886" y="15282"/>
                </a:cubicBezTo>
                <a:cubicBezTo>
                  <a:pt x="13987" y="15392"/>
                  <a:pt x="14037" y="15514"/>
                  <a:pt x="14037" y="15649"/>
                </a:cubicBezTo>
                <a:cubicBezTo>
                  <a:pt x="14037" y="15801"/>
                  <a:pt x="13987" y="15932"/>
                  <a:pt x="13886" y="16042"/>
                </a:cubicBezTo>
                <a:cubicBezTo>
                  <a:pt x="13785" y="16152"/>
                  <a:pt x="13658" y="16206"/>
                  <a:pt x="13506" y="16206"/>
                </a:cubicBezTo>
                <a:lnTo>
                  <a:pt x="8094" y="16206"/>
                </a:lnTo>
                <a:lnTo>
                  <a:pt x="8094" y="16206"/>
                </a:lnTo>
                <a:lnTo>
                  <a:pt x="8094" y="16206"/>
                </a:lnTo>
                <a:close/>
                <a:moveTo>
                  <a:pt x="12798" y="17434"/>
                </a:moveTo>
                <a:cubicBezTo>
                  <a:pt x="12899" y="17544"/>
                  <a:pt x="12950" y="17675"/>
                  <a:pt x="12950" y="17827"/>
                </a:cubicBezTo>
                <a:cubicBezTo>
                  <a:pt x="12950" y="17962"/>
                  <a:pt x="12899" y="18085"/>
                  <a:pt x="12798" y="18194"/>
                </a:cubicBezTo>
                <a:cubicBezTo>
                  <a:pt x="12697" y="18304"/>
                  <a:pt x="12570" y="18359"/>
                  <a:pt x="12419" y="18359"/>
                </a:cubicBezTo>
                <a:lnTo>
                  <a:pt x="9181" y="18359"/>
                </a:lnTo>
                <a:cubicBezTo>
                  <a:pt x="9030" y="18359"/>
                  <a:pt x="8903" y="18304"/>
                  <a:pt x="8802" y="18194"/>
                </a:cubicBezTo>
                <a:cubicBezTo>
                  <a:pt x="8701" y="18085"/>
                  <a:pt x="8650" y="17962"/>
                  <a:pt x="8650" y="17827"/>
                </a:cubicBezTo>
                <a:cubicBezTo>
                  <a:pt x="8650" y="17675"/>
                  <a:pt x="8701" y="17544"/>
                  <a:pt x="8802" y="17434"/>
                </a:cubicBezTo>
                <a:cubicBezTo>
                  <a:pt x="8903" y="17325"/>
                  <a:pt x="9030" y="17270"/>
                  <a:pt x="9181" y="17270"/>
                </a:cubicBezTo>
                <a:lnTo>
                  <a:pt x="12419" y="17270"/>
                </a:lnTo>
                <a:cubicBezTo>
                  <a:pt x="12570" y="17270"/>
                  <a:pt x="12697" y="17325"/>
                  <a:pt x="12798" y="17434"/>
                </a:cubicBezTo>
                <a:lnTo>
                  <a:pt x="12798" y="17434"/>
                </a:lnTo>
                <a:close/>
                <a:moveTo>
                  <a:pt x="18198" y="8787"/>
                </a:moveTo>
                <a:cubicBezTo>
                  <a:pt x="18088" y="8686"/>
                  <a:pt x="17958" y="8635"/>
                  <a:pt x="17806" y="8635"/>
                </a:cubicBezTo>
                <a:cubicBezTo>
                  <a:pt x="17671" y="8635"/>
                  <a:pt x="17549" y="8686"/>
                  <a:pt x="17439" y="8787"/>
                </a:cubicBezTo>
                <a:cubicBezTo>
                  <a:pt x="17329" y="8888"/>
                  <a:pt x="17275" y="9015"/>
                  <a:pt x="17275" y="9167"/>
                </a:cubicBezTo>
                <a:cubicBezTo>
                  <a:pt x="17275" y="9319"/>
                  <a:pt x="17329" y="9450"/>
                  <a:pt x="17439" y="9559"/>
                </a:cubicBezTo>
                <a:cubicBezTo>
                  <a:pt x="17549" y="9669"/>
                  <a:pt x="17671" y="9724"/>
                  <a:pt x="17806" y="9724"/>
                </a:cubicBezTo>
                <a:cubicBezTo>
                  <a:pt x="17958" y="9724"/>
                  <a:pt x="18088" y="9669"/>
                  <a:pt x="18198" y="9559"/>
                </a:cubicBezTo>
                <a:cubicBezTo>
                  <a:pt x="18308" y="9450"/>
                  <a:pt x="18363" y="9319"/>
                  <a:pt x="18363" y="9167"/>
                </a:cubicBezTo>
                <a:cubicBezTo>
                  <a:pt x="18363" y="9015"/>
                  <a:pt x="18308" y="8888"/>
                  <a:pt x="18198" y="8787"/>
                </a:cubicBezTo>
                <a:lnTo>
                  <a:pt x="18198" y="8787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>
            <a:miter lim="400000"/>
          </a:ln>
        </p:spPr>
        <p:txBody>
          <a:bodyPr lIns="27428" tIns="27428" rIns="27428" bIns="27428" anchor="ctr"/>
          <a:lstStyle/>
          <a:p>
            <a:pPr marL="0" marR="0" lvl="0" indent="0" algn="l" defTabSz="3291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29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377" name="CaixaDeTexto 1376">
            <a:extLst>
              <a:ext uri="{FF2B5EF4-FFF2-40B4-BE49-F238E27FC236}">
                <a16:creationId xmlns:a16="http://schemas.microsoft.com/office/drawing/2014/main" id="{3C1ED8D2-0E90-47C4-6521-F279B44175C7}"/>
              </a:ext>
            </a:extLst>
          </p:cNvPr>
          <p:cNvSpPr txBox="1"/>
          <p:nvPr/>
        </p:nvSpPr>
        <p:spPr>
          <a:xfrm>
            <a:off x="3634846" y="2724450"/>
            <a:ext cx="9659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165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Multifuncional/</a:t>
            </a:r>
          </a:p>
          <a:p>
            <a:pPr marL="0" marR="0" lvl="0" indent="0" algn="ctr" defTabSz="13165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 err="1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Superscanner</a:t>
            </a:r>
            <a:endParaRPr kumimoji="0" lang="pt-BR" sz="900" b="0" i="0" u="none" strike="noStrike" kern="1200" cap="none" spc="0" normalizeH="0" baseline="0" noProof="0">
              <a:ln>
                <a:noFill/>
              </a:ln>
              <a:solidFill>
                <a:srgbClr val="5F6062"/>
              </a:solidFill>
              <a:effectLst/>
              <a:uLnTx/>
              <a:uFillTx/>
              <a:latin typeface="Itau Display" panose="020B0503020204020204" pitchFamily="34" charset="0"/>
              <a:ea typeface="+mn-ea"/>
              <a:cs typeface="Itau Display" panose="020B0503020204020204" pitchFamily="34" charset="0"/>
            </a:endParaRPr>
          </a:p>
        </p:txBody>
      </p:sp>
      <p:cxnSp>
        <p:nvCxnSpPr>
          <p:cNvPr id="1378" name="Conector: Angulado 1377">
            <a:extLst>
              <a:ext uri="{FF2B5EF4-FFF2-40B4-BE49-F238E27FC236}">
                <a16:creationId xmlns:a16="http://schemas.microsoft.com/office/drawing/2014/main" id="{B40F985D-66CA-AA5B-AD5A-1BA305E420DE}"/>
              </a:ext>
            </a:extLst>
          </p:cNvPr>
          <p:cNvCxnSpPr>
            <a:cxnSpLocks/>
          </p:cNvCxnSpPr>
          <p:nvPr/>
        </p:nvCxnSpPr>
        <p:spPr>
          <a:xfrm rot="16200000" flipH="1">
            <a:off x="3304181" y="3498893"/>
            <a:ext cx="863682" cy="479513"/>
          </a:xfrm>
          <a:prstGeom prst="bentConnector3">
            <a:avLst>
              <a:gd name="adj1" fmla="val 98864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2" name="Conector: Angulado 1381">
            <a:extLst>
              <a:ext uri="{FF2B5EF4-FFF2-40B4-BE49-F238E27FC236}">
                <a16:creationId xmlns:a16="http://schemas.microsoft.com/office/drawing/2014/main" id="{312FF513-AFF6-A234-C14B-CFA37E26F84F}"/>
              </a:ext>
            </a:extLst>
          </p:cNvPr>
          <p:cNvCxnSpPr>
            <a:cxnSpLocks/>
          </p:cNvCxnSpPr>
          <p:nvPr/>
        </p:nvCxnSpPr>
        <p:spPr>
          <a:xfrm flipV="1">
            <a:off x="4320471" y="3249386"/>
            <a:ext cx="1687447" cy="922875"/>
          </a:xfrm>
          <a:prstGeom prst="bentConnector3">
            <a:avLst>
              <a:gd name="adj1" fmla="val 31937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5" name="Conector: Angulado 1384">
            <a:extLst>
              <a:ext uri="{FF2B5EF4-FFF2-40B4-BE49-F238E27FC236}">
                <a16:creationId xmlns:a16="http://schemas.microsoft.com/office/drawing/2014/main" id="{43B36D0B-CDB0-0E91-6109-BD53FF306A75}"/>
              </a:ext>
            </a:extLst>
          </p:cNvPr>
          <p:cNvCxnSpPr>
            <a:cxnSpLocks/>
          </p:cNvCxnSpPr>
          <p:nvPr/>
        </p:nvCxnSpPr>
        <p:spPr>
          <a:xfrm flipV="1">
            <a:off x="4320471" y="3250589"/>
            <a:ext cx="1687447" cy="419943"/>
          </a:xfrm>
          <a:prstGeom prst="bentConnector3">
            <a:avLst>
              <a:gd name="adj1" fmla="val 31938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8" name="Conector: Angulado 1387">
            <a:extLst>
              <a:ext uri="{FF2B5EF4-FFF2-40B4-BE49-F238E27FC236}">
                <a16:creationId xmlns:a16="http://schemas.microsoft.com/office/drawing/2014/main" id="{5822E2D1-83BC-E9F0-5DBE-E4F21F576549}"/>
              </a:ext>
            </a:extLst>
          </p:cNvPr>
          <p:cNvCxnSpPr>
            <a:cxnSpLocks/>
          </p:cNvCxnSpPr>
          <p:nvPr/>
        </p:nvCxnSpPr>
        <p:spPr>
          <a:xfrm flipV="1">
            <a:off x="4250087" y="3245711"/>
            <a:ext cx="1757828" cy="1148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8" name="Conector de Seta Reta 1397">
            <a:extLst>
              <a:ext uri="{FF2B5EF4-FFF2-40B4-BE49-F238E27FC236}">
                <a16:creationId xmlns:a16="http://schemas.microsoft.com/office/drawing/2014/main" id="{03FCBC61-A0DF-B27B-B968-410EA26F80E9}"/>
              </a:ext>
            </a:extLst>
          </p:cNvPr>
          <p:cNvCxnSpPr>
            <a:cxnSpLocks/>
          </p:cNvCxnSpPr>
          <p:nvPr/>
        </p:nvCxnSpPr>
        <p:spPr>
          <a:xfrm flipV="1">
            <a:off x="4289257" y="4170491"/>
            <a:ext cx="877451" cy="1999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7" name="Conector: Angulado 1406">
            <a:extLst>
              <a:ext uri="{FF2B5EF4-FFF2-40B4-BE49-F238E27FC236}">
                <a16:creationId xmlns:a16="http://schemas.microsoft.com/office/drawing/2014/main" id="{825281A9-6E11-C6BF-7CEE-4020AA81CBC1}"/>
              </a:ext>
            </a:extLst>
          </p:cNvPr>
          <p:cNvCxnSpPr>
            <a:cxnSpLocks/>
            <a:stCxn id="1374" idx="2"/>
          </p:cNvCxnSpPr>
          <p:nvPr/>
        </p:nvCxnSpPr>
        <p:spPr>
          <a:xfrm flipV="1">
            <a:off x="5305075" y="3283848"/>
            <a:ext cx="458325" cy="942415"/>
          </a:xfrm>
          <a:prstGeom prst="bentConnector2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5" name="Conector: Angulado 1414">
            <a:extLst>
              <a:ext uri="{FF2B5EF4-FFF2-40B4-BE49-F238E27FC236}">
                <a16:creationId xmlns:a16="http://schemas.microsoft.com/office/drawing/2014/main" id="{0334696B-3304-4D81-CDC1-A2C36B253DB1}"/>
              </a:ext>
            </a:extLst>
          </p:cNvPr>
          <p:cNvCxnSpPr>
            <a:cxnSpLocks/>
          </p:cNvCxnSpPr>
          <p:nvPr/>
        </p:nvCxnSpPr>
        <p:spPr>
          <a:xfrm>
            <a:off x="4169635" y="2627096"/>
            <a:ext cx="1825737" cy="621280"/>
          </a:xfrm>
          <a:prstGeom prst="bentConnector3">
            <a:avLst>
              <a:gd name="adj1" fmla="val 37405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1" name="Conector: Angulado 1420">
            <a:extLst>
              <a:ext uri="{FF2B5EF4-FFF2-40B4-BE49-F238E27FC236}">
                <a16:creationId xmlns:a16="http://schemas.microsoft.com/office/drawing/2014/main" id="{9764A3D5-CB38-9844-B56E-DACD3D98AD55}"/>
              </a:ext>
            </a:extLst>
          </p:cNvPr>
          <p:cNvCxnSpPr>
            <a:cxnSpLocks/>
            <a:stCxn id="1263" idx="5"/>
          </p:cNvCxnSpPr>
          <p:nvPr/>
        </p:nvCxnSpPr>
        <p:spPr>
          <a:xfrm>
            <a:off x="4271351" y="2038147"/>
            <a:ext cx="1736567" cy="357822"/>
          </a:xfrm>
          <a:prstGeom prst="bentConnector3">
            <a:avLst>
              <a:gd name="adj1" fmla="val 62151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8" name="Forma">
            <a:extLst>
              <a:ext uri="{FF2B5EF4-FFF2-40B4-BE49-F238E27FC236}">
                <a16:creationId xmlns:a16="http://schemas.microsoft.com/office/drawing/2014/main" id="{B698BBEA-1270-C574-7EEE-41754CD8C7DE}"/>
              </a:ext>
            </a:extLst>
          </p:cNvPr>
          <p:cNvSpPr>
            <a:spLocks noChangeAspect="1"/>
          </p:cNvSpPr>
          <p:nvPr/>
        </p:nvSpPr>
        <p:spPr>
          <a:xfrm>
            <a:off x="2721804" y="3062795"/>
            <a:ext cx="307781" cy="252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462" y="21417"/>
                </a:moveTo>
                <a:cubicBezTo>
                  <a:pt x="21554" y="21295"/>
                  <a:pt x="21600" y="21160"/>
                  <a:pt x="21600" y="21009"/>
                </a:cubicBezTo>
                <a:cubicBezTo>
                  <a:pt x="21600" y="20841"/>
                  <a:pt x="21554" y="20696"/>
                  <a:pt x="21462" y="20573"/>
                </a:cubicBezTo>
                <a:cubicBezTo>
                  <a:pt x="21370" y="20452"/>
                  <a:pt x="21255" y="20391"/>
                  <a:pt x="21116" y="20391"/>
                </a:cubicBezTo>
                <a:lnTo>
                  <a:pt x="484" y="20391"/>
                </a:lnTo>
                <a:cubicBezTo>
                  <a:pt x="345" y="20391"/>
                  <a:pt x="230" y="20452"/>
                  <a:pt x="138" y="20573"/>
                </a:cubicBezTo>
                <a:cubicBezTo>
                  <a:pt x="46" y="20696"/>
                  <a:pt x="0" y="20841"/>
                  <a:pt x="0" y="21009"/>
                </a:cubicBezTo>
                <a:cubicBezTo>
                  <a:pt x="0" y="21160"/>
                  <a:pt x="46" y="21295"/>
                  <a:pt x="138" y="21417"/>
                </a:cubicBezTo>
                <a:cubicBezTo>
                  <a:pt x="230" y="21539"/>
                  <a:pt x="345" y="21600"/>
                  <a:pt x="484" y="21600"/>
                </a:cubicBezTo>
                <a:lnTo>
                  <a:pt x="21116" y="21600"/>
                </a:lnTo>
                <a:lnTo>
                  <a:pt x="21116" y="21600"/>
                </a:lnTo>
                <a:lnTo>
                  <a:pt x="21116" y="21600"/>
                </a:lnTo>
                <a:cubicBezTo>
                  <a:pt x="21255" y="21600"/>
                  <a:pt x="21370" y="21539"/>
                  <a:pt x="21462" y="21417"/>
                </a:cubicBezTo>
                <a:lnTo>
                  <a:pt x="21462" y="21417"/>
                </a:lnTo>
                <a:close/>
                <a:moveTo>
                  <a:pt x="19643" y="15609"/>
                </a:moveTo>
                <a:lnTo>
                  <a:pt x="1957" y="15609"/>
                </a:lnTo>
                <a:lnTo>
                  <a:pt x="1957" y="1209"/>
                </a:lnTo>
                <a:lnTo>
                  <a:pt x="19643" y="1209"/>
                </a:lnTo>
                <a:lnTo>
                  <a:pt x="19643" y="15609"/>
                </a:lnTo>
                <a:lnTo>
                  <a:pt x="19643" y="15609"/>
                </a:lnTo>
                <a:close/>
                <a:moveTo>
                  <a:pt x="1957" y="0"/>
                </a:moveTo>
                <a:cubicBezTo>
                  <a:pt x="1681" y="0"/>
                  <a:pt x="1447" y="117"/>
                  <a:pt x="1255" y="352"/>
                </a:cubicBezTo>
                <a:cubicBezTo>
                  <a:pt x="1063" y="586"/>
                  <a:pt x="967" y="872"/>
                  <a:pt x="967" y="1209"/>
                </a:cubicBezTo>
                <a:lnTo>
                  <a:pt x="967" y="15609"/>
                </a:lnTo>
                <a:cubicBezTo>
                  <a:pt x="967" y="15928"/>
                  <a:pt x="1063" y="16205"/>
                  <a:pt x="1255" y="16439"/>
                </a:cubicBezTo>
                <a:cubicBezTo>
                  <a:pt x="1447" y="16674"/>
                  <a:pt x="1681" y="16791"/>
                  <a:pt x="1957" y="16791"/>
                </a:cubicBezTo>
                <a:lnTo>
                  <a:pt x="19643" y="16791"/>
                </a:lnTo>
                <a:cubicBezTo>
                  <a:pt x="19919" y="16791"/>
                  <a:pt x="20153" y="16674"/>
                  <a:pt x="20345" y="16439"/>
                </a:cubicBezTo>
                <a:cubicBezTo>
                  <a:pt x="20537" y="16205"/>
                  <a:pt x="20633" y="15928"/>
                  <a:pt x="20633" y="15609"/>
                </a:cubicBezTo>
                <a:lnTo>
                  <a:pt x="20633" y="1209"/>
                </a:lnTo>
                <a:cubicBezTo>
                  <a:pt x="20633" y="872"/>
                  <a:pt x="20537" y="586"/>
                  <a:pt x="20345" y="352"/>
                </a:cubicBezTo>
                <a:cubicBezTo>
                  <a:pt x="20153" y="117"/>
                  <a:pt x="19919" y="0"/>
                  <a:pt x="19643" y="0"/>
                </a:cubicBezTo>
                <a:lnTo>
                  <a:pt x="1957" y="0"/>
                </a:lnTo>
                <a:lnTo>
                  <a:pt x="1957" y="0"/>
                </a:lnTo>
                <a:close/>
                <a:moveTo>
                  <a:pt x="15221" y="2391"/>
                </a:moveTo>
                <a:cubicBezTo>
                  <a:pt x="15359" y="2391"/>
                  <a:pt x="15475" y="2452"/>
                  <a:pt x="15567" y="2573"/>
                </a:cubicBezTo>
                <a:cubicBezTo>
                  <a:pt x="15659" y="2696"/>
                  <a:pt x="15705" y="2841"/>
                  <a:pt x="15705" y="3009"/>
                </a:cubicBezTo>
                <a:lnTo>
                  <a:pt x="15705" y="4191"/>
                </a:lnTo>
                <a:cubicBezTo>
                  <a:pt x="15705" y="4359"/>
                  <a:pt x="15659" y="4505"/>
                  <a:pt x="15567" y="4627"/>
                </a:cubicBezTo>
                <a:cubicBezTo>
                  <a:pt x="15475" y="4749"/>
                  <a:pt x="15359" y="4809"/>
                  <a:pt x="15221" y="4809"/>
                </a:cubicBezTo>
                <a:lnTo>
                  <a:pt x="14231" y="4809"/>
                </a:lnTo>
                <a:cubicBezTo>
                  <a:pt x="14108" y="4809"/>
                  <a:pt x="13997" y="4749"/>
                  <a:pt x="13897" y="4627"/>
                </a:cubicBezTo>
                <a:cubicBezTo>
                  <a:pt x="13797" y="4505"/>
                  <a:pt x="13748" y="4359"/>
                  <a:pt x="13748" y="4191"/>
                </a:cubicBezTo>
                <a:lnTo>
                  <a:pt x="13748" y="3009"/>
                </a:lnTo>
                <a:cubicBezTo>
                  <a:pt x="13748" y="2841"/>
                  <a:pt x="13797" y="2696"/>
                  <a:pt x="13897" y="2573"/>
                </a:cubicBezTo>
                <a:cubicBezTo>
                  <a:pt x="13997" y="2452"/>
                  <a:pt x="14108" y="2391"/>
                  <a:pt x="14231" y="2391"/>
                </a:cubicBezTo>
                <a:lnTo>
                  <a:pt x="15221" y="2391"/>
                </a:lnTo>
                <a:lnTo>
                  <a:pt x="15221" y="2391"/>
                </a:lnTo>
                <a:lnTo>
                  <a:pt x="15221" y="2391"/>
                </a:lnTo>
                <a:close/>
                <a:moveTo>
                  <a:pt x="18169" y="2391"/>
                </a:moveTo>
                <a:cubicBezTo>
                  <a:pt x="18307" y="2391"/>
                  <a:pt x="18422" y="2452"/>
                  <a:pt x="18514" y="2573"/>
                </a:cubicBezTo>
                <a:cubicBezTo>
                  <a:pt x="18606" y="2696"/>
                  <a:pt x="18652" y="2841"/>
                  <a:pt x="18652" y="3009"/>
                </a:cubicBezTo>
                <a:lnTo>
                  <a:pt x="18652" y="4191"/>
                </a:lnTo>
                <a:cubicBezTo>
                  <a:pt x="18652" y="4359"/>
                  <a:pt x="18606" y="4505"/>
                  <a:pt x="18514" y="4627"/>
                </a:cubicBezTo>
                <a:cubicBezTo>
                  <a:pt x="18422" y="4749"/>
                  <a:pt x="18307" y="4809"/>
                  <a:pt x="18169" y="4809"/>
                </a:cubicBezTo>
                <a:lnTo>
                  <a:pt x="17179" y="4809"/>
                </a:lnTo>
                <a:cubicBezTo>
                  <a:pt x="17056" y="4809"/>
                  <a:pt x="16944" y="4749"/>
                  <a:pt x="16845" y="4627"/>
                </a:cubicBezTo>
                <a:cubicBezTo>
                  <a:pt x="16745" y="4505"/>
                  <a:pt x="16695" y="4359"/>
                  <a:pt x="16695" y="4191"/>
                </a:cubicBezTo>
                <a:lnTo>
                  <a:pt x="16695" y="3009"/>
                </a:lnTo>
                <a:cubicBezTo>
                  <a:pt x="16695" y="2841"/>
                  <a:pt x="16745" y="2696"/>
                  <a:pt x="16845" y="2573"/>
                </a:cubicBezTo>
                <a:cubicBezTo>
                  <a:pt x="16944" y="2452"/>
                  <a:pt x="17056" y="2391"/>
                  <a:pt x="17179" y="2391"/>
                </a:cubicBezTo>
                <a:lnTo>
                  <a:pt x="18169" y="2391"/>
                </a:lnTo>
                <a:lnTo>
                  <a:pt x="18169" y="2391"/>
                </a:lnTo>
                <a:lnTo>
                  <a:pt x="18169" y="2391"/>
                </a:lnTo>
                <a:close/>
                <a:moveTo>
                  <a:pt x="15221" y="5991"/>
                </a:moveTo>
                <a:cubicBezTo>
                  <a:pt x="15359" y="5991"/>
                  <a:pt x="15475" y="6052"/>
                  <a:pt x="15567" y="6173"/>
                </a:cubicBezTo>
                <a:cubicBezTo>
                  <a:pt x="15659" y="6296"/>
                  <a:pt x="15705" y="6441"/>
                  <a:pt x="15705" y="6609"/>
                </a:cubicBezTo>
                <a:lnTo>
                  <a:pt x="15705" y="7791"/>
                </a:lnTo>
                <a:cubicBezTo>
                  <a:pt x="15705" y="7959"/>
                  <a:pt x="15659" y="8105"/>
                  <a:pt x="15567" y="8227"/>
                </a:cubicBezTo>
                <a:cubicBezTo>
                  <a:pt x="15475" y="8349"/>
                  <a:pt x="15359" y="8409"/>
                  <a:pt x="15221" y="8409"/>
                </a:cubicBezTo>
                <a:lnTo>
                  <a:pt x="14231" y="8409"/>
                </a:lnTo>
                <a:cubicBezTo>
                  <a:pt x="14108" y="8409"/>
                  <a:pt x="13997" y="8349"/>
                  <a:pt x="13897" y="8227"/>
                </a:cubicBezTo>
                <a:cubicBezTo>
                  <a:pt x="13797" y="8105"/>
                  <a:pt x="13748" y="7959"/>
                  <a:pt x="13748" y="7791"/>
                </a:cubicBezTo>
                <a:lnTo>
                  <a:pt x="13748" y="6609"/>
                </a:lnTo>
                <a:cubicBezTo>
                  <a:pt x="13748" y="6441"/>
                  <a:pt x="13797" y="6296"/>
                  <a:pt x="13897" y="6173"/>
                </a:cubicBezTo>
                <a:cubicBezTo>
                  <a:pt x="13997" y="6052"/>
                  <a:pt x="14108" y="5991"/>
                  <a:pt x="14231" y="5991"/>
                </a:cubicBezTo>
                <a:lnTo>
                  <a:pt x="15221" y="5991"/>
                </a:lnTo>
                <a:lnTo>
                  <a:pt x="15221" y="5991"/>
                </a:lnTo>
                <a:lnTo>
                  <a:pt x="15221" y="5991"/>
                </a:lnTo>
                <a:close/>
                <a:moveTo>
                  <a:pt x="18169" y="5991"/>
                </a:moveTo>
                <a:cubicBezTo>
                  <a:pt x="18307" y="5991"/>
                  <a:pt x="18422" y="6052"/>
                  <a:pt x="18514" y="6173"/>
                </a:cubicBezTo>
                <a:cubicBezTo>
                  <a:pt x="18606" y="6296"/>
                  <a:pt x="18652" y="6441"/>
                  <a:pt x="18652" y="6609"/>
                </a:cubicBezTo>
                <a:lnTo>
                  <a:pt x="18652" y="7791"/>
                </a:lnTo>
                <a:cubicBezTo>
                  <a:pt x="18652" y="7959"/>
                  <a:pt x="18606" y="8105"/>
                  <a:pt x="18514" y="8227"/>
                </a:cubicBezTo>
                <a:cubicBezTo>
                  <a:pt x="18422" y="8349"/>
                  <a:pt x="18307" y="8409"/>
                  <a:pt x="18169" y="8409"/>
                </a:cubicBezTo>
                <a:lnTo>
                  <a:pt x="17179" y="8409"/>
                </a:lnTo>
                <a:cubicBezTo>
                  <a:pt x="17056" y="8409"/>
                  <a:pt x="16944" y="8349"/>
                  <a:pt x="16845" y="8227"/>
                </a:cubicBezTo>
                <a:cubicBezTo>
                  <a:pt x="16745" y="8105"/>
                  <a:pt x="16695" y="7959"/>
                  <a:pt x="16695" y="7791"/>
                </a:cubicBezTo>
                <a:lnTo>
                  <a:pt x="16695" y="6609"/>
                </a:lnTo>
                <a:cubicBezTo>
                  <a:pt x="16695" y="6441"/>
                  <a:pt x="16745" y="6296"/>
                  <a:pt x="16845" y="6173"/>
                </a:cubicBezTo>
                <a:cubicBezTo>
                  <a:pt x="16944" y="6052"/>
                  <a:pt x="17056" y="5991"/>
                  <a:pt x="17179" y="5991"/>
                </a:cubicBezTo>
                <a:lnTo>
                  <a:pt x="18169" y="5991"/>
                </a:lnTo>
                <a:lnTo>
                  <a:pt x="18169" y="5991"/>
                </a:lnTo>
                <a:lnTo>
                  <a:pt x="18169" y="5991"/>
                </a:lnTo>
                <a:close/>
                <a:moveTo>
                  <a:pt x="18169" y="9591"/>
                </a:moveTo>
                <a:cubicBezTo>
                  <a:pt x="18307" y="9591"/>
                  <a:pt x="18422" y="9652"/>
                  <a:pt x="18514" y="9773"/>
                </a:cubicBezTo>
                <a:cubicBezTo>
                  <a:pt x="18606" y="9896"/>
                  <a:pt x="18652" y="10041"/>
                  <a:pt x="18652" y="10209"/>
                </a:cubicBezTo>
                <a:lnTo>
                  <a:pt x="18652" y="11391"/>
                </a:lnTo>
                <a:cubicBezTo>
                  <a:pt x="18652" y="11559"/>
                  <a:pt x="18606" y="11705"/>
                  <a:pt x="18514" y="11827"/>
                </a:cubicBezTo>
                <a:cubicBezTo>
                  <a:pt x="18422" y="11949"/>
                  <a:pt x="18307" y="12009"/>
                  <a:pt x="18169" y="12009"/>
                </a:cubicBezTo>
                <a:lnTo>
                  <a:pt x="17179" y="12009"/>
                </a:lnTo>
                <a:cubicBezTo>
                  <a:pt x="17056" y="12009"/>
                  <a:pt x="16944" y="11949"/>
                  <a:pt x="16845" y="11827"/>
                </a:cubicBezTo>
                <a:cubicBezTo>
                  <a:pt x="16745" y="11705"/>
                  <a:pt x="16695" y="11559"/>
                  <a:pt x="16695" y="11391"/>
                </a:cubicBezTo>
                <a:lnTo>
                  <a:pt x="16695" y="10209"/>
                </a:lnTo>
                <a:cubicBezTo>
                  <a:pt x="16695" y="10041"/>
                  <a:pt x="16745" y="9896"/>
                  <a:pt x="16845" y="9773"/>
                </a:cubicBezTo>
                <a:cubicBezTo>
                  <a:pt x="16944" y="9652"/>
                  <a:pt x="17056" y="9591"/>
                  <a:pt x="17179" y="9591"/>
                </a:cubicBezTo>
                <a:lnTo>
                  <a:pt x="18169" y="9591"/>
                </a:lnTo>
                <a:lnTo>
                  <a:pt x="18169" y="9591"/>
                </a:lnTo>
                <a:lnTo>
                  <a:pt x="18169" y="9591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>
            <a:miter lim="400000"/>
          </a:ln>
        </p:spPr>
        <p:txBody>
          <a:bodyPr lIns="27428" tIns="27428" rIns="27428" bIns="27428" anchor="ctr"/>
          <a:lstStyle/>
          <a:p>
            <a:pPr marL="0" marR="0" lvl="0" indent="0" algn="l" defTabSz="3291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lang="pt-BR" sz="129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449" name="Forma">
            <a:extLst>
              <a:ext uri="{FF2B5EF4-FFF2-40B4-BE49-F238E27FC236}">
                <a16:creationId xmlns:a16="http://schemas.microsoft.com/office/drawing/2014/main" id="{81D61A98-8452-AC6D-1C82-BE71054B991E}"/>
              </a:ext>
            </a:extLst>
          </p:cNvPr>
          <p:cNvSpPr>
            <a:spLocks noChangeAspect="1"/>
          </p:cNvSpPr>
          <p:nvPr/>
        </p:nvSpPr>
        <p:spPr>
          <a:xfrm>
            <a:off x="2972357" y="3003782"/>
            <a:ext cx="180055" cy="180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9" h="21600" extrusionOk="0">
                <a:moveTo>
                  <a:pt x="21260" y="2520"/>
                </a:moveTo>
                <a:cubicBezTo>
                  <a:pt x="21041" y="2106"/>
                  <a:pt x="20720" y="1688"/>
                  <a:pt x="20299" y="1266"/>
                </a:cubicBezTo>
                <a:cubicBezTo>
                  <a:pt x="19877" y="844"/>
                  <a:pt x="19459" y="528"/>
                  <a:pt x="19046" y="317"/>
                </a:cubicBezTo>
                <a:cubicBezTo>
                  <a:pt x="18633" y="106"/>
                  <a:pt x="18224" y="0"/>
                  <a:pt x="17819" y="0"/>
                </a:cubicBezTo>
                <a:cubicBezTo>
                  <a:pt x="17448" y="0"/>
                  <a:pt x="17148" y="68"/>
                  <a:pt x="16921" y="203"/>
                </a:cubicBezTo>
                <a:cubicBezTo>
                  <a:pt x="16693" y="338"/>
                  <a:pt x="16554" y="439"/>
                  <a:pt x="16503" y="506"/>
                </a:cubicBezTo>
                <a:lnTo>
                  <a:pt x="15618" y="1367"/>
                </a:lnTo>
                <a:cubicBezTo>
                  <a:pt x="16124" y="1401"/>
                  <a:pt x="16621" y="1545"/>
                  <a:pt x="17110" y="1798"/>
                </a:cubicBezTo>
                <a:cubicBezTo>
                  <a:pt x="17600" y="2051"/>
                  <a:pt x="18080" y="2406"/>
                  <a:pt x="18553" y="2861"/>
                </a:cubicBezTo>
                <a:cubicBezTo>
                  <a:pt x="18553" y="2878"/>
                  <a:pt x="18561" y="2895"/>
                  <a:pt x="18578" y="2912"/>
                </a:cubicBezTo>
                <a:cubicBezTo>
                  <a:pt x="18595" y="2929"/>
                  <a:pt x="18612" y="2937"/>
                  <a:pt x="18629" y="2937"/>
                </a:cubicBezTo>
                <a:cubicBezTo>
                  <a:pt x="18645" y="2954"/>
                  <a:pt x="18658" y="2971"/>
                  <a:pt x="18667" y="2988"/>
                </a:cubicBezTo>
                <a:cubicBezTo>
                  <a:pt x="18675" y="3005"/>
                  <a:pt x="18688" y="3022"/>
                  <a:pt x="18705" y="3039"/>
                </a:cubicBezTo>
                <a:cubicBezTo>
                  <a:pt x="19177" y="3511"/>
                  <a:pt x="19535" y="3992"/>
                  <a:pt x="19780" y="4482"/>
                </a:cubicBezTo>
                <a:cubicBezTo>
                  <a:pt x="20024" y="4972"/>
                  <a:pt x="20163" y="5461"/>
                  <a:pt x="20197" y="5951"/>
                </a:cubicBezTo>
                <a:lnTo>
                  <a:pt x="21083" y="5090"/>
                </a:lnTo>
                <a:cubicBezTo>
                  <a:pt x="21134" y="5023"/>
                  <a:pt x="21230" y="4879"/>
                  <a:pt x="21374" y="4659"/>
                </a:cubicBezTo>
                <a:cubicBezTo>
                  <a:pt x="21517" y="4440"/>
                  <a:pt x="21589" y="4136"/>
                  <a:pt x="21589" y="3748"/>
                </a:cubicBezTo>
                <a:cubicBezTo>
                  <a:pt x="21589" y="3343"/>
                  <a:pt x="21479" y="2933"/>
                  <a:pt x="21260" y="2520"/>
                </a:cubicBezTo>
                <a:lnTo>
                  <a:pt x="21260" y="2520"/>
                </a:lnTo>
                <a:close/>
                <a:moveTo>
                  <a:pt x="17870" y="3722"/>
                </a:moveTo>
                <a:cubicBezTo>
                  <a:pt x="17448" y="3301"/>
                  <a:pt x="17030" y="2980"/>
                  <a:pt x="16617" y="2760"/>
                </a:cubicBezTo>
                <a:cubicBezTo>
                  <a:pt x="16204" y="2541"/>
                  <a:pt x="15795" y="2431"/>
                  <a:pt x="15390" y="2431"/>
                </a:cubicBezTo>
                <a:cubicBezTo>
                  <a:pt x="15002" y="2431"/>
                  <a:pt x="14698" y="2503"/>
                  <a:pt x="14479" y="2646"/>
                </a:cubicBezTo>
                <a:cubicBezTo>
                  <a:pt x="14260" y="2790"/>
                  <a:pt x="14116" y="2887"/>
                  <a:pt x="14049" y="2937"/>
                </a:cubicBezTo>
                <a:lnTo>
                  <a:pt x="2612" y="14408"/>
                </a:lnTo>
                <a:lnTo>
                  <a:pt x="2587" y="14408"/>
                </a:lnTo>
                <a:lnTo>
                  <a:pt x="2587" y="14434"/>
                </a:lnTo>
                <a:lnTo>
                  <a:pt x="2562" y="14434"/>
                </a:lnTo>
                <a:lnTo>
                  <a:pt x="2562" y="14459"/>
                </a:lnTo>
                <a:lnTo>
                  <a:pt x="2536" y="14459"/>
                </a:lnTo>
                <a:lnTo>
                  <a:pt x="2536" y="14484"/>
                </a:lnTo>
                <a:lnTo>
                  <a:pt x="2511" y="14510"/>
                </a:lnTo>
                <a:lnTo>
                  <a:pt x="2486" y="14535"/>
                </a:lnTo>
                <a:cubicBezTo>
                  <a:pt x="2486" y="14552"/>
                  <a:pt x="2477" y="14560"/>
                  <a:pt x="2460" y="14560"/>
                </a:cubicBezTo>
                <a:lnTo>
                  <a:pt x="2460" y="14586"/>
                </a:lnTo>
                <a:lnTo>
                  <a:pt x="2435" y="14611"/>
                </a:lnTo>
                <a:lnTo>
                  <a:pt x="2435" y="14636"/>
                </a:lnTo>
                <a:cubicBezTo>
                  <a:pt x="2418" y="14636"/>
                  <a:pt x="2410" y="14645"/>
                  <a:pt x="2410" y="14662"/>
                </a:cubicBezTo>
                <a:lnTo>
                  <a:pt x="2410" y="14687"/>
                </a:lnTo>
                <a:lnTo>
                  <a:pt x="2384" y="14687"/>
                </a:lnTo>
                <a:lnTo>
                  <a:pt x="2384" y="14712"/>
                </a:lnTo>
                <a:lnTo>
                  <a:pt x="2384" y="14738"/>
                </a:lnTo>
                <a:lnTo>
                  <a:pt x="2359" y="14738"/>
                </a:lnTo>
                <a:lnTo>
                  <a:pt x="82" y="20081"/>
                </a:lnTo>
                <a:cubicBezTo>
                  <a:pt x="82" y="20098"/>
                  <a:pt x="78" y="20110"/>
                  <a:pt x="69" y="20119"/>
                </a:cubicBezTo>
                <a:cubicBezTo>
                  <a:pt x="61" y="20127"/>
                  <a:pt x="57" y="20140"/>
                  <a:pt x="57" y="20157"/>
                </a:cubicBezTo>
                <a:cubicBezTo>
                  <a:pt x="6" y="20309"/>
                  <a:pt x="-11" y="20465"/>
                  <a:pt x="6" y="20625"/>
                </a:cubicBezTo>
                <a:cubicBezTo>
                  <a:pt x="23" y="20786"/>
                  <a:pt x="73" y="20933"/>
                  <a:pt x="158" y="21068"/>
                </a:cubicBezTo>
                <a:lnTo>
                  <a:pt x="158" y="21094"/>
                </a:lnTo>
                <a:lnTo>
                  <a:pt x="183" y="21119"/>
                </a:lnTo>
                <a:lnTo>
                  <a:pt x="183" y="21144"/>
                </a:lnTo>
                <a:cubicBezTo>
                  <a:pt x="200" y="21144"/>
                  <a:pt x="217" y="21161"/>
                  <a:pt x="234" y="21195"/>
                </a:cubicBezTo>
                <a:cubicBezTo>
                  <a:pt x="234" y="21212"/>
                  <a:pt x="238" y="21220"/>
                  <a:pt x="246" y="21220"/>
                </a:cubicBezTo>
                <a:cubicBezTo>
                  <a:pt x="255" y="21220"/>
                  <a:pt x="259" y="21229"/>
                  <a:pt x="259" y="21245"/>
                </a:cubicBezTo>
                <a:cubicBezTo>
                  <a:pt x="276" y="21245"/>
                  <a:pt x="293" y="21254"/>
                  <a:pt x="310" y="21271"/>
                </a:cubicBezTo>
                <a:cubicBezTo>
                  <a:pt x="394" y="21372"/>
                  <a:pt x="495" y="21448"/>
                  <a:pt x="613" y="21499"/>
                </a:cubicBezTo>
                <a:cubicBezTo>
                  <a:pt x="731" y="21549"/>
                  <a:pt x="849" y="21583"/>
                  <a:pt x="967" y="21600"/>
                </a:cubicBezTo>
                <a:cubicBezTo>
                  <a:pt x="984" y="21600"/>
                  <a:pt x="1001" y="21600"/>
                  <a:pt x="1018" y="21600"/>
                </a:cubicBezTo>
                <a:cubicBezTo>
                  <a:pt x="1035" y="21600"/>
                  <a:pt x="1052" y="21600"/>
                  <a:pt x="1069" y="21600"/>
                </a:cubicBezTo>
                <a:cubicBezTo>
                  <a:pt x="1136" y="21600"/>
                  <a:pt x="1208" y="21592"/>
                  <a:pt x="1284" y="21575"/>
                </a:cubicBezTo>
                <a:cubicBezTo>
                  <a:pt x="1360" y="21558"/>
                  <a:pt x="1431" y="21533"/>
                  <a:pt x="1499" y="21499"/>
                </a:cubicBezTo>
                <a:lnTo>
                  <a:pt x="6838" y="19220"/>
                </a:lnTo>
                <a:lnTo>
                  <a:pt x="6863" y="19220"/>
                </a:lnTo>
                <a:cubicBezTo>
                  <a:pt x="6863" y="19203"/>
                  <a:pt x="6871" y="19194"/>
                  <a:pt x="6888" y="19194"/>
                </a:cubicBezTo>
                <a:lnTo>
                  <a:pt x="6914" y="19194"/>
                </a:lnTo>
                <a:lnTo>
                  <a:pt x="6914" y="19169"/>
                </a:lnTo>
                <a:lnTo>
                  <a:pt x="6939" y="19169"/>
                </a:lnTo>
                <a:cubicBezTo>
                  <a:pt x="6955" y="19169"/>
                  <a:pt x="6964" y="19161"/>
                  <a:pt x="6964" y="19144"/>
                </a:cubicBezTo>
                <a:lnTo>
                  <a:pt x="6989" y="19144"/>
                </a:lnTo>
                <a:cubicBezTo>
                  <a:pt x="6989" y="19127"/>
                  <a:pt x="6998" y="19118"/>
                  <a:pt x="7015" y="19118"/>
                </a:cubicBezTo>
                <a:cubicBezTo>
                  <a:pt x="7031" y="19118"/>
                  <a:pt x="7040" y="19110"/>
                  <a:pt x="7040" y="19093"/>
                </a:cubicBezTo>
                <a:lnTo>
                  <a:pt x="7065" y="19093"/>
                </a:lnTo>
                <a:lnTo>
                  <a:pt x="7065" y="19068"/>
                </a:lnTo>
                <a:lnTo>
                  <a:pt x="7091" y="19068"/>
                </a:lnTo>
                <a:lnTo>
                  <a:pt x="7116" y="19042"/>
                </a:lnTo>
                <a:lnTo>
                  <a:pt x="7141" y="19017"/>
                </a:lnTo>
                <a:lnTo>
                  <a:pt x="7167" y="19017"/>
                </a:lnTo>
                <a:lnTo>
                  <a:pt x="7167" y="18992"/>
                </a:lnTo>
                <a:lnTo>
                  <a:pt x="18629" y="7521"/>
                </a:lnTo>
                <a:cubicBezTo>
                  <a:pt x="18679" y="7470"/>
                  <a:pt x="18776" y="7331"/>
                  <a:pt x="18920" y="7103"/>
                </a:cubicBezTo>
                <a:cubicBezTo>
                  <a:pt x="19063" y="6875"/>
                  <a:pt x="19135" y="6575"/>
                  <a:pt x="19135" y="6204"/>
                </a:cubicBezTo>
                <a:cubicBezTo>
                  <a:pt x="19135" y="5799"/>
                  <a:pt x="19029" y="5390"/>
                  <a:pt x="18818" y="4976"/>
                </a:cubicBezTo>
                <a:cubicBezTo>
                  <a:pt x="18607" y="4562"/>
                  <a:pt x="18291" y="4144"/>
                  <a:pt x="17870" y="3722"/>
                </a:cubicBez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lnTo>
                  <a:pt x="17870" y="3722"/>
                </a:lnTo>
                <a:close/>
                <a:moveTo>
                  <a:pt x="5648" y="15928"/>
                </a:moveTo>
                <a:cubicBezTo>
                  <a:pt x="6408" y="16704"/>
                  <a:pt x="6661" y="17472"/>
                  <a:pt x="6408" y="18232"/>
                </a:cubicBezTo>
                <a:lnTo>
                  <a:pt x="1069" y="20511"/>
                </a:lnTo>
                <a:lnTo>
                  <a:pt x="3042" y="15928"/>
                </a:lnTo>
                <a:lnTo>
                  <a:pt x="3371" y="15168"/>
                </a:lnTo>
                <a:cubicBezTo>
                  <a:pt x="3557" y="15050"/>
                  <a:pt x="3742" y="14991"/>
                  <a:pt x="3928" y="14991"/>
                </a:cubicBezTo>
                <a:cubicBezTo>
                  <a:pt x="4113" y="14991"/>
                  <a:pt x="4349" y="15054"/>
                  <a:pt x="4636" y="15181"/>
                </a:cubicBezTo>
                <a:cubicBezTo>
                  <a:pt x="4923" y="15307"/>
                  <a:pt x="5260" y="15557"/>
                  <a:pt x="5648" y="15928"/>
                </a:cubicBezTo>
                <a:lnTo>
                  <a:pt x="5648" y="15928"/>
                </a:lnTo>
                <a:lnTo>
                  <a:pt x="5648" y="15928"/>
                </a:lnTo>
                <a:lnTo>
                  <a:pt x="5648" y="15928"/>
                </a:lnTo>
                <a:lnTo>
                  <a:pt x="5648" y="15928"/>
                </a:lnTo>
                <a:lnTo>
                  <a:pt x="5648" y="15928"/>
                </a:lnTo>
                <a:close/>
                <a:moveTo>
                  <a:pt x="17110" y="4482"/>
                </a:moveTo>
                <a:cubicBezTo>
                  <a:pt x="17870" y="5242"/>
                  <a:pt x="18123" y="6001"/>
                  <a:pt x="17870" y="6761"/>
                </a:cubicBezTo>
                <a:lnTo>
                  <a:pt x="7597" y="17042"/>
                </a:lnTo>
                <a:cubicBezTo>
                  <a:pt x="7512" y="16738"/>
                  <a:pt x="7373" y="16430"/>
                  <a:pt x="7179" y="16118"/>
                </a:cubicBezTo>
                <a:cubicBezTo>
                  <a:pt x="6985" y="15805"/>
                  <a:pt x="6728" y="15489"/>
                  <a:pt x="6408" y="15168"/>
                </a:cubicBezTo>
                <a:cubicBezTo>
                  <a:pt x="6104" y="14848"/>
                  <a:pt x="5796" y="14590"/>
                  <a:pt x="5484" y="14396"/>
                </a:cubicBezTo>
                <a:cubicBezTo>
                  <a:pt x="5172" y="14202"/>
                  <a:pt x="4855" y="14063"/>
                  <a:pt x="4535" y="13978"/>
                </a:cubicBezTo>
                <a:lnTo>
                  <a:pt x="14808" y="3722"/>
                </a:lnTo>
                <a:cubicBezTo>
                  <a:pt x="14993" y="3587"/>
                  <a:pt x="15187" y="3520"/>
                  <a:pt x="15390" y="3520"/>
                </a:cubicBezTo>
                <a:cubicBezTo>
                  <a:pt x="15575" y="3520"/>
                  <a:pt x="15811" y="3583"/>
                  <a:pt x="16098" y="3710"/>
                </a:cubicBezTo>
                <a:cubicBezTo>
                  <a:pt x="16385" y="3836"/>
                  <a:pt x="16722" y="4094"/>
                  <a:pt x="17110" y="4482"/>
                </a:cubicBezTo>
                <a:lnTo>
                  <a:pt x="17110" y="4482"/>
                </a:lnTo>
                <a:lnTo>
                  <a:pt x="17110" y="4482"/>
                </a:lnTo>
                <a:lnTo>
                  <a:pt x="17110" y="4482"/>
                </a:lnTo>
                <a:lnTo>
                  <a:pt x="17110" y="4482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>
            <a:miter lim="400000"/>
          </a:ln>
        </p:spPr>
        <p:txBody>
          <a:bodyPr lIns="27428" tIns="27428" rIns="27428" bIns="27428" anchor="ctr"/>
          <a:lstStyle/>
          <a:p>
            <a:pPr marL="0" marR="0" lvl="0" indent="0" algn="l" defTabSz="3291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lang="pt-BR" sz="129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450" name="CaixaDeTexto 1449">
            <a:extLst>
              <a:ext uri="{FF2B5EF4-FFF2-40B4-BE49-F238E27FC236}">
                <a16:creationId xmlns:a16="http://schemas.microsoft.com/office/drawing/2014/main" id="{40D1BDC5-C3A4-62C2-31A9-BA78CE15A294}"/>
              </a:ext>
            </a:extLst>
          </p:cNvPr>
          <p:cNvSpPr txBox="1"/>
          <p:nvPr/>
        </p:nvSpPr>
        <p:spPr>
          <a:xfrm>
            <a:off x="2516102" y="3235060"/>
            <a:ext cx="7427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165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 err="1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Templates</a:t>
            </a:r>
            <a:endParaRPr kumimoji="0" lang="pt-BR" sz="900" b="0" i="0" u="none" strike="noStrike" kern="1200" cap="none" spc="0" normalizeH="0" baseline="0" noProof="0">
              <a:ln>
                <a:noFill/>
              </a:ln>
              <a:solidFill>
                <a:srgbClr val="5F6062"/>
              </a:solidFill>
              <a:effectLst/>
              <a:uLnTx/>
              <a:uFillTx/>
              <a:latin typeface="Itau Display" panose="020B0503020204020204" pitchFamily="34" charset="0"/>
              <a:ea typeface="+mn-ea"/>
              <a:cs typeface="Itau Display" panose="020B0503020204020204" pitchFamily="34" charset="0"/>
            </a:endParaRPr>
          </a:p>
          <a:p>
            <a:pPr marL="0" marR="0" lvl="0" indent="0" algn="ctr" defTabSz="13165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digitais</a:t>
            </a:r>
          </a:p>
        </p:txBody>
      </p:sp>
      <p:cxnSp>
        <p:nvCxnSpPr>
          <p:cNvPr id="1452" name="Conector de Seta Reta 1451">
            <a:extLst>
              <a:ext uri="{FF2B5EF4-FFF2-40B4-BE49-F238E27FC236}">
                <a16:creationId xmlns:a16="http://schemas.microsoft.com/office/drawing/2014/main" id="{A072C10C-F6C3-1976-842C-A92923C8AF25}"/>
              </a:ext>
            </a:extLst>
          </p:cNvPr>
          <p:cNvCxnSpPr>
            <a:cxnSpLocks/>
          </p:cNvCxnSpPr>
          <p:nvPr/>
        </p:nvCxnSpPr>
        <p:spPr>
          <a:xfrm>
            <a:off x="2485264" y="3171272"/>
            <a:ext cx="259007" cy="1876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8" name="Conector de Seta Reta 1457">
            <a:extLst>
              <a:ext uri="{FF2B5EF4-FFF2-40B4-BE49-F238E27FC236}">
                <a16:creationId xmlns:a16="http://schemas.microsoft.com/office/drawing/2014/main" id="{A6DEB655-B97F-0376-C85F-388366ED3BB2}"/>
              </a:ext>
            </a:extLst>
          </p:cNvPr>
          <p:cNvCxnSpPr>
            <a:cxnSpLocks/>
          </p:cNvCxnSpPr>
          <p:nvPr/>
        </p:nvCxnSpPr>
        <p:spPr>
          <a:xfrm>
            <a:off x="3152412" y="3235782"/>
            <a:ext cx="787739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3" name="Conector reto 1462">
            <a:extLst>
              <a:ext uri="{FF2B5EF4-FFF2-40B4-BE49-F238E27FC236}">
                <a16:creationId xmlns:a16="http://schemas.microsoft.com/office/drawing/2014/main" id="{69B563FD-F792-799C-2359-ED855C23B2DE}"/>
              </a:ext>
            </a:extLst>
          </p:cNvPr>
          <p:cNvCxnSpPr>
            <a:cxnSpLocks/>
          </p:cNvCxnSpPr>
          <p:nvPr/>
        </p:nvCxnSpPr>
        <p:spPr>
          <a:xfrm>
            <a:off x="2260482" y="2672512"/>
            <a:ext cx="203175" cy="5744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65" name="Agrupar 1464">
            <a:extLst>
              <a:ext uri="{FF2B5EF4-FFF2-40B4-BE49-F238E27FC236}">
                <a16:creationId xmlns:a16="http://schemas.microsoft.com/office/drawing/2014/main" id="{A74B6C6A-70EF-E304-984F-EEA96C47E134}"/>
              </a:ext>
            </a:extLst>
          </p:cNvPr>
          <p:cNvGrpSpPr>
            <a:grpSpLocks noChangeAspect="1"/>
          </p:cNvGrpSpPr>
          <p:nvPr/>
        </p:nvGrpSpPr>
        <p:grpSpPr>
          <a:xfrm>
            <a:off x="6922668" y="1949112"/>
            <a:ext cx="246331" cy="252000"/>
            <a:chOff x="3593573" y="5931938"/>
            <a:chExt cx="409670" cy="419100"/>
          </a:xfrm>
        </p:grpSpPr>
        <p:sp>
          <p:nvSpPr>
            <p:cNvPr id="1466" name="Forma Livre: Forma 1465">
              <a:extLst>
                <a:ext uri="{FF2B5EF4-FFF2-40B4-BE49-F238E27FC236}">
                  <a16:creationId xmlns:a16="http://schemas.microsoft.com/office/drawing/2014/main" id="{777E0595-403D-DE1A-377F-B7B10C55D25C}"/>
                </a:ext>
              </a:extLst>
            </p:cNvPr>
            <p:cNvSpPr/>
            <p:nvPr/>
          </p:nvSpPr>
          <p:spPr>
            <a:xfrm>
              <a:off x="3593573" y="6122438"/>
              <a:ext cx="400050" cy="228600"/>
            </a:xfrm>
            <a:custGeom>
              <a:avLst/>
              <a:gdLst>
                <a:gd name="connsiteX0" fmla="*/ 263176 w 400050"/>
                <a:gd name="connsiteY0" fmla="*/ 95345 h 228600"/>
                <a:gd name="connsiteX1" fmla="*/ 200025 w 400050"/>
                <a:gd name="connsiteY1" fmla="*/ 114300 h 228600"/>
                <a:gd name="connsiteX2" fmla="*/ 136874 w 400050"/>
                <a:gd name="connsiteY2" fmla="*/ 95250 h 228600"/>
                <a:gd name="connsiteX3" fmla="*/ 0 w 400050"/>
                <a:gd name="connsiteY3" fmla="*/ 0 h 228600"/>
                <a:gd name="connsiteX4" fmla="*/ 0 w 400050"/>
                <a:gd name="connsiteY4" fmla="*/ 200025 h 228600"/>
                <a:gd name="connsiteX5" fmla="*/ 28575 w 400050"/>
                <a:gd name="connsiteY5" fmla="*/ 228600 h 228600"/>
                <a:gd name="connsiteX6" fmla="*/ 371475 w 400050"/>
                <a:gd name="connsiteY6" fmla="*/ 228600 h 228600"/>
                <a:gd name="connsiteX7" fmla="*/ 400050 w 400050"/>
                <a:gd name="connsiteY7" fmla="*/ 200025 h 228600"/>
                <a:gd name="connsiteX8" fmla="*/ 400050 w 400050"/>
                <a:gd name="connsiteY8" fmla="*/ 0 h 228600"/>
                <a:gd name="connsiteX9" fmla="*/ 263176 w 400050"/>
                <a:gd name="connsiteY9" fmla="*/ 95345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0050" h="228600">
                  <a:moveTo>
                    <a:pt x="263176" y="95345"/>
                  </a:moveTo>
                  <a:cubicBezTo>
                    <a:pt x="251650" y="102108"/>
                    <a:pt x="227552" y="114300"/>
                    <a:pt x="200025" y="114300"/>
                  </a:cubicBezTo>
                  <a:cubicBezTo>
                    <a:pt x="172498" y="114300"/>
                    <a:pt x="148400" y="102013"/>
                    <a:pt x="136874" y="95250"/>
                  </a:cubicBezTo>
                  <a:cubicBezTo>
                    <a:pt x="126301" y="89059"/>
                    <a:pt x="0" y="0"/>
                    <a:pt x="0" y="0"/>
                  </a:cubicBezTo>
                  <a:lnTo>
                    <a:pt x="0" y="200025"/>
                  </a:lnTo>
                  <a:cubicBezTo>
                    <a:pt x="0" y="215837"/>
                    <a:pt x="12764" y="228600"/>
                    <a:pt x="28575" y="228600"/>
                  </a:cubicBezTo>
                  <a:lnTo>
                    <a:pt x="371475" y="228600"/>
                  </a:lnTo>
                  <a:cubicBezTo>
                    <a:pt x="387287" y="228600"/>
                    <a:pt x="400050" y="215837"/>
                    <a:pt x="400050" y="200025"/>
                  </a:cubicBezTo>
                  <a:lnTo>
                    <a:pt x="400050" y="0"/>
                  </a:lnTo>
                  <a:cubicBezTo>
                    <a:pt x="400145" y="0"/>
                    <a:pt x="273749" y="89154"/>
                    <a:pt x="263176" y="95345"/>
                  </a:cubicBezTo>
                  <a:close/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7" name="Forma Livre: Forma 1466">
              <a:extLst>
                <a:ext uri="{FF2B5EF4-FFF2-40B4-BE49-F238E27FC236}">
                  <a16:creationId xmlns:a16="http://schemas.microsoft.com/office/drawing/2014/main" id="{B3E5A794-B00E-DFE4-44BD-7EA09EF827A5}"/>
                </a:ext>
              </a:extLst>
            </p:cNvPr>
            <p:cNvSpPr/>
            <p:nvPr/>
          </p:nvSpPr>
          <p:spPr>
            <a:xfrm>
              <a:off x="3860368" y="6217688"/>
              <a:ext cx="95250" cy="95250"/>
            </a:xfrm>
            <a:custGeom>
              <a:avLst/>
              <a:gdLst>
                <a:gd name="connsiteX0" fmla="*/ 0 w 95250"/>
                <a:gd name="connsiteY0" fmla="*/ 0 h 95250"/>
                <a:gd name="connsiteX1" fmla="*/ 95250 w 95250"/>
                <a:gd name="connsiteY1" fmla="*/ 95250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0" h="95250">
                  <a:moveTo>
                    <a:pt x="0" y="0"/>
                  </a:moveTo>
                  <a:lnTo>
                    <a:pt x="95250" y="95250"/>
                  </a:lnTo>
                </a:path>
              </a:pathLst>
            </a:custGeom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8" name="Forma Livre: Forma 1467">
              <a:extLst>
                <a:ext uri="{FF2B5EF4-FFF2-40B4-BE49-F238E27FC236}">
                  <a16:creationId xmlns:a16="http://schemas.microsoft.com/office/drawing/2014/main" id="{06BE18A0-F68E-4CE6-3C03-5133754058D3}"/>
                </a:ext>
              </a:extLst>
            </p:cNvPr>
            <p:cNvSpPr/>
            <p:nvPr/>
          </p:nvSpPr>
          <p:spPr>
            <a:xfrm>
              <a:off x="3631768" y="6217688"/>
              <a:ext cx="95250" cy="95250"/>
            </a:xfrm>
            <a:custGeom>
              <a:avLst/>
              <a:gdLst>
                <a:gd name="connsiteX0" fmla="*/ 95250 w 95250"/>
                <a:gd name="connsiteY0" fmla="*/ 0 h 95250"/>
                <a:gd name="connsiteX1" fmla="*/ 0 w 95250"/>
                <a:gd name="connsiteY1" fmla="*/ 95250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0" h="95250">
                  <a:moveTo>
                    <a:pt x="95250" y="0"/>
                  </a:moveTo>
                  <a:lnTo>
                    <a:pt x="0" y="95250"/>
                  </a:lnTo>
                </a:path>
              </a:pathLst>
            </a:custGeom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9" name="Forma Livre: Forma 1468">
              <a:extLst>
                <a:ext uri="{FF2B5EF4-FFF2-40B4-BE49-F238E27FC236}">
                  <a16:creationId xmlns:a16="http://schemas.microsoft.com/office/drawing/2014/main" id="{FD5B6F71-14B3-E22D-7880-94CE27B6A2DD}"/>
                </a:ext>
              </a:extLst>
            </p:cNvPr>
            <p:cNvSpPr/>
            <p:nvPr/>
          </p:nvSpPr>
          <p:spPr>
            <a:xfrm>
              <a:off x="3927138" y="6041856"/>
              <a:ext cx="57150" cy="76200"/>
            </a:xfrm>
            <a:custGeom>
              <a:avLst/>
              <a:gdLst>
                <a:gd name="connsiteX0" fmla="*/ 66580 w 57150"/>
                <a:gd name="connsiteY0" fmla="*/ 80582 h 76200"/>
                <a:gd name="connsiteX1" fmla="*/ 66580 w 57150"/>
                <a:gd name="connsiteY1" fmla="*/ 71057 h 76200"/>
                <a:gd name="connsiteX2" fmla="*/ 52769 w 57150"/>
                <a:gd name="connsiteY2" fmla="*/ 45339 h 76200"/>
                <a:gd name="connsiteX3" fmla="*/ 0 w 57150"/>
                <a:gd name="connsiteY3" fmla="*/ 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" h="76200">
                  <a:moveTo>
                    <a:pt x="66580" y="80582"/>
                  </a:moveTo>
                  <a:lnTo>
                    <a:pt x="66580" y="71057"/>
                  </a:lnTo>
                  <a:cubicBezTo>
                    <a:pt x="66580" y="60103"/>
                    <a:pt x="60865" y="51816"/>
                    <a:pt x="52769" y="45339"/>
                  </a:cubicBezTo>
                  <a:lnTo>
                    <a:pt x="0" y="0"/>
                  </a:lnTo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0" name="Forma Livre: Forma 1469">
              <a:extLst>
                <a:ext uri="{FF2B5EF4-FFF2-40B4-BE49-F238E27FC236}">
                  <a16:creationId xmlns:a16="http://schemas.microsoft.com/office/drawing/2014/main" id="{AF8B0D9A-1CE3-57FE-9925-0EF70C6FE0F5}"/>
                </a:ext>
              </a:extLst>
            </p:cNvPr>
            <p:cNvSpPr/>
            <p:nvPr/>
          </p:nvSpPr>
          <p:spPr>
            <a:xfrm>
              <a:off x="3593668" y="6041761"/>
              <a:ext cx="66675" cy="76200"/>
            </a:xfrm>
            <a:custGeom>
              <a:avLst/>
              <a:gdLst>
                <a:gd name="connsiteX0" fmla="*/ 0 w 66675"/>
                <a:gd name="connsiteY0" fmla="*/ 80677 h 76200"/>
                <a:gd name="connsiteX1" fmla="*/ 0 w 66675"/>
                <a:gd name="connsiteY1" fmla="*/ 71152 h 76200"/>
                <a:gd name="connsiteX2" fmla="*/ 13811 w 66675"/>
                <a:gd name="connsiteY2" fmla="*/ 45434 h 76200"/>
                <a:gd name="connsiteX3" fmla="*/ 66675 w 66675"/>
                <a:gd name="connsiteY3" fmla="*/ 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5" h="76200">
                  <a:moveTo>
                    <a:pt x="0" y="80677"/>
                  </a:moveTo>
                  <a:lnTo>
                    <a:pt x="0" y="71152"/>
                  </a:lnTo>
                  <a:cubicBezTo>
                    <a:pt x="0" y="60198"/>
                    <a:pt x="5715" y="51911"/>
                    <a:pt x="13811" y="45434"/>
                  </a:cubicBezTo>
                  <a:lnTo>
                    <a:pt x="66675" y="0"/>
                  </a:lnTo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1" name="Forma Livre: Forma 1470">
              <a:extLst>
                <a:ext uri="{FF2B5EF4-FFF2-40B4-BE49-F238E27FC236}">
                  <a16:creationId xmlns:a16="http://schemas.microsoft.com/office/drawing/2014/main" id="{F195BF3A-C12F-AB76-157D-C58C417F15D8}"/>
                </a:ext>
              </a:extLst>
            </p:cNvPr>
            <p:cNvSpPr/>
            <p:nvPr/>
          </p:nvSpPr>
          <p:spPr>
            <a:xfrm>
              <a:off x="3927043" y="5931938"/>
              <a:ext cx="76200" cy="47625"/>
            </a:xfrm>
            <a:custGeom>
              <a:avLst/>
              <a:gdLst>
                <a:gd name="connsiteX0" fmla="*/ 28575 w 76200"/>
                <a:gd name="connsiteY0" fmla="*/ 47625 h 47625"/>
                <a:gd name="connsiteX1" fmla="*/ 76200 w 76200"/>
                <a:gd name="connsiteY1" fmla="*/ 47625 h 47625"/>
                <a:gd name="connsiteX2" fmla="*/ 76200 w 76200"/>
                <a:gd name="connsiteY2" fmla="*/ 38100 h 47625"/>
                <a:gd name="connsiteX3" fmla="*/ 38100 w 76200"/>
                <a:gd name="connsiteY3" fmla="*/ 0 h 47625"/>
                <a:gd name="connsiteX4" fmla="*/ 0 w 76200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7625">
                  <a:moveTo>
                    <a:pt x="28575" y="47625"/>
                  </a:moveTo>
                  <a:lnTo>
                    <a:pt x="76200" y="47625"/>
                  </a:lnTo>
                  <a:lnTo>
                    <a:pt x="76200" y="38100"/>
                  </a:lnTo>
                  <a:cubicBezTo>
                    <a:pt x="76200" y="16193"/>
                    <a:pt x="59150" y="0"/>
                    <a:pt x="38100" y="0"/>
                  </a:cubicBezTo>
                  <a:lnTo>
                    <a:pt x="0" y="0"/>
                  </a:lnTo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2" name="Forma Livre: Forma 1471">
              <a:extLst>
                <a:ext uri="{FF2B5EF4-FFF2-40B4-BE49-F238E27FC236}">
                  <a16:creationId xmlns:a16="http://schemas.microsoft.com/office/drawing/2014/main" id="{74BD8F25-C606-82E6-E0A8-1BFBD0738651}"/>
                </a:ext>
              </a:extLst>
            </p:cNvPr>
            <p:cNvSpPr/>
            <p:nvPr/>
          </p:nvSpPr>
          <p:spPr>
            <a:xfrm>
              <a:off x="3660343" y="5931938"/>
              <a:ext cx="304800" cy="238125"/>
            </a:xfrm>
            <a:custGeom>
              <a:avLst/>
              <a:gdLst>
                <a:gd name="connsiteX0" fmla="*/ 0 w 304800"/>
                <a:gd name="connsiteY0" fmla="*/ 238125 h 238125"/>
                <a:gd name="connsiteX1" fmla="*/ 0 w 304800"/>
                <a:gd name="connsiteY1" fmla="*/ 47625 h 238125"/>
                <a:gd name="connsiteX2" fmla="*/ 47625 w 304800"/>
                <a:gd name="connsiteY2" fmla="*/ 0 h 238125"/>
                <a:gd name="connsiteX3" fmla="*/ 314325 w 304800"/>
                <a:gd name="connsiteY3" fmla="*/ 0 h 238125"/>
                <a:gd name="connsiteX4" fmla="*/ 266700 w 304800"/>
                <a:gd name="connsiteY4" fmla="*/ 47625 h 238125"/>
                <a:gd name="connsiteX5" fmla="*/ 266700 w 304800"/>
                <a:gd name="connsiteY5" fmla="*/ 238125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4800" h="238125">
                  <a:moveTo>
                    <a:pt x="0" y="238125"/>
                  </a:moveTo>
                  <a:lnTo>
                    <a:pt x="0" y="47625"/>
                  </a:lnTo>
                  <a:cubicBezTo>
                    <a:pt x="0" y="21336"/>
                    <a:pt x="21336" y="0"/>
                    <a:pt x="47625" y="0"/>
                  </a:cubicBezTo>
                  <a:lnTo>
                    <a:pt x="314325" y="0"/>
                  </a:lnTo>
                  <a:cubicBezTo>
                    <a:pt x="288036" y="0"/>
                    <a:pt x="266700" y="21336"/>
                    <a:pt x="266700" y="47625"/>
                  </a:cubicBezTo>
                  <a:lnTo>
                    <a:pt x="266700" y="238125"/>
                  </a:lnTo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3" name="Forma Livre: Forma 1472">
              <a:extLst>
                <a:ext uri="{FF2B5EF4-FFF2-40B4-BE49-F238E27FC236}">
                  <a16:creationId xmlns:a16="http://schemas.microsoft.com/office/drawing/2014/main" id="{F560493D-8251-C032-D46D-AB1494157706}"/>
                </a:ext>
              </a:extLst>
            </p:cNvPr>
            <p:cNvSpPr/>
            <p:nvPr/>
          </p:nvSpPr>
          <p:spPr>
            <a:xfrm>
              <a:off x="3717493" y="6017663"/>
              <a:ext cx="152400" cy="9525"/>
            </a:xfrm>
            <a:custGeom>
              <a:avLst/>
              <a:gdLst>
                <a:gd name="connsiteX0" fmla="*/ 0 w 152400"/>
                <a:gd name="connsiteY0" fmla="*/ 0 h 0"/>
                <a:gd name="connsiteX1" fmla="*/ 152400 w 1524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2400">
                  <a:moveTo>
                    <a:pt x="0" y="0"/>
                  </a:moveTo>
                  <a:lnTo>
                    <a:pt x="152400" y="0"/>
                  </a:lnTo>
                </a:path>
              </a:pathLst>
            </a:custGeom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4" name="Forma Livre: Forma 1473">
              <a:extLst>
                <a:ext uri="{FF2B5EF4-FFF2-40B4-BE49-F238E27FC236}">
                  <a16:creationId xmlns:a16="http://schemas.microsoft.com/office/drawing/2014/main" id="{020B7E6F-BFB2-4BD8-74E9-E4426BDAC636}"/>
                </a:ext>
              </a:extLst>
            </p:cNvPr>
            <p:cNvSpPr/>
            <p:nvPr/>
          </p:nvSpPr>
          <p:spPr>
            <a:xfrm>
              <a:off x="3717493" y="6065288"/>
              <a:ext cx="152400" cy="9525"/>
            </a:xfrm>
            <a:custGeom>
              <a:avLst/>
              <a:gdLst>
                <a:gd name="connsiteX0" fmla="*/ 0 w 152400"/>
                <a:gd name="connsiteY0" fmla="*/ 0 h 0"/>
                <a:gd name="connsiteX1" fmla="*/ 152400 w 1524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2400">
                  <a:moveTo>
                    <a:pt x="0" y="0"/>
                  </a:moveTo>
                  <a:lnTo>
                    <a:pt x="152400" y="0"/>
                  </a:lnTo>
                </a:path>
              </a:pathLst>
            </a:custGeom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5" name="Forma Livre: Forma 1474">
              <a:extLst>
                <a:ext uri="{FF2B5EF4-FFF2-40B4-BE49-F238E27FC236}">
                  <a16:creationId xmlns:a16="http://schemas.microsoft.com/office/drawing/2014/main" id="{3485C18F-E030-CF60-D8C8-B79C3FEB414B}"/>
                </a:ext>
              </a:extLst>
            </p:cNvPr>
            <p:cNvSpPr/>
            <p:nvPr/>
          </p:nvSpPr>
          <p:spPr>
            <a:xfrm>
              <a:off x="3717493" y="6112913"/>
              <a:ext cx="85725" cy="9525"/>
            </a:xfrm>
            <a:custGeom>
              <a:avLst/>
              <a:gdLst>
                <a:gd name="connsiteX0" fmla="*/ 0 w 85725"/>
                <a:gd name="connsiteY0" fmla="*/ 0 h 0"/>
                <a:gd name="connsiteX1" fmla="*/ 93059 w 8572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25">
                  <a:moveTo>
                    <a:pt x="0" y="0"/>
                  </a:moveTo>
                  <a:lnTo>
                    <a:pt x="93059" y="0"/>
                  </a:lnTo>
                </a:path>
              </a:pathLst>
            </a:custGeom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76" name="CaixaDeTexto 1475">
            <a:extLst>
              <a:ext uri="{FF2B5EF4-FFF2-40B4-BE49-F238E27FC236}">
                <a16:creationId xmlns:a16="http://schemas.microsoft.com/office/drawing/2014/main" id="{AA5BCF49-62BC-463B-1981-36CB5E0DE374}"/>
              </a:ext>
            </a:extLst>
          </p:cNvPr>
          <p:cNvSpPr txBox="1"/>
          <p:nvPr/>
        </p:nvSpPr>
        <p:spPr>
          <a:xfrm>
            <a:off x="6531311" y="2159253"/>
            <a:ext cx="102904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165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Correspondência</a:t>
            </a:r>
          </a:p>
        </p:txBody>
      </p:sp>
      <p:cxnSp>
        <p:nvCxnSpPr>
          <p:cNvPr id="1477" name="Conector de Seta Reta 1476">
            <a:extLst>
              <a:ext uri="{FF2B5EF4-FFF2-40B4-BE49-F238E27FC236}">
                <a16:creationId xmlns:a16="http://schemas.microsoft.com/office/drawing/2014/main" id="{2550764D-503E-8FD7-932B-BC03D1281029}"/>
              </a:ext>
            </a:extLst>
          </p:cNvPr>
          <p:cNvCxnSpPr>
            <a:cxnSpLocks/>
          </p:cNvCxnSpPr>
          <p:nvPr/>
        </p:nvCxnSpPr>
        <p:spPr>
          <a:xfrm>
            <a:off x="4412029" y="2038147"/>
            <a:ext cx="2388121" cy="6921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6" name="Forma">
            <a:extLst>
              <a:ext uri="{FF2B5EF4-FFF2-40B4-BE49-F238E27FC236}">
                <a16:creationId xmlns:a16="http://schemas.microsoft.com/office/drawing/2014/main" id="{4909B66C-BE44-3242-F27E-E0928083BDAF}"/>
              </a:ext>
            </a:extLst>
          </p:cNvPr>
          <p:cNvSpPr>
            <a:spLocks noChangeAspect="1"/>
          </p:cNvSpPr>
          <p:nvPr/>
        </p:nvSpPr>
        <p:spPr>
          <a:xfrm>
            <a:off x="6959399" y="3480349"/>
            <a:ext cx="172868" cy="288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018" y="950"/>
                </a:moveTo>
                <a:cubicBezTo>
                  <a:pt x="21073" y="1583"/>
                  <a:pt x="21600" y="2347"/>
                  <a:pt x="21600" y="3241"/>
                </a:cubicBezTo>
                <a:lnTo>
                  <a:pt x="21600" y="18359"/>
                </a:lnTo>
                <a:cubicBezTo>
                  <a:pt x="21600" y="19254"/>
                  <a:pt x="21073" y="20017"/>
                  <a:pt x="20018" y="20650"/>
                </a:cubicBezTo>
                <a:cubicBezTo>
                  <a:pt x="18963" y="21283"/>
                  <a:pt x="17690" y="21600"/>
                  <a:pt x="16200" y="21600"/>
                </a:cubicBezTo>
                <a:lnTo>
                  <a:pt x="5400" y="21600"/>
                </a:lnTo>
                <a:cubicBezTo>
                  <a:pt x="3909" y="21600"/>
                  <a:pt x="2637" y="21283"/>
                  <a:pt x="1582" y="20650"/>
                </a:cubicBezTo>
                <a:cubicBezTo>
                  <a:pt x="527" y="20017"/>
                  <a:pt x="0" y="19254"/>
                  <a:pt x="0" y="18359"/>
                </a:cubicBezTo>
                <a:lnTo>
                  <a:pt x="0" y="3241"/>
                </a:lnTo>
                <a:cubicBezTo>
                  <a:pt x="0" y="2347"/>
                  <a:pt x="527" y="1583"/>
                  <a:pt x="1582" y="950"/>
                </a:cubicBezTo>
                <a:cubicBezTo>
                  <a:pt x="2637" y="317"/>
                  <a:pt x="3909" y="0"/>
                  <a:pt x="5400" y="0"/>
                </a:cubicBezTo>
                <a:lnTo>
                  <a:pt x="16200" y="0"/>
                </a:lnTo>
                <a:cubicBezTo>
                  <a:pt x="17690" y="0"/>
                  <a:pt x="18963" y="317"/>
                  <a:pt x="20018" y="950"/>
                </a:cubicBezTo>
                <a:lnTo>
                  <a:pt x="20018" y="950"/>
                </a:lnTo>
                <a:close/>
                <a:moveTo>
                  <a:pt x="5400" y="1064"/>
                </a:moveTo>
                <a:cubicBezTo>
                  <a:pt x="4415" y="1064"/>
                  <a:pt x="3571" y="1275"/>
                  <a:pt x="2869" y="1697"/>
                </a:cubicBezTo>
                <a:cubicBezTo>
                  <a:pt x="2165" y="2119"/>
                  <a:pt x="1814" y="2634"/>
                  <a:pt x="1814" y="3241"/>
                </a:cubicBezTo>
                <a:lnTo>
                  <a:pt x="19786" y="3241"/>
                </a:lnTo>
                <a:cubicBezTo>
                  <a:pt x="19786" y="2634"/>
                  <a:pt x="19434" y="2119"/>
                  <a:pt x="18731" y="1697"/>
                </a:cubicBezTo>
                <a:cubicBezTo>
                  <a:pt x="18028" y="1275"/>
                  <a:pt x="17184" y="1064"/>
                  <a:pt x="16200" y="1064"/>
                </a:cubicBezTo>
                <a:lnTo>
                  <a:pt x="5400" y="1064"/>
                </a:lnTo>
                <a:lnTo>
                  <a:pt x="5400" y="1064"/>
                </a:lnTo>
                <a:lnTo>
                  <a:pt x="5400" y="1064"/>
                </a:lnTo>
                <a:close/>
                <a:moveTo>
                  <a:pt x="19786" y="18359"/>
                </a:moveTo>
                <a:lnTo>
                  <a:pt x="19786" y="16206"/>
                </a:lnTo>
                <a:lnTo>
                  <a:pt x="1814" y="16206"/>
                </a:lnTo>
                <a:lnTo>
                  <a:pt x="1814" y="18359"/>
                </a:lnTo>
                <a:cubicBezTo>
                  <a:pt x="1814" y="18950"/>
                  <a:pt x="2165" y="19456"/>
                  <a:pt x="2869" y="19878"/>
                </a:cubicBezTo>
                <a:cubicBezTo>
                  <a:pt x="3571" y="20300"/>
                  <a:pt x="4415" y="20511"/>
                  <a:pt x="5400" y="20511"/>
                </a:cubicBezTo>
                <a:lnTo>
                  <a:pt x="16200" y="20511"/>
                </a:lnTo>
                <a:cubicBezTo>
                  <a:pt x="17184" y="20511"/>
                  <a:pt x="18028" y="20300"/>
                  <a:pt x="18731" y="19878"/>
                </a:cubicBezTo>
                <a:cubicBezTo>
                  <a:pt x="19434" y="19456"/>
                  <a:pt x="19786" y="18950"/>
                  <a:pt x="19786" y="18359"/>
                </a:cubicBezTo>
                <a:lnTo>
                  <a:pt x="19786" y="18359"/>
                </a:lnTo>
                <a:lnTo>
                  <a:pt x="19786" y="18359"/>
                </a:lnTo>
                <a:close/>
                <a:moveTo>
                  <a:pt x="19786" y="4305"/>
                </a:moveTo>
                <a:lnTo>
                  <a:pt x="1814" y="4305"/>
                </a:lnTo>
                <a:lnTo>
                  <a:pt x="1814" y="15117"/>
                </a:lnTo>
                <a:lnTo>
                  <a:pt x="19786" y="15117"/>
                </a:lnTo>
                <a:lnTo>
                  <a:pt x="19786" y="4305"/>
                </a:lnTo>
                <a:lnTo>
                  <a:pt x="19786" y="4305"/>
                </a:lnTo>
                <a:close/>
                <a:moveTo>
                  <a:pt x="12087" y="17586"/>
                </a:moveTo>
                <a:cubicBezTo>
                  <a:pt x="11735" y="17376"/>
                  <a:pt x="11306" y="17270"/>
                  <a:pt x="10800" y="17270"/>
                </a:cubicBezTo>
                <a:cubicBezTo>
                  <a:pt x="10294" y="17270"/>
                  <a:pt x="9865" y="17376"/>
                  <a:pt x="9513" y="17586"/>
                </a:cubicBezTo>
                <a:cubicBezTo>
                  <a:pt x="9161" y="17798"/>
                  <a:pt x="8986" y="18055"/>
                  <a:pt x="8986" y="18359"/>
                </a:cubicBezTo>
                <a:cubicBezTo>
                  <a:pt x="8986" y="18663"/>
                  <a:pt x="9161" y="18920"/>
                  <a:pt x="9513" y="19131"/>
                </a:cubicBezTo>
                <a:cubicBezTo>
                  <a:pt x="9865" y="19342"/>
                  <a:pt x="10294" y="19448"/>
                  <a:pt x="10800" y="19448"/>
                </a:cubicBezTo>
                <a:cubicBezTo>
                  <a:pt x="11306" y="19448"/>
                  <a:pt x="11735" y="19342"/>
                  <a:pt x="12087" y="19131"/>
                </a:cubicBezTo>
                <a:cubicBezTo>
                  <a:pt x="12438" y="18920"/>
                  <a:pt x="12614" y="18663"/>
                  <a:pt x="12614" y="18359"/>
                </a:cubicBezTo>
                <a:cubicBezTo>
                  <a:pt x="12614" y="18055"/>
                  <a:pt x="12438" y="17798"/>
                  <a:pt x="12087" y="17586"/>
                </a:cubicBezTo>
                <a:lnTo>
                  <a:pt x="12087" y="17586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>
            <a:miter lim="400000"/>
          </a:ln>
        </p:spPr>
        <p:txBody>
          <a:bodyPr lIns="27428" tIns="27428" rIns="27428" bIns="27428" anchor="ctr"/>
          <a:lstStyle/>
          <a:p>
            <a:pPr marL="0" marR="0" lvl="0" indent="0" algn="l" defTabSz="3291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29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487" name="Forma">
            <a:extLst>
              <a:ext uri="{FF2B5EF4-FFF2-40B4-BE49-F238E27FC236}">
                <a16:creationId xmlns:a16="http://schemas.microsoft.com/office/drawing/2014/main" id="{BFD120FA-7719-D8FF-21ED-CDD6CF3EB872}"/>
              </a:ext>
            </a:extLst>
          </p:cNvPr>
          <p:cNvSpPr>
            <a:spLocks noChangeAspect="1"/>
          </p:cNvSpPr>
          <p:nvPr/>
        </p:nvSpPr>
        <p:spPr>
          <a:xfrm>
            <a:off x="6875963" y="4053593"/>
            <a:ext cx="339740" cy="216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05" h="21600" extrusionOk="0">
                <a:moveTo>
                  <a:pt x="20523" y="6151"/>
                </a:moveTo>
                <a:lnTo>
                  <a:pt x="20523" y="20044"/>
                </a:lnTo>
                <a:lnTo>
                  <a:pt x="507" y="20044"/>
                </a:lnTo>
                <a:cubicBezTo>
                  <a:pt x="370" y="20044"/>
                  <a:pt x="251" y="20117"/>
                  <a:pt x="152" y="20261"/>
                </a:cubicBezTo>
                <a:cubicBezTo>
                  <a:pt x="53" y="20406"/>
                  <a:pt x="3" y="20587"/>
                  <a:pt x="3" y="20804"/>
                </a:cubicBezTo>
                <a:cubicBezTo>
                  <a:pt x="-12" y="21021"/>
                  <a:pt x="30" y="21208"/>
                  <a:pt x="129" y="21365"/>
                </a:cubicBezTo>
                <a:cubicBezTo>
                  <a:pt x="228" y="21522"/>
                  <a:pt x="347" y="21600"/>
                  <a:pt x="484" y="21600"/>
                </a:cubicBezTo>
                <a:lnTo>
                  <a:pt x="20523" y="21600"/>
                </a:lnTo>
                <a:cubicBezTo>
                  <a:pt x="20783" y="21600"/>
                  <a:pt x="21008" y="21450"/>
                  <a:pt x="21199" y="21148"/>
                </a:cubicBezTo>
                <a:cubicBezTo>
                  <a:pt x="21389" y="20846"/>
                  <a:pt x="21485" y="20478"/>
                  <a:pt x="21485" y="20044"/>
                </a:cubicBezTo>
                <a:lnTo>
                  <a:pt x="21485" y="4631"/>
                </a:lnTo>
                <a:lnTo>
                  <a:pt x="20523" y="6151"/>
                </a:lnTo>
                <a:lnTo>
                  <a:pt x="20523" y="6151"/>
                </a:lnTo>
                <a:close/>
                <a:moveTo>
                  <a:pt x="4881" y="0"/>
                </a:moveTo>
                <a:cubicBezTo>
                  <a:pt x="4438" y="0"/>
                  <a:pt x="4137" y="326"/>
                  <a:pt x="3977" y="977"/>
                </a:cubicBezTo>
                <a:cubicBezTo>
                  <a:pt x="3816" y="1628"/>
                  <a:pt x="3904" y="2195"/>
                  <a:pt x="4240" y="2677"/>
                </a:cubicBezTo>
                <a:lnTo>
                  <a:pt x="12050" y="13495"/>
                </a:lnTo>
                <a:cubicBezTo>
                  <a:pt x="12233" y="13761"/>
                  <a:pt x="12450" y="13893"/>
                  <a:pt x="12702" y="13893"/>
                </a:cubicBezTo>
                <a:cubicBezTo>
                  <a:pt x="12954" y="13893"/>
                  <a:pt x="13172" y="13761"/>
                  <a:pt x="13355" y="13495"/>
                </a:cubicBezTo>
                <a:lnTo>
                  <a:pt x="21164" y="2677"/>
                </a:lnTo>
                <a:cubicBezTo>
                  <a:pt x="21500" y="2195"/>
                  <a:pt x="21588" y="1628"/>
                  <a:pt x="21428" y="977"/>
                </a:cubicBezTo>
                <a:cubicBezTo>
                  <a:pt x="21267" y="326"/>
                  <a:pt x="20966" y="0"/>
                  <a:pt x="20523" y="0"/>
                </a:cubicBezTo>
                <a:lnTo>
                  <a:pt x="4881" y="0"/>
                </a:lnTo>
                <a:lnTo>
                  <a:pt x="4881" y="0"/>
                </a:lnTo>
                <a:lnTo>
                  <a:pt x="4881" y="0"/>
                </a:lnTo>
                <a:close/>
                <a:moveTo>
                  <a:pt x="12691" y="12084"/>
                </a:moveTo>
                <a:lnTo>
                  <a:pt x="4790" y="1520"/>
                </a:lnTo>
                <a:lnTo>
                  <a:pt x="20615" y="1520"/>
                </a:lnTo>
                <a:lnTo>
                  <a:pt x="12691" y="12084"/>
                </a:lnTo>
                <a:lnTo>
                  <a:pt x="12691" y="12084"/>
                </a:lnTo>
                <a:lnTo>
                  <a:pt x="12691" y="12084"/>
                </a:lnTo>
                <a:close/>
                <a:moveTo>
                  <a:pt x="2099" y="12103"/>
                </a:moveTo>
                <a:cubicBezTo>
                  <a:pt x="1999" y="11946"/>
                  <a:pt x="1950" y="11771"/>
                  <a:pt x="1950" y="11578"/>
                </a:cubicBezTo>
                <a:cubicBezTo>
                  <a:pt x="1950" y="11361"/>
                  <a:pt x="1999" y="11174"/>
                  <a:pt x="2099" y="11017"/>
                </a:cubicBezTo>
                <a:cubicBezTo>
                  <a:pt x="2198" y="10860"/>
                  <a:pt x="2309" y="10782"/>
                  <a:pt x="2431" y="10782"/>
                </a:cubicBezTo>
                <a:lnTo>
                  <a:pt x="4400" y="10782"/>
                </a:lnTo>
                <a:cubicBezTo>
                  <a:pt x="4522" y="10782"/>
                  <a:pt x="4633" y="10860"/>
                  <a:pt x="4733" y="11017"/>
                </a:cubicBezTo>
                <a:cubicBezTo>
                  <a:pt x="4832" y="11174"/>
                  <a:pt x="4881" y="11361"/>
                  <a:pt x="4881" y="11578"/>
                </a:cubicBezTo>
                <a:cubicBezTo>
                  <a:pt x="4881" y="11771"/>
                  <a:pt x="4832" y="11946"/>
                  <a:pt x="4733" y="12103"/>
                </a:cubicBezTo>
                <a:cubicBezTo>
                  <a:pt x="4633" y="12260"/>
                  <a:pt x="4522" y="12338"/>
                  <a:pt x="4400" y="12338"/>
                </a:cubicBezTo>
                <a:lnTo>
                  <a:pt x="2431" y="12338"/>
                </a:lnTo>
                <a:lnTo>
                  <a:pt x="2431" y="12338"/>
                </a:lnTo>
                <a:lnTo>
                  <a:pt x="2431" y="12338"/>
                </a:lnTo>
                <a:cubicBezTo>
                  <a:pt x="2309" y="12338"/>
                  <a:pt x="2198" y="12260"/>
                  <a:pt x="2099" y="12103"/>
                </a:cubicBezTo>
                <a:lnTo>
                  <a:pt x="2099" y="12103"/>
                </a:lnTo>
                <a:close/>
                <a:moveTo>
                  <a:pt x="1469" y="16969"/>
                </a:moveTo>
                <a:cubicBezTo>
                  <a:pt x="1332" y="16969"/>
                  <a:pt x="1213" y="16891"/>
                  <a:pt x="1114" y="16734"/>
                </a:cubicBezTo>
                <a:cubicBezTo>
                  <a:pt x="1015" y="16577"/>
                  <a:pt x="965" y="16402"/>
                  <a:pt x="965" y="16209"/>
                </a:cubicBezTo>
                <a:cubicBezTo>
                  <a:pt x="965" y="15992"/>
                  <a:pt x="1015" y="15805"/>
                  <a:pt x="1114" y="15648"/>
                </a:cubicBezTo>
                <a:cubicBezTo>
                  <a:pt x="1213" y="15491"/>
                  <a:pt x="1332" y="15413"/>
                  <a:pt x="1469" y="15413"/>
                </a:cubicBezTo>
                <a:lnTo>
                  <a:pt x="5362" y="15413"/>
                </a:lnTo>
                <a:cubicBezTo>
                  <a:pt x="5500" y="15413"/>
                  <a:pt x="5618" y="15491"/>
                  <a:pt x="5717" y="15648"/>
                </a:cubicBezTo>
                <a:cubicBezTo>
                  <a:pt x="5816" y="15805"/>
                  <a:pt x="5866" y="15992"/>
                  <a:pt x="5866" y="16209"/>
                </a:cubicBezTo>
                <a:cubicBezTo>
                  <a:pt x="5866" y="16402"/>
                  <a:pt x="5816" y="16577"/>
                  <a:pt x="5717" y="16734"/>
                </a:cubicBezTo>
                <a:cubicBezTo>
                  <a:pt x="5618" y="16891"/>
                  <a:pt x="5500" y="16969"/>
                  <a:pt x="5362" y="16969"/>
                </a:cubicBezTo>
                <a:lnTo>
                  <a:pt x="1469" y="16969"/>
                </a:lnTo>
                <a:lnTo>
                  <a:pt x="1469" y="16969"/>
                </a:lnTo>
                <a:lnTo>
                  <a:pt x="1469" y="16969"/>
                </a:lnTo>
                <a:lnTo>
                  <a:pt x="1469" y="16969"/>
                </a:lnTo>
                <a:lnTo>
                  <a:pt x="1469" y="16969"/>
                </a:lnTo>
                <a:close/>
                <a:moveTo>
                  <a:pt x="2935" y="7707"/>
                </a:moveTo>
                <a:lnTo>
                  <a:pt x="2935" y="6151"/>
                </a:lnTo>
                <a:lnTo>
                  <a:pt x="3897" y="6151"/>
                </a:lnTo>
                <a:lnTo>
                  <a:pt x="3897" y="7707"/>
                </a:lnTo>
                <a:lnTo>
                  <a:pt x="2935" y="7707"/>
                </a:lnTo>
                <a:lnTo>
                  <a:pt x="2935" y="7707"/>
                </a:lnTo>
                <a:lnTo>
                  <a:pt x="2935" y="7707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>
            <a:miter lim="400000"/>
          </a:ln>
        </p:spPr>
        <p:txBody>
          <a:bodyPr lIns="27428" tIns="27428" rIns="27428" bIns="27428" anchor="ctr"/>
          <a:lstStyle/>
          <a:p>
            <a:pPr marL="0" marR="0" lvl="0" indent="0" algn="l" defTabSz="3291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lang="pt-BR" sz="129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488" name="CaixaDeTexto 1487">
            <a:extLst>
              <a:ext uri="{FF2B5EF4-FFF2-40B4-BE49-F238E27FC236}">
                <a16:creationId xmlns:a16="http://schemas.microsoft.com/office/drawing/2014/main" id="{44FF6B82-A2A0-9670-0027-A4776A2960EA}"/>
              </a:ext>
            </a:extLst>
          </p:cNvPr>
          <p:cNvSpPr txBox="1"/>
          <p:nvPr/>
        </p:nvSpPr>
        <p:spPr>
          <a:xfrm>
            <a:off x="6621778" y="4251225"/>
            <a:ext cx="84811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165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E-mail</a:t>
            </a:r>
          </a:p>
        </p:txBody>
      </p:sp>
      <p:sp>
        <p:nvSpPr>
          <p:cNvPr id="1490" name="Forma">
            <a:extLst>
              <a:ext uri="{FF2B5EF4-FFF2-40B4-BE49-F238E27FC236}">
                <a16:creationId xmlns:a16="http://schemas.microsoft.com/office/drawing/2014/main" id="{7073A2AF-A104-5780-E807-32F4529F1910}"/>
              </a:ext>
            </a:extLst>
          </p:cNvPr>
          <p:cNvSpPr>
            <a:spLocks noChangeAspect="1"/>
          </p:cNvSpPr>
          <p:nvPr/>
        </p:nvSpPr>
        <p:spPr>
          <a:xfrm>
            <a:off x="6913141" y="3003782"/>
            <a:ext cx="265385" cy="252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54" extrusionOk="0">
                <a:moveTo>
                  <a:pt x="12950" y="0"/>
                </a:moveTo>
                <a:cubicBezTo>
                  <a:pt x="14147" y="0"/>
                  <a:pt x="15268" y="239"/>
                  <a:pt x="16314" y="718"/>
                </a:cubicBezTo>
                <a:cubicBezTo>
                  <a:pt x="17359" y="1196"/>
                  <a:pt x="18274" y="1847"/>
                  <a:pt x="19058" y="2671"/>
                </a:cubicBezTo>
                <a:cubicBezTo>
                  <a:pt x="19842" y="3495"/>
                  <a:pt x="20462" y="4457"/>
                  <a:pt x="20917" y="5555"/>
                </a:cubicBezTo>
                <a:cubicBezTo>
                  <a:pt x="21372" y="6654"/>
                  <a:pt x="21600" y="7832"/>
                  <a:pt x="21600" y="9090"/>
                </a:cubicBezTo>
                <a:lnTo>
                  <a:pt x="21600" y="10207"/>
                </a:lnTo>
                <a:cubicBezTo>
                  <a:pt x="21600" y="11465"/>
                  <a:pt x="21372" y="12643"/>
                  <a:pt x="20917" y="13742"/>
                </a:cubicBezTo>
                <a:cubicBezTo>
                  <a:pt x="20462" y="14840"/>
                  <a:pt x="19842" y="15802"/>
                  <a:pt x="19058" y="16625"/>
                </a:cubicBezTo>
                <a:cubicBezTo>
                  <a:pt x="18274" y="17449"/>
                  <a:pt x="17359" y="18101"/>
                  <a:pt x="16314" y="18579"/>
                </a:cubicBezTo>
                <a:cubicBezTo>
                  <a:pt x="15268" y="19058"/>
                  <a:pt x="14147" y="19297"/>
                  <a:pt x="12950" y="19297"/>
                </a:cubicBezTo>
                <a:lnTo>
                  <a:pt x="8094" y="19297"/>
                </a:lnTo>
                <a:lnTo>
                  <a:pt x="2352" y="21529"/>
                </a:lnTo>
                <a:cubicBezTo>
                  <a:pt x="2015" y="21600"/>
                  <a:pt x="1720" y="21521"/>
                  <a:pt x="1467" y="21290"/>
                </a:cubicBezTo>
                <a:cubicBezTo>
                  <a:pt x="1214" y="21060"/>
                  <a:pt x="1088" y="20768"/>
                  <a:pt x="1088" y="20413"/>
                </a:cubicBezTo>
                <a:lnTo>
                  <a:pt x="1088" y="14619"/>
                </a:lnTo>
                <a:cubicBezTo>
                  <a:pt x="750" y="13963"/>
                  <a:pt x="485" y="13263"/>
                  <a:pt x="291" y="12519"/>
                </a:cubicBezTo>
                <a:cubicBezTo>
                  <a:pt x="97" y="11775"/>
                  <a:pt x="0" y="11004"/>
                  <a:pt x="0" y="10207"/>
                </a:cubicBezTo>
                <a:lnTo>
                  <a:pt x="0" y="9090"/>
                </a:lnTo>
                <a:cubicBezTo>
                  <a:pt x="0" y="7832"/>
                  <a:pt x="228" y="6654"/>
                  <a:pt x="683" y="5555"/>
                </a:cubicBezTo>
                <a:cubicBezTo>
                  <a:pt x="1138" y="4457"/>
                  <a:pt x="1758" y="3495"/>
                  <a:pt x="2542" y="2671"/>
                </a:cubicBezTo>
                <a:cubicBezTo>
                  <a:pt x="3326" y="1847"/>
                  <a:pt x="4241" y="1196"/>
                  <a:pt x="5286" y="718"/>
                </a:cubicBezTo>
                <a:cubicBezTo>
                  <a:pt x="6332" y="239"/>
                  <a:pt x="7453" y="0"/>
                  <a:pt x="8650" y="0"/>
                </a:cubicBezTo>
                <a:lnTo>
                  <a:pt x="12950" y="0"/>
                </a:lnTo>
                <a:lnTo>
                  <a:pt x="12950" y="0"/>
                </a:lnTo>
                <a:lnTo>
                  <a:pt x="12950" y="0"/>
                </a:lnTo>
                <a:close/>
                <a:moveTo>
                  <a:pt x="20512" y="10207"/>
                </a:moveTo>
                <a:lnTo>
                  <a:pt x="20512" y="9090"/>
                </a:lnTo>
                <a:cubicBezTo>
                  <a:pt x="20512" y="8541"/>
                  <a:pt x="20462" y="8010"/>
                  <a:pt x="20361" y="7495"/>
                </a:cubicBezTo>
                <a:cubicBezTo>
                  <a:pt x="20259" y="6982"/>
                  <a:pt x="20116" y="6477"/>
                  <a:pt x="19931" y="5980"/>
                </a:cubicBezTo>
                <a:cubicBezTo>
                  <a:pt x="19728" y="5520"/>
                  <a:pt x="19492" y="5077"/>
                  <a:pt x="19222" y="4651"/>
                </a:cubicBezTo>
                <a:cubicBezTo>
                  <a:pt x="18953" y="4226"/>
                  <a:pt x="18649" y="3827"/>
                  <a:pt x="18312" y="3455"/>
                </a:cubicBezTo>
                <a:cubicBezTo>
                  <a:pt x="17958" y="3101"/>
                  <a:pt x="17578" y="2782"/>
                  <a:pt x="17174" y="2498"/>
                </a:cubicBezTo>
                <a:cubicBezTo>
                  <a:pt x="16769" y="2215"/>
                  <a:pt x="16348" y="1967"/>
                  <a:pt x="15909" y="1754"/>
                </a:cubicBezTo>
                <a:cubicBezTo>
                  <a:pt x="15437" y="1559"/>
                  <a:pt x="14956" y="1409"/>
                  <a:pt x="14467" y="1302"/>
                </a:cubicBezTo>
                <a:cubicBezTo>
                  <a:pt x="13978" y="1196"/>
                  <a:pt x="13473" y="1143"/>
                  <a:pt x="12950" y="1143"/>
                </a:cubicBezTo>
                <a:lnTo>
                  <a:pt x="8650" y="1143"/>
                </a:lnTo>
                <a:cubicBezTo>
                  <a:pt x="8127" y="1143"/>
                  <a:pt x="7622" y="1196"/>
                  <a:pt x="7133" y="1302"/>
                </a:cubicBezTo>
                <a:cubicBezTo>
                  <a:pt x="6644" y="1409"/>
                  <a:pt x="6163" y="1559"/>
                  <a:pt x="5691" y="1754"/>
                </a:cubicBezTo>
                <a:cubicBezTo>
                  <a:pt x="5252" y="1967"/>
                  <a:pt x="4831" y="2215"/>
                  <a:pt x="4426" y="2498"/>
                </a:cubicBezTo>
                <a:cubicBezTo>
                  <a:pt x="4022" y="2782"/>
                  <a:pt x="3642" y="3101"/>
                  <a:pt x="3288" y="3455"/>
                </a:cubicBezTo>
                <a:cubicBezTo>
                  <a:pt x="2951" y="3827"/>
                  <a:pt x="2647" y="4226"/>
                  <a:pt x="2378" y="4651"/>
                </a:cubicBezTo>
                <a:cubicBezTo>
                  <a:pt x="2108" y="5077"/>
                  <a:pt x="1872" y="5520"/>
                  <a:pt x="1669" y="5980"/>
                </a:cubicBezTo>
                <a:cubicBezTo>
                  <a:pt x="1484" y="6477"/>
                  <a:pt x="1341" y="6982"/>
                  <a:pt x="1239" y="7495"/>
                </a:cubicBezTo>
                <a:cubicBezTo>
                  <a:pt x="1138" y="8010"/>
                  <a:pt x="1088" y="8541"/>
                  <a:pt x="1088" y="9090"/>
                </a:cubicBezTo>
                <a:lnTo>
                  <a:pt x="1088" y="10207"/>
                </a:lnTo>
                <a:cubicBezTo>
                  <a:pt x="1088" y="10738"/>
                  <a:pt x="1138" y="11266"/>
                  <a:pt x="1239" y="11788"/>
                </a:cubicBezTo>
                <a:cubicBezTo>
                  <a:pt x="1341" y="12311"/>
                  <a:pt x="1484" y="12811"/>
                  <a:pt x="1669" y="13290"/>
                </a:cubicBezTo>
                <a:cubicBezTo>
                  <a:pt x="1754" y="13467"/>
                  <a:pt x="1834" y="13640"/>
                  <a:pt x="1910" y="13808"/>
                </a:cubicBezTo>
                <a:cubicBezTo>
                  <a:pt x="1985" y="13977"/>
                  <a:pt x="2074" y="14140"/>
                  <a:pt x="2175" y="14300"/>
                </a:cubicBezTo>
                <a:lnTo>
                  <a:pt x="2175" y="20413"/>
                </a:lnTo>
                <a:lnTo>
                  <a:pt x="7563" y="18154"/>
                </a:lnTo>
                <a:lnTo>
                  <a:pt x="12950" y="18154"/>
                </a:lnTo>
                <a:cubicBezTo>
                  <a:pt x="13473" y="18154"/>
                  <a:pt x="13978" y="18101"/>
                  <a:pt x="14467" y="17994"/>
                </a:cubicBezTo>
                <a:cubicBezTo>
                  <a:pt x="14956" y="17888"/>
                  <a:pt x="15437" y="17738"/>
                  <a:pt x="15909" y="17542"/>
                </a:cubicBezTo>
                <a:cubicBezTo>
                  <a:pt x="16348" y="17330"/>
                  <a:pt x="16769" y="17082"/>
                  <a:pt x="17174" y="16798"/>
                </a:cubicBezTo>
                <a:cubicBezTo>
                  <a:pt x="17578" y="16515"/>
                  <a:pt x="17958" y="16196"/>
                  <a:pt x="18312" y="15841"/>
                </a:cubicBezTo>
                <a:cubicBezTo>
                  <a:pt x="18649" y="15469"/>
                  <a:pt x="18953" y="15071"/>
                  <a:pt x="19222" y="14645"/>
                </a:cubicBezTo>
                <a:cubicBezTo>
                  <a:pt x="19492" y="14220"/>
                  <a:pt x="19728" y="13777"/>
                  <a:pt x="19931" y="13316"/>
                </a:cubicBezTo>
                <a:cubicBezTo>
                  <a:pt x="20116" y="12820"/>
                  <a:pt x="20259" y="12315"/>
                  <a:pt x="20361" y="11801"/>
                </a:cubicBezTo>
                <a:cubicBezTo>
                  <a:pt x="20462" y="11288"/>
                  <a:pt x="20512" y="10756"/>
                  <a:pt x="20512" y="10207"/>
                </a:cubicBezTo>
                <a:lnTo>
                  <a:pt x="20512" y="10207"/>
                </a:lnTo>
                <a:lnTo>
                  <a:pt x="20512" y="10207"/>
                </a:lnTo>
                <a:close/>
                <a:moveTo>
                  <a:pt x="16744" y="10207"/>
                </a:moveTo>
                <a:cubicBezTo>
                  <a:pt x="16879" y="10207"/>
                  <a:pt x="17001" y="10153"/>
                  <a:pt x="17111" y="10047"/>
                </a:cubicBezTo>
                <a:cubicBezTo>
                  <a:pt x="17220" y="9941"/>
                  <a:pt x="17275" y="9808"/>
                  <a:pt x="17275" y="9648"/>
                </a:cubicBezTo>
                <a:cubicBezTo>
                  <a:pt x="17275" y="9489"/>
                  <a:pt x="17220" y="9356"/>
                  <a:pt x="17111" y="9250"/>
                </a:cubicBezTo>
                <a:cubicBezTo>
                  <a:pt x="17001" y="9143"/>
                  <a:pt x="16879" y="9090"/>
                  <a:pt x="16744" y="9090"/>
                </a:cubicBezTo>
                <a:lnTo>
                  <a:pt x="4856" y="9090"/>
                </a:lnTo>
                <a:cubicBezTo>
                  <a:pt x="4721" y="9090"/>
                  <a:pt x="4599" y="9143"/>
                  <a:pt x="4489" y="9250"/>
                </a:cubicBezTo>
                <a:cubicBezTo>
                  <a:pt x="4380" y="9356"/>
                  <a:pt x="4325" y="9489"/>
                  <a:pt x="4325" y="9648"/>
                </a:cubicBezTo>
                <a:cubicBezTo>
                  <a:pt x="4325" y="9808"/>
                  <a:pt x="4380" y="9941"/>
                  <a:pt x="4489" y="10047"/>
                </a:cubicBezTo>
                <a:cubicBezTo>
                  <a:pt x="4599" y="10153"/>
                  <a:pt x="4721" y="10207"/>
                  <a:pt x="4856" y="10207"/>
                </a:cubicBezTo>
                <a:lnTo>
                  <a:pt x="16744" y="10207"/>
                </a:lnTo>
                <a:lnTo>
                  <a:pt x="16744" y="10207"/>
                </a:lnTo>
                <a:lnTo>
                  <a:pt x="16744" y="10207"/>
                </a:lnTo>
                <a:lnTo>
                  <a:pt x="16744" y="10207"/>
                </a:lnTo>
                <a:lnTo>
                  <a:pt x="16744" y="10207"/>
                </a:lnTo>
                <a:close/>
                <a:moveTo>
                  <a:pt x="13506" y="7947"/>
                </a:moveTo>
                <a:cubicBezTo>
                  <a:pt x="13641" y="7947"/>
                  <a:pt x="13763" y="7890"/>
                  <a:pt x="13873" y="7775"/>
                </a:cubicBezTo>
                <a:cubicBezTo>
                  <a:pt x="13983" y="7659"/>
                  <a:pt x="14037" y="7531"/>
                  <a:pt x="14037" y="7389"/>
                </a:cubicBezTo>
                <a:cubicBezTo>
                  <a:pt x="14037" y="7230"/>
                  <a:pt x="13983" y="7093"/>
                  <a:pt x="13873" y="6977"/>
                </a:cubicBezTo>
                <a:cubicBezTo>
                  <a:pt x="13763" y="6862"/>
                  <a:pt x="13641" y="6804"/>
                  <a:pt x="13506" y="6804"/>
                </a:cubicBezTo>
                <a:lnTo>
                  <a:pt x="8094" y="6804"/>
                </a:lnTo>
                <a:cubicBezTo>
                  <a:pt x="7959" y="6804"/>
                  <a:pt x="7837" y="6862"/>
                  <a:pt x="7727" y="6977"/>
                </a:cubicBezTo>
                <a:cubicBezTo>
                  <a:pt x="7617" y="7093"/>
                  <a:pt x="7563" y="7230"/>
                  <a:pt x="7563" y="7389"/>
                </a:cubicBezTo>
                <a:cubicBezTo>
                  <a:pt x="7563" y="7531"/>
                  <a:pt x="7617" y="7659"/>
                  <a:pt x="7727" y="7775"/>
                </a:cubicBezTo>
                <a:cubicBezTo>
                  <a:pt x="7837" y="7890"/>
                  <a:pt x="7959" y="7947"/>
                  <a:pt x="8094" y="7947"/>
                </a:cubicBezTo>
                <a:lnTo>
                  <a:pt x="13506" y="7947"/>
                </a:lnTo>
                <a:lnTo>
                  <a:pt x="13506" y="7947"/>
                </a:lnTo>
                <a:lnTo>
                  <a:pt x="13506" y="7947"/>
                </a:lnTo>
                <a:lnTo>
                  <a:pt x="13506" y="7947"/>
                </a:lnTo>
                <a:lnTo>
                  <a:pt x="13506" y="7947"/>
                </a:lnTo>
                <a:close/>
                <a:moveTo>
                  <a:pt x="13873" y="12320"/>
                </a:moveTo>
                <a:cubicBezTo>
                  <a:pt x="13983" y="12205"/>
                  <a:pt x="14037" y="12067"/>
                  <a:pt x="14037" y="11908"/>
                </a:cubicBezTo>
                <a:cubicBezTo>
                  <a:pt x="14037" y="11766"/>
                  <a:pt x="13983" y="11638"/>
                  <a:pt x="13873" y="11522"/>
                </a:cubicBezTo>
                <a:cubicBezTo>
                  <a:pt x="13763" y="11407"/>
                  <a:pt x="13641" y="11349"/>
                  <a:pt x="13506" y="11349"/>
                </a:cubicBezTo>
                <a:lnTo>
                  <a:pt x="8094" y="11349"/>
                </a:lnTo>
                <a:cubicBezTo>
                  <a:pt x="7959" y="11349"/>
                  <a:pt x="7837" y="11407"/>
                  <a:pt x="7727" y="11522"/>
                </a:cubicBezTo>
                <a:cubicBezTo>
                  <a:pt x="7617" y="11638"/>
                  <a:pt x="7563" y="11766"/>
                  <a:pt x="7563" y="11908"/>
                </a:cubicBezTo>
                <a:cubicBezTo>
                  <a:pt x="7563" y="12067"/>
                  <a:pt x="7617" y="12205"/>
                  <a:pt x="7727" y="12320"/>
                </a:cubicBezTo>
                <a:cubicBezTo>
                  <a:pt x="7837" y="12435"/>
                  <a:pt x="7959" y="12492"/>
                  <a:pt x="8094" y="12492"/>
                </a:cubicBezTo>
                <a:lnTo>
                  <a:pt x="13506" y="12492"/>
                </a:lnTo>
                <a:lnTo>
                  <a:pt x="13506" y="12492"/>
                </a:lnTo>
                <a:lnTo>
                  <a:pt x="13506" y="12492"/>
                </a:lnTo>
                <a:cubicBezTo>
                  <a:pt x="13641" y="12492"/>
                  <a:pt x="13763" y="12435"/>
                  <a:pt x="13873" y="12320"/>
                </a:cubicBezTo>
                <a:lnTo>
                  <a:pt x="13873" y="12320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>
            <a:miter lim="400000"/>
          </a:ln>
        </p:spPr>
        <p:txBody>
          <a:bodyPr lIns="27428" tIns="27428" rIns="27428" bIns="27428" anchor="ctr"/>
          <a:lstStyle/>
          <a:p>
            <a:pPr marL="0" marR="0" lvl="0" indent="0" algn="l" defTabSz="3291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29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491" name="CaixaDeTexto 1490">
            <a:extLst>
              <a:ext uri="{FF2B5EF4-FFF2-40B4-BE49-F238E27FC236}">
                <a16:creationId xmlns:a16="http://schemas.microsoft.com/office/drawing/2014/main" id="{0D995BEE-2326-6425-20B7-E6D6A413E6EC}"/>
              </a:ext>
            </a:extLst>
          </p:cNvPr>
          <p:cNvSpPr txBox="1"/>
          <p:nvPr/>
        </p:nvSpPr>
        <p:spPr>
          <a:xfrm>
            <a:off x="6621778" y="3222584"/>
            <a:ext cx="84811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165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SMS</a:t>
            </a:r>
          </a:p>
        </p:txBody>
      </p:sp>
      <p:cxnSp>
        <p:nvCxnSpPr>
          <p:cNvPr id="1492" name="Conector: Angulado 1491">
            <a:extLst>
              <a:ext uri="{FF2B5EF4-FFF2-40B4-BE49-F238E27FC236}">
                <a16:creationId xmlns:a16="http://schemas.microsoft.com/office/drawing/2014/main" id="{E64E14C3-8CB8-3B39-29FE-3534B365AF2E}"/>
              </a:ext>
            </a:extLst>
          </p:cNvPr>
          <p:cNvCxnSpPr>
            <a:cxnSpLocks/>
          </p:cNvCxnSpPr>
          <p:nvPr/>
        </p:nvCxnSpPr>
        <p:spPr>
          <a:xfrm flipV="1">
            <a:off x="6421002" y="3127798"/>
            <a:ext cx="481246" cy="140548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7" name="Conector: Angulado 1506">
            <a:extLst>
              <a:ext uri="{FF2B5EF4-FFF2-40B4-BE49-F238E27FC236}">
                <a16:creationId xmlns:a16="http://schemas.microsoft.com/office/drawing/2014/main" id="{36F9D800-3165-AF07-9B65-BE984246F4E8}"/>
              </a:ext>
            </a:extLst>
          </p:cNvPr>
          <p:cNvCxnSpPr>
            <a:cxnSpLocks/>
          </p:cNvCxnSpPr>
          <p:nvPr/>
        </p:nvCxnSpPr>
        <p:spPr>
          <a:xfrm>
            <a:off x="6451222" y="3267610"/>
            <a:ext cx="522699" cy="388162"/>
          </a:xfrm>
          <a:prstGeom prst="bentConnector3">
            <a:avLst>
              <a:gd name="adj1" fmla="val 39235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1" name="Conector: Angulado 1510">
            <a:extLst>
              <a:ext uri="{FF2B5EF4-FFF2-40B4-BE49-F238E27FC236}">
                <a16:creationId xmlns:a16="http://schemas.microsoft.com/office/drawing/2014/main" id="{C3C4F7A6-37AA-5E70-2633-9647D9FDD01D}"/>
              </a:ext>
            </a:extLst>
          </p:cNvPr>
          <p:cNvCxnSpPr>
            <a:cxnSpLocks/>
          </p:cNvCxnSpPr>
          <p:nvPr/>
        </p:nvCxnSpPr>
        <p:spPr>
          <a:xfrm rot="16200000" flipH="1">
            <a:off x="6560653" y="3775937"/>
            <a:ext cx="468736" cy="271102"/>
          </a:xfrm>
          <a:prstGeom prst="bentConnector3">
            <a:avLst>
              <a:gd name="adj1" fmla="val 98019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4" name="Forma">
            <a:extLst>
              <a:ext uri="{FF2B5EF4-FFF2-40B4-BE49-F238E27FC236}">
                <a16:creationId xmlns:a16="http://schemas.microsoft.com/office/drawing/2014/main" id="{0ECD8EF7-B4BF-F7A2-0BD2-D2CB7EAFBB9C}"/>
              </a:ext>
            </a:extLst>
          </p:cNvPr>
          <p:cNvSpPr>
            <a:spLocks noChangeAspect="1"/>
          </p:cNvSpPr>
          <p:nvPr/>
        </p:nvSpPr>
        <p:spPr>
          <a:xfrm>
            <a:off x="6970009" y="3525873"/>
            <a:ext cx="151648" cy="144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54" extrusionOk="0">
                <a:moveTo>
                  <a:pt x="12950" y="0"/>
                </a:moveTo>
                <a:cubicBezTo>
                  <a:pt x="14147" y="0"/>
                  <a:pt x="15268" y="239"/>
                  <a:pt x="16314" y="718"/>
                </a:cubicBezTo>
                <a:cubicBezTo>
                  <a:pt x="17359" y="1196"/>
                  <a:pt x="18274" y="1847"/>
                  <a:pt x="19058" y="2671"/>
                </a:cubicBezTo>
                <a:cubicBezTo>
                  <a:pt x="19842" y="3495"/>
                  <a:pt x="20462" y="4457"/>
                  <a:pt x="20917" y="5555"/>
                </a:cubicBezTo>
                <a:cubicBezTo>
                  <a:pt x="21372" y="6654"/>
                  <a:pt x="21600" y="7832"/>
                  <a:pt x="21600" y="9090"/>
                </a:cubicBezTo>
                <a:lnTo>
                  <a:pt x="21600" y="10207"/>
                </a:lnTo>
                <a:cubicBezTo>
                  <a:pt x="21600" y="11465"/>
                  <a:pt x="21372" y="12643"/>
                  <a:pt x="20917" y="13742"/>
                </a:cubicBezTo>
                <a:cubicBezTo>
                  <a:pt x="20462" y="14840"/>
                  <a:pt x="19842" y="15802"/>
                  <a:pt x="19058" y="16625"/>
                </a:cubicBezTo>
                <a:cubicBezTo>
                  <a:pt x="18274" y="17449"/>
                  <a:pt x="17359" y="18101"/>
                  <a:pt x="16314" y="18579"/>
                </a:cubicBezTo>
                <a:cubicBezTo>
                  <a:pt x="15268" y="19058"/>
                  <a:pt x="14147" y="19297"/>
                  <a:pt x="12950" y="19297"/>
                </a:cubicBezTo>
                <a:lnTo>
                  <a:pt x="8094" y="19297"/>
                </a:lnTo>
                <a:lnTo>
                  <a:pt x="2352" y="21529"/>
                </a:lnTo>
                <a:cubicBezTo>
                  <a:pt x="2015" y="21600"/>
                  <a:pt x="1720" y="21521"/>
                  <a:pt x="1467" y="21290"/>
                </a:cubicBezTo>
                <a:cubicBezTo>
                  <a:pt x="1214" y="21060"/>
                  <a:pt x="1088" y="20768"/>
                  <a:pt x="1088" y="20413"/>
                </a:cubicBezTo>
                <a:lnTo>
                  <a:pt x="1088" y="14619"/>
                </a:lnTo>
                <a:cubicBezTo>
                  <a:pt x="750" y="13963"/>
                  <a:pt x="485" y="13263"/>
                  <a:pt x="291" y="12519"/>
                </a:cubicBezTo>
                <a:cubicBezTo>
                  <a:pt x="97" y="11775"/>
                  <a:pt x="0" y="11004"/>
                  <a:pt x="0" y="10207"/>
                </a:cubicBezTo>
                <a:lnTo>
                  <a:pt x="0" y="9090"/>
                </a:lnTo>
                <a:cubicBezTo>
                  <a:pt x="0" y="7832"/>
                  <a:pt x="228" y="6654"/>
                  <a:pt x="683" y="5555"/>
                </a:cubicBezTo>
                <a:cubicBezTo>
                  <a:pt x="1138" y="4457"/>
                  <a:pt x="1758" y="3495"/>
                  <a:pt x="2542" y="2671"/>
                </a:cubicBezTo>
                <a:cubicBezTo>
                  <a:pt x="3326" y="1847"/>
                  <a:pt x="4241" y="1196"/>
                  <a:pt x="5286" y="718"/>
                </a:cubicBezTo>
                <a:cubicBezTo>
                  <a:pt x="6332" y="239"/>
                  <a:pt x="7453" y="0"/>
                  <a:pt x="8650" y="0"/>
                </a:cubicBezTo>
                <a:lnTo>
                  <a:pt x="12950" y="0"/>
                </a:lnTo>
                <a:lnTo>
                  <a:pt x="12950" y="0"/>
                </a:lnTo>
                <a:lnTo>
                  <a:pt x="12950" y="0"/>
                </a:lnTo>
                <a:close/>
                <a:moveTo>
                  <a:pt x="20512" y="10207"/>
                </a:moveTo>
                <a:lnTo>
                  <a:pt x="20512" y="9090"/>
                </a:lnTo>
                <a:cubicBezTo>
                  <a:pt x="20512" y="8541"/>
                  <a:pt x="20462" y="8010"/>
                  <a:pt x="20361" y="7495"/>
                </a:cubicBezTo>
                <a:cubicBezTo>
                  <a:pt x="20259" y="6982"/>
                  <a:pt x="20116" y="6477"/>
                  <a:pt x="19931" y="5980"/>
                </a:cubicBezTo>
                <a:cubicBezTo>
                  <a:pt x="19728" y="5520"/>
                  <a:pt x="19492" y="5077"/>
                  <a:pt x="19222" y="4651"/>
                </a:cubicBezTo>
                <a:cubicBezTo>
                  <a:pt x="18953" y="4226"/>
                  <a:pt x="18649" y="3827"/>
                  <a:pt x="18312" y="3455"/>
                </a:cubicBezTo>
                <a:cubicBezTo>
                  <a:pt x="17958" y="3101"/>
                  <a:pt x="17578" y="2782"/>
                  <a:pt x="17174" y="2498"/>
                </a:cubicBezTo>
                <a:cubicBezTo>
                  <a:pt x="16769" y="2215"/>
                  <a:pt x="16348" y="1967"/>
                  <a:pt x="15909" y="1754"/>
                </a:cubicBezTo>
                <a:cubicBezTo>
                  <a:pt x="15437" y="1559"/>
                  <a:pt x="14956" y="1409"/>
                  <a:pt x="14467" y="1302"/>
                </a:cubicBezTo>
                <a:cubicBezTo>
                  <a:pt x="13978" y="1196"/>
                  <a:pt x="13473" y="1143"/>
                  <a:pt x="12950" y="1143"/>
                </a:cubicBezTo>
                <a:lnTo>
                  <a:pt x="8650" y="1143"/>
                </a:lnTo>
                <a:cubicBezTo>
                  <a:pt x="8127" y="1143"/>
                  <a:pt x="7622" y="1196"/>
                  <a:pt x="7133" y="1302"/>
                </a:cubicBezTo>
                <a:cubicBezTo>
                  <a:pt x="6644" y="1409"/>
                  <a:pt x="6163" y="1559"/>
                  <a:pt x="5691" y="1754"/>
                </a:cubicBezTo>
                <a:cubicBezTo>
                  <a:pt x="5252" y="1967"/>
                  <a:pt x="4831" y="2215"/>
                  <a:pt x="4426" y="2498"/>
                </a:cubicBezTo>
                <a:cubicBezTo>
                  <a:pt x="4022" y="2782"/>
                  <a:pt x="3642" y="3101"/>
                  <a:pt x="3288" y="3455"/>
                </a:cubicBezTo>
                <a:cubicBezTo>
                  <a:pt x="2951" y="3827"/>
                  <a:pt x="2647" y="4226"/>
                  <a:pt x="2378" y="4651"/>
                </a:cubicBezTo>
                <a:cubicBezTo>
                  <a:pt x="2108" y="5077"/>
                  <a:pt x="1872" y="5520"/>
                  <a:pt x="1669" y="5980"/>
                </a:cubicBezTo>
                <a:cubicBezTo>
                  <a:pt x="1484" y="6477"/>
                  <a:pt x="1341" y="6982"/>
                  <a:pt x="1239" y="7495"/>
                </a:cubicBezTo>
                <a:cubicBezTo>
                  <a:pt x="1138" y="8010"/>
                  <a:pt x="1088" y="8541"/>
                  <a:pt x="1088" y="9090"/>
                </a:cubicBezTo>
                <a:lnTo>
                  <a:pt x="1088" y="10207"/>
                </a:lnTo>
                <a:cubicBezTo>
                  <a:pt x="1088" y="10738"/>
                  <a:pt x="1138" y="11266"/>
                  <a:pt x="1239" y="11788"/>
                </a:cubicBezTo>
                <a:cubicBezTo>
                  <a:pt x="1341" y="12311"/>
                  <a:pt x="1484" y="12811"/>
                  <a:pt x="1669" y="13290"/>
                </a:cubicBezTo>
                <a:cubicBezTo>
                  <a:pt x="1754" y="13467"/>
                  <a:pt x="1834" y="13640"/>
                  <a:pt x="1910" y="13808"/>
                </a:cubicBezTo>
                <a:cubicBezTo>
                  <a:pt x="1985" y="13977"/>
                  <a:pt x="2074" y="14140"/>
                  <a:pt x="2175" y="14300"/>
                </a:cubicBezTo>
                <a:lnTo>
                  <a:pt x="2175" y="20413"/>
                </a:lnTo>
                <a:lnTo>
                  <a:pt x="7563" y="18154"/>
                </a:lnTo>
                <a:lnTo>
                  <a:pt x="12950" y="18154"/>
                </a:lnTo>
                <a:cubicBezTo>
                  <a:pt x="13473" y="18154"/>
                  <a:pt x="13978" y="18101"/>
                  <a:pt x="14467" y="17994"/>
                </a:cubicBezTo>
                <a:cubicBezTo>
                  <a:pt x="14956" y="17888"/>
                  <a:pt x="15437" y="17738"/>
                  <a:pt x="15909" y="17542"/>
                </a:cubicBezTo>
                <a:cubicBezTo>
                  <a:pt x="16348" y="17330"/>
                  <a:pt x="16769" y="17082"/>
                  <a:pt x="17174" y="16798"/>
                </a:cubicBezTo>
                <a:cubicBezTo>
                  <a:pt x="17578" y="16515"/>
                  <a:pt x="17958" y="16196"/>
                  <a:pt x="18312" y="15841"/>
                </a:cubicBezTo>
                <a:cubicBezTo>
                  <a:pt x="18649" y="15469"/>
                  <a:pt x="18953" y="15071"/>
                  <a:pt x="19222" y="14645"/>
                </a:cubicBezTo>
                <a:cubicBezTo>
                  <a:pt x="19492" y="14220"/>
                  <a:pt x="19728" y="13777"/>
                  <a:pt x="19931" y="13316"/>
                </a:cubicBezTo>
                <a:cubicBezTo>
                  <a:pt x="20116" y="12820"/>
                  <a:pt x="20259" y="12315"/>
                  <a:pt x="20361" y="11801"/>
                </a:cubicBezTo>
                <a:cubicBezTo>
                  <a:pt x="20462" y="11288"/>
                  <a:pt x="20512" y="10756"/>
                  <a:pt x="20512" y="10207"/>
                </a:cubicBezTo>
                <a:lnTo>
                  <a:pt x="20512" y="10207"/>
                </a:lnTo>
                <a:lnTo>
                  <a:pt x="20512" y="10207"/>
                </a:lnTo>
                <a:close/>
                <a:moveTo>
                  <a:pt x="16744" y="10207"/>
                </a:moveTo>
                <a:cubicBezTo>
                  <a:pt x="16879" y="10207"/>
                  <a:pt x="17001" y="10153"/>
                  <a:pt x="17111" y="10047"/>
                </a:cubicBezTo>
                <a:cubicBezTo>
                  <a:pt x="17220" y="9941"/>
                  <a:pt x="17275" y="9808"/>
                  <a:pt x="17275" y="9648"/>
                </a:cubicBezTo>
                <a:cubicBezTo>
                  <a:pt x="17275" y="9489"/>
                  <a:pt x="17220" y="9356"/>
                  <a:pt x="17111" y="9250"/>
                </a:cubicBezTo>
                <a:cubicBezTo>
                  <a:pt x="17001" y="9143"/>
                  <a:pt x="16879" y="9090"/>
                  <a:pt x="16744" y="9090"/>
                </a:cubicBezTo>
                <a:lnTo>
                  <a:pt x="4856" y="9090"/>
                </a:lnTo>
                <a:cubicBezTo>
                  <a:pt x="4721" y="9090"/>
                  <a:pt x="4599" y="9143"/>
                  <a:pt x="4489" y="9250"/>
                </a:cubicBezTo>
                <a:cubicBezTo>
                  <a:pt x="4380" y="9356"/>
                  <a:pt x="4325" y="9489"/>
                  <a:pt x="4325" y="9648"/>
                </a:cubicBezTo>
                <a:cubicBezTo>
                  <a:pt x="4325" y="9808"/>
                  <a:pt x="4380" y="9941"/>
                  <a:pt x="4489" y="10047"/>
                </a:cubicBezTo>
                <a:cubicBezTo>
                  <a:pt x="4599" y="10153"/>
                  <a:pt x="4721" y="10207"/>
                  <a:pt x="4856" y="10207"/>
                </a:cubicBezTo>
                <a:lnTo>
                  <a:pt x="16744" y="10207"/>
                </a:lnTo>
                <a:lnTo>
                  <a:pt x="16744" y="10207"/>
                </a:lnTo>
                <a:lnTo>
                  <a:pt x="16744" y="10207"/>
                </a:lnTo>
                <a:lnTo>
                  <a:pt x="16744" y="10207"/>
                </a:lnTo>
                <a:lnTo>
                  <a:pt x="16744" y="10207"/>
                </a:lnTo>
                <a:close/>
                <a:moveTo>
                  <a:pt x="13506" y="7947"/>
                </a:moveTo>
                <a:cubicBezTo>
                  <a:pt x="13641" y="7947"/>
                  <a:pt x="13763" y="7890"/>
                  <a:pt x="13873" y="7775"/>
                </a:cubicBezTo>
                <a:cubicBezTo>
                  <a:pt x="13983" y="7659"/>
                  <a:pt x="14037" y="7531"/>
                  <a:pt x="14037" y="7389"/>
                </a:cubicBezTo>
                <a:cubicBezTo>
                  <a:pt x="14037" y="7230"/>
                  <a:pt x="13983" y="7093"/>
                  <a:pt x="13873" y="6977"/>
                </a:cubicBezTo>
                <a:cubicBezTo>
                  <a:pt x="13763" y="6862"/>
                  <a:pt x="13641" y="6804"/>
                  <a:pt x="13506" y="6804"/>
                </a:cubicBezTo>
                <a:lnTo>
                  <a:pt x="8094" y="6804"/>
                </a:lnTo>
                <a:cubicBezTo>
                  <a:pt x="7959" y="6804"/>
                  <a:pt x="7837" y="6862"/>
                  <a:pt x="7727" y="6977"/>
                </a:cubicBezTo>
                <a:cubicBezTo>
                  <a:pt x="7617" y="7093"/>
                  <a:pt x="7563" y="7230"/>
                  <a:pt x="7563" y="7389"/>
                </a:cubicBezTo>
                <a:cubicBezTo>
                  <a:pt x="7563" y="7531"/>
                  <a:pt x="7617" y="7659"/>
                  <a:pt x="7727" y="7775"/>
                </a:cubicBezTo>
                <a:cubicBezTo>
                  <a:pt x="7837" y="7890"/>
                  <a:pt x="7959" y="7947"/>
                  <a:pt x="8094" y="7947"/>
                </a:cubicBezTo>
                <a:lnTo>
                  <a:pt x="13506" y="7947"/>
                </a:lnTo>
                <a:lnTo>
                  <a:pt x="13506" y="7947"/>
                </a:lnTo>
                <a:lnTo>
                  <a:pt x="13506" y="7947"/>
                </a:lnTo>
                <a:lnTo>
                  <a:pt x="13506" y="7947"/>
                </a:lnTo>
                <a:lnTo>
                  <a:pt x="13506" y="7947"/>
                </a:lnTo>
                <a:close/>
                <a:moveTo>
                  <a:pt x="13873" y="12320"/>
                </a:moveTo>
                <a:cubicBezTo>
                  <a:pt x="13983" y="12205"/>
                  <a:pt x="14037" y="12067"/>
                  <a:pt x="14037" y="11908"/>
                </a:cubicBezTo>
                <a:cubicBezTo>
                  <a:pt x="14037" y="11766"/>
                  <a:pt x="13983" y="11638"/>
                  <a:pt x="13873" y="11522"/>
                </a:cubicBezTo>
                <a:cubicBezTo>
                  <a:pt x="13763" y="11407"/>
                  <a:pt x="13641" y="11349"/>
                  <a:pt x="13506" y="11349"/>
                </a:cubicBezTo>
                <a:lnTo>
                  <a:pt x="8094" y="11349"/>
                </a:lnTo>
                <a:cubicBezTo>
                  <a:pt x="7959" y="11349"/>
                  <a:pt x="7837" y="11407"/>
                  <a:pt x="7727" y="11522"/>
                </a:cubicBezTo>
                <a:cubicBezTo>
                  <a:pt x="7617" y="11638"/>
                  <a:pt x="7563" y="11766"/>
                  <a:pt x="7563" y="11908"/>
                </a:cubicBezTo>
                <a:cubicBezTo>
                  <a:pt x="7563" y="12067"/>
                  <a:pt x="7617" y="12205"/>
                  <a:pt x="7727" y="12320"/>
                </a:cubicBezTo>
                <a:cubicBezTo>
                  <a:pt x="7837" y="12435"/>
                  <a:pt x="7959" y="12492"/>
                  <a:pt x="8094" y="12492"/>
                </a:cubicBezTo>
                <a:lnTo>
                  <a:pt x="13506" y="12492"/>
                </a:lnTo>
                <a:lnTo>
                  <a:pt x="13506" y="12492"/>
                </a:lnTo>
                <a:lnTo>
                  <a:pt x="13506" y="12492"/>
                </a:lnTo>
                <a:cubicBezTo>
                  <a:pt x="13641" y="12492"/>
                  <a:pt x="13763" y="12435"/>
                  <a:pt x="13873" y="12320"/>
                </a:cubicBezTo>
                <a:lnTo>
                  <a:pt x="13873" y="12320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>
            <a:miter lim="400000"/>
          </a:ln>
        </p:spPr>
        <p:txBody>
          <a:bodyPr lIns="27428" tIns="27428" rIns="27428" bIns="27428" anchor="ctr"/>
          <a:lstStyle/>
          <a:p>
            <a:pPr marL="0" marR="0" lvl="0" indent="0" algn="l" defTabSz="3291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29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grpSp>
        <p:nvGrpSpPr>
          <p:cNvPr id="1517" name="Agrupar 1516">
            <a:extLst>
              <a:ext uri="{FF2B5EF4-FFF2-40B4-BE49-F238E27FC236}">
                <a16:creationId xmlns:a16="http://schemas.microsoft.com/office/drawing/2014/main" id="{2D545530-8A55-6D44-7711-B3433737CA6A}"/>
              </a:ext>
            </a:extLst>
          </p:cNvPr>
          <p:cNvGrpSpPr/>
          <p:nvPr/>
        </p:nvGrpSpPr>
        <p:grpSpPr>
          <a:xfrm>
            <a:off x="7420794" y="2450051"/>
            <a:ext cx="848110" cy="518632"/>
            <a:chOff x="768272" y="3213880"/>
            <a:chExt cx="848111" cy="518631"/>
          </a:xfrm>
        </p:grpSpPr>
        <p:sp>
          <p:nvSpPr>
            <p:cNvPr id="1518" name="Forma">
              <a:extLst>
                <a:ext uri="{FF2B5EF4-FFF2-40B4-BE49-F238E27FC236}">
                  <a16:creationId xmlns:a16="http://schemas.microsoft.com/office/drawing/2014/main" id="{F70304EE-310D-AE97-F0A6-277CB934FCD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9235" y="3213880"/>
              <a:ext cx="201906" cy="288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429" y="7369"/>
                  </a:moveTo>
                  <a:cubicBezTo>
                    <a:pt x="5225" y="6525"/>
                    <a:pt x="4623" y="5504"/>
                    <a:pt x="4623" y="4305"/>
                  </a:cubicBezTo>
                  <a:cubicBezTo>
                    <a:pt x="4623" y="3123"/>
                    <a:pt x="5225" y="2110"/>
                    <a:pt x="6429" y="1266"/>
                  </a:cubicBezTo>
                  <a:cubicBezTo>
                    <a:pt x="7633" y="422"/>
                    <a:pt x="9090" y="0"/>
                    <a:pt x="10800" y="0"/>
                  </a:cubicBezTo>
                  <a:cubicBezTo>
                    <a:pt x="12510" y="0"/>
                    <a:pt x="13966" y="422"/>
                    <a:pt x="15171" y="1266"/>
                  </a:cubicBezTo>
                  <a:cubicBezTo>
                    <a:pt x="16375" y="2110"/>
                    <a:pt x="16977" y="3123"/>
                    <a:pt x="16977" y="4305"/>
                  </a:cubicBezTo>
                  <a:cubicBezTo>
                    <a:pt x="16977" y="5504"/>
                    <a:pt x="16375" y="6525"/>
                    <a:pt x="15171" y="7369"/>
                  </a:cubicBezTo>
                  <a:cubicBezTo>
                    <a:pt x="13966" y="8213"/>
                    <a:pt x="12510" y="8635"/>
                    <a:pt x="10800" y="8635"/>
                  </a:cubicBezTo>
                  <a:cubicBezTo>
                    <a:pt x="9090" y="8635"/>
                    <a:pt x="7633" y="8213"/>
                    <a:pt x="6429" y="7369"/>
                  </a:cubicBezTo>
                  <a:lnTo>
                    <a:pt x="6429" y="7369"/>
                  </a:lnTo>
                  <a:close/>
                  <a:moveTo>
                    <a:pt x="7513" y="2026"/>
                  </a:moveTo>
                  <a:cubicBezTo>
                    <a:pt x="7080" y="2330"/>
                    <a:pt x="6748" y="2680"/>
                    <a:pt x="6520" y="3077"/>
                  </a:cubicBezTo>
                  <a:cubicBezTo>
                    <a:pt x="6291" y="3474"/>
                    <a:pt x="6177" y="3883"/>
                    <a:pt x="6177" y="4305"/>
                  </a:cubicBezTo>
                  <a:cubicBezTo>
                    <a:pt x="6177" y="4744"/>
                    <a:pt x="6291" y="5162"/>
                    <a:pt x="6520" y="5558"/>
                  </a:cubicBezTo>
                  <a:cubicBezTo>
                    <a:pt x="6748" y="5955"/>
                    <a:pt x="7080" y="6305"/>
                    <a:pt x="7513" y="6609"/>
                  </a:cubicBezTo>
                  <a:cubicBezTo>
                    <a:pt x="7970" y="6913"/>
                    <a:pt x="8476" y="7145"/>
                    <a:pt x="9030" y="7306"/>
                  </a:cubicBezTo>
                  <a:cubicBezTo>
                    <a:pt x="9584" y="7466"/>
                    <a:pt x="10174" y="7546"/>
                    <a:pt x="10800" y="7546"/>
                  </a:cubicBezTo>
                  <a:cubicBezTo>
                    <a:pt x="11426" y="7546"/>
                    <a:pt x="12016" y="7466"/>
                    <a:pt x="12570" y="7306"/>
                  </a:cubicBezTo>
                  <a:cubicBezTo>
                    <a:pt x="13124" y="7145"/>
                    <a:pt x="13629" y="6913"/>
                    <a:pt x="14087" y="6609"/>
                  </a:cubicBezTo>
                  <a:cubicBezTo>
                    <a:pt x="14520" y="6305"/>
                    <a:pt x="14851" y="5955"/>
                    <a:pt x="15080" y="5558"/>
                  </a:cubicBezTo>
                  <a:cubicBezTo>
                    <a:pt x="15309" y="5162"/>
                    <a:pt x="15423" y="4744"/>
                    <a:pt x="15423" y="4305"/>
                  </a:cubicBezTo>
                  <a:cubicBezTo>
                    <a:pt x="15423" y="3883"/>
                    <a:pt x="15309" y="3474"/>
                    <a:pt x="15080" y="3077"/>
                  </a:cubicBezTo>
                  <a:cubicBezTo>
                    <a:pt x="14851" y="2680"/>
                    <a:pt x="14520" y="2330"/>
                    <a:pt x="14087" y="2026"/>
                  </a:cubicBezTo>
                  <a:cubicBezTo>
                    <a:pt x="13629" y="1722"/>
                    <a:pt x="13124" y="1486"/>
                    <a:pt x="12570" y="1317"/>
                  </a:cubicBezTo>
                  <a:cubicBezTo>
                    <a:pt x="12016" y="1148"/>
                    <a:pt x="11426" y="1064"/>
                    <a:pt x="10800" y="1064"/>
                  </a:cubicBezTo>
                  <a:cubicBezTo>
                    <a:pt x="10174" y="1064"/>
                    <a:pt x="9584" y="1148"/>
                    <a:pt x="9030" y="1317"/>
                  </a:cubicBezTo>
                  <a:cubicBezTo>
                    <a:pt x="8476" y="1486"/>
                    <a:pt x="7970" y="1722"/>
                    <a:pt x="7513" y="2026"/>
                  </a:cubicBezTo>
                  <a:lnTo>
                    <a:pt x="7513" y="2026"/>
                  </a:lnTo>
                  <a:lnTo>
                    <a:pt x="7513" y="2026"/>
                  </a:lnTo>
                  <a:close/>
                  <a:moveTo>
                    <a:pt x="14990" y="19118"/>
                  </a:moveTo>
                  <a:cubicBezTo>
                    <a:pt x="15207" y="18966"/>
                    <a:pt x="15345" y="18785"/>
                    <a:pt x="15405" y="18574"/>
                  </a:cubicBezTo>
                  <a:cubicBezTo>
                    <a:pt x="15465" y="18363"/>
                    <a:pt x="15435" y="18156"/>
                    <a:pt x="15315" y="17954"/>
                  </a:cubicBezTo>
                  <a:lnTo>
                    <a:pt x="12245" y="12560"/>
                  </a:lnTo>
                  <a:cubicBezTo>
                    <a:pt x="12221" y="12543"/>
                    <a:pt x="12203" y="12522"/>
                    <a:pt x="12191" y="12497"/>
                  </a:cubicBezTo>
                  <a:cubicBezTo>
                    <a:pt x="12178" y="12471"/>
                    <a:pt x="12160" y="12442"/>
                    <a:pt x="12136" y="12408"/>
                  </a:cubicBezTo>
                  <a:cubicBezTo>
                    <a:pt x="12209" y="12341"/>
                    <a:pt x="12263" y="12260"/>
                    <a:pt x="12299" y="12167"/>
                  </a:cubicBezTo>
                  <a:cubicBezTo>
                    <a:pt x="12335" y="12075"/>
                    <a:pt x="12353" y="11977"/>
                    <a:pt x="12353" y="11876"/>
                  </a:cubicBezTo>
                  <a:cubicBezTo>
                    <a:pt x="12353" y="11860"/>
                    <a:pt x="12353" y="11838"/>
                    <a:pt x="12353" y="11813"/>
                  </a:cubicBezTo>
                  <a:cubicBezTo>
                    <a:pt x="12353" y="11788"/>
                    <a:pt x="12341" y="11758"/>
                    <a:pt x="12317" y="11724"/>
                  </a:cubicBezTo>
                  <a:cubicBezTo>
                    <a:pt x="12317" y="11708"/>
                    <a:pt x="12317" y="11691"/>
                    <a:pt x="12317" y="11674"/>
                  </a:cubicBezTo>
                  <a:cubicBezTo>
                    <a:pt x="12293" y="11572"/>
                    <a:pt x="12250" y="11480"/>
                    <a:pt x="12191" y="11395"/>
                  </a:cubicBezTo>
                  <a:cubicBezTo>
                    <a:pt x="12130" y="11311"/>
                    <a:pt x="12052" y="11227"/>
                    <a:pt x="11956" y="11142"/>
                  </a:cubicBezTo>
                  <a:lnTo>
                    <a:pt x="11920" y="11142"/>
                  </a:lnTo>
                  <a:cubicBezTo>
                    <a:pt x="11920" y="11125"/>
                    <a:pt x="11896" y="11108"/>
                    <a:pt x="11847" y="11091"/>
                  </a:cubicBezTo>
                  <a:cubicBezTo>
                    <a:pt x="11847" y="11075"/>
                    <a:pt x="11835" y="11066"/>
                    <a:pt x="11811" y="11066"/>
                  </a:cubicBezTo>
                  <a:cubicBezTo>
                    <a:pt x="11811" y="11049"/>
                    <a:pt x="11787" y="11032"/>
                    <a:pt x="11739" y="11015"/>
                  </a:cubicBezTo>
                  <a:lnTo>
                    <a:pt x="11703" y="11015"/>
                  </a:lnTo>
                  <a:cubicBezTo>
                    <a:pt x="11679" y="10999"/>
                    <a:pt x="11654" y="10982"/>
                    <a:pt x="11631" y="10965"/>
                  </a:cubicBezTo>
                  <a:cubicBezTo>
                    <a:pt x="11607" y="10948"/>
                    <a:pt x="11571" y="10939"/>
                    <a:pt x="11522" y="10939"/>
                  </a:cubicBezTo>
                  <a:lnTo>
                    <a:pt x="11522" y="10914"/>
                  </a:lnTo>
                  <a:lnTo>
                    <a:pt x="11486" y="10914"/>
                  </a:lnTo>
                  <a:lnTo>
                    <a:pt x="11450" y="10889"/>
                  </a:lnTo>
                  <a:lnTo>
                    <a:pt x="11414" y="10889"/>
                  </a:lnTo>
                  <a:lnTo>
                    <a:pt x="11378" y="10889"/>
                  </a:lnTo>
                  <a:cubicBezTo>
                    <a:pt x="11378" y="10872"/>
                    <a:pt x="11366" y="10863"/>
                    <a:pt x="11342" y="10863"/>
                  </a:cubicBezTo>
                  <a:cubicBezTo>
                    <a:pt x="11318" y="10863"/>
                    <a:pt x="11300" y="10863"/>
                    <a:pt x="11288" y="10863"/>
                  </a:cubicBezTo>
                  <a:cubicBezTo>
                    <a:pt x="11275" y="10863"/>
                    <a:pt x="11270" y="10855"/>
                    <a:pt x="11270" y="10838"/>
                  </a:cubicBezTo>
                  <a:cubicBezTo>
                    <a:pt x="11245" y="10838"/>
                    <a:pt x="11221" y="10838"/>
                    <a:pt x="11197" y="10838"/>
                  </a:cubicBezTo>
                  <a:lnTo>
                    <a:pt x="11161" y="10838"/>
                  </a:lnTo>
                  <a:lnTo>
                    <a:pt x="11125" y="10813"/>
                  </a:lnTo>
                  <a:lnTo>
                    <a:pt x="11089" y="10813"/>
                  </a:lnTo>
                  <a:lnTo>
                    <a:pt x="11053" y="10813"/>
                  </a:lnTo>
                  <a:lnTo>
                    <a:pt x="11017" y="10813"/>
                  </a:lnTo>
                  <a:lnTo>
                    <a:pt x="10981" y="10813"/>
                  </a:lnTo>
                  <a:lnTo>
                    <a:pt x="10944" y="10813"/>
                  </a:lnTo>
                  <a:lnTo>
                    <a:pt x="10908" y="10813"/>
                  </a:lnTo>
                  <a:lnTo>
                    <a:pt x="10872" y="10813"/>
                  </a:lnTo>
                  <a:lnTo>
                    <a:pt x="10836" y="10813"/>
                  </a:lnTo>
                  <a:lnTo>
                    <a:pt x="10800" y="10813"/>
                  </a:lnTo>
                  <a:lnTo>
                    <a:pt x="10764" y="10813"/>
                  </a:lnTo>
                  <a:lnTo>
                    <a:pt x="10728" y="10813"/>
                  </a:lnTo>
                  <a:lnTo>
                    <a:pt x="10692" y="10813"/>
                  </a:lnTo>
                  <a:lnTo>
                    <a:pt x="10656" y="10813"/>
                  </a:lnTo>
                  <a:lnTo>
                    <a:pt x="10619" y="10813"/>
                  </a:lnTo>
                  <a:lnTo>
                    <a:pt x="10583" y="10813"/>
                  </a:lnTo>
                  <a:lnTo>
                    <a:pt x="10547" y="10813"/>
                  </a:lnTo>
                  <a:lnTo>
                    <a:pt x="10511" y="10813"/>
                  </a:lnTo>
                  <a:lnTo>
                    <a:pt x="10475" y="10813"/>
                  </a:lnTo>
                  <a:lnTo>
                    <a:pt x="10439" y="10838"/>
                  </a:lnTo>
                  <a:lnTo>
                    <a:pt x="10403" y="10838"/>
                  </a:lnTo>
                  <a:cubicBezTo>
                    <a:pt x="10379" y="10838"/>
                    <a:pt x="10354" y="10838"/>
                    <a:pt x="10330" y="10838"/>
                  </a:cubicBezTo>
                  <a:cubicBezTo>
                    <a:pt x="10306" y="10855"/>
                    <a:pt x="10282" y="10863"/>
                    <a:pt x="10258" y="10863"/>
                  </a:cubicBezTo>
                  <a:cubicBezTo>
                    <a:pt x="10234" y="10863"/>
                    <a:pt x="10222" y="10872"/>
                    <a:pt x="10222" y="10889"/>
                  </a:cubicBezTo>
                  <a:lnTo>
                    <a:pt x="10186" y="10889"/>
                  </a:lnTo>
                  <a:lnTo>
                    <a:pt x="10150" y="10889"/>
                  </a:lnTo>
                  <a:lnTo>
                    <a:pt x="10114" y="10914"/>
                  </a:lnTo>
                  <a:lnTo>
                    <a:pt x="10078" y="10914"/>
                  </a:lnTo>
                  <a:lnTo>
                    <a:pt x="10078" y="10939"/>
                  </a:lnTo>
                  <a:cubicBezTo>
                    <a:pt x="10029" y="10939"/>
                    <a:pt x="9993" y="10948"/>
                    <a:pt x="9969" y="10965"/>
                  </a:cubicBezTo>
                  <a:cubicBezTo>
                    <a:pt x="9945" y="10982"/>
                    <a:pt x="9921" y="10999"/>
                    <a:pt x="9897" y="11015"/>
                  </a:cubicBezTo>
                  <a:lnTo>
                    <a:pt x="9861" y="11015"/>
                  </a:lnTo>
                  <a:cubicBezTo>
                    <a:pt x="9812" y="11032"/>
                    <a:pt x="9789" y="11049"/>
                    <a:pt x="9789" y="11066"/>
                  </a:cubicBezTo>
                  <a:cubicBezTo>
                    <a:pt x="9765" y="11066"/>
                    <a:pt x="9753" y="11075"/>
                    <a:pt x="9753" y="11091"/>
                  </a:cubicBezTo>
                  <a:cubicBezTo>
                    <a:pt x="9704" y="11108"/>
                    <a:pt x="9680" y="11125"/>
                    <a:pt x="9680" y="11142"/>
                  </a:cubicBezTo>
                  <a:lnTo>
                    <a:pt x="9644" y="11142"/>
                  </a:lnTo>
                  <a:cubicBezTo>
                    <a:pt x="9548" y="11227"/>
                    <a:pt x="9469" y="11311"/>
                    <a:pt x="9409" y="11395"/>
                  </a:cubicBezTo>
                  <a:cubicBezTo>
                    <a:pt x="9349" y="11480"/>
                    <a:pt x="9307" y="11572"/>
                    <a:pt x="9283" y="11674"/>
                  </a:cubicBezTo>
                  <a:cubicBezTo>
                    <a:pt x="9283" y="11691"/>
                    <a:pt x="9283" y="11708"/>
                    <a:pt x="9283" y="11724"/>
                  </a:cubicBezTo>
                  <a:cubicBezTo>
                    <a:pt x="9259" y="11758"/>
                    <a:pt x="9247" y="11788"/>
                    <a:pt x="9247" y="11813"/>
                  </a:cubicBezTo>
                  <a:cubicBezTo>
                    <a:pt x="9247" y="11838"/>
                    <a:pt x="9247" y="11860"/>
                    <a:pt x="9247" y="11876"/>
                  </a:cubicBezTo>
                  <a:cubicBezTo>
                    <a:pt x="9247" y="11977"/>
                    <a:pt x="9265" y="12075"/>
                    <a:pt x="9301" y="12167"/>
                  </a:cubicBezTo>
                  <a:cubicBezTo>
                    <a:pt x="9337" y="12260"/>
                    <a:pt x="9391" y="12341"/>
                    <a:pt x="9464" y="12408"/>
                  </a:cubicBezTo>
                  <a:cubicBezTo>
                    <a:pt x="9439" y="12442"/>
                    <a:pt x="9421" y="12467"/>
                    <a:pt x="9409" y="12484"/>
                  </a:cubicBezTo>
                  <a:cubicBezTo>
                    <a:pt x="9397" y="12501"/>
                    <a:pt x="9379" y="12526"/>
                    <a:pt x="9355" y="12560"/>
                  </a:cubicBezTo>
                  <a:lnTo>
                    <a:pt x="6285" y="17954"/>
                  </a:lnTo>
                  <a:cubicBezTo>
                    <a:pt x="6164" y="18156"/>
                    <a:pt x="6134" y="18363"/>
                    <a:pt x="6195" y="18574"/>
                  </a:cubicBezTo>
                  <a:cubicBezTo>
                    <a:pt x="6254" y="18785"/>
                    <a:pt x="6393" y="18966"/>
                    <a:pt x="6610" y="19118"/>
                  </a:cubicBezTo>
                  <a:lnTo>
                    <a:pt x="9716" y="21296"/>
                  </a:lnTo>
                  <a:cubicBezTo>
                    <a:pt x="9861" y="21397"/>
                    <a:pt x="10029" y="21473"/>
                    <a:pt x="10222" y="21524"/>
                  </a:cubicBezTo>
                  <a:cubicBezTo>
                    <a:pt x="10415" y="21575"/>
                    <a:pt x="10607" y="21600"/>
                    <a:pt x="10800" y="21600"/>
                  </a:cubicBezTo>
                  <a:cubicBezTo>
                    <a:pt x="10993" y="21600"/>
                    <a:pt x="11185" y="21575"/>
                    <a:pt x="11378" y="21524"/>
                  </a:cubicBezTo>
                  <a:cubicBezTo>
                    <a:pt x="11571" y="21473"/>
                    <a:pt x="11739" y="21397"/>
                    <a:pt x="11884" y="21296"/>
                  </a:cubicBez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close/>
                  <a:moveTo>
                    <a:pt x="6429" y="20511"/>
                  </a:moveTo>
                  <a:lnTo>
                    <a:pt x="1553" y="20511"/>
                  </a:lnTo>
                  <a:lnTo>
                    <a:pt x="1553" y="17270"/>
                  </a:lnTo>
                  <a:cubicBezTo>
                    <a:pt x="1553" y="16915"/>
                    <a:pt x="1601" y="16561"/>
                    <a:pt x="1698" y="16206"/>
                  </a:cubicBezTo>
                  <a:cubicBezTo>
                    <a:pt x="1794" y="15852"/>
                    <a:pt x="1951" y="15514"/>
                    <a:pt x="2167" y="15193"/>
                  </a:cubicBezTo>
                  <a:cubicBezTo>
                    <a:pt x="2360" y="14873"/>
                    <a:pt x="2595" y="14565"/>
                    <a:pt x="2872" y="14269"/>
                  </a:cubicBezTo>
                  <a:cubicBezTo>
                    <a:pt x="3148" y="13974"/>
                    <a:pt x="3468" y="13708"/>
                    <a:pt x="3829" y="13472"/>
                  </a:cubicBezTo>
                  <a:cubicBezTo>
                    <a:pt x="4166" y="13218"/>
                    <a:pt x="4545" y="12995"/>
                    <a:pt x="4967" y="12800"/>
                  </a:cubicBezTo>
                  <a:cubicBezTo>
                    <a:pt x="5388" y="12607"/>
                    <a:pt x="5827" y="12442"/>
                    <a:pt x="6285" y="12307"/>
                  </a:cubicBezTo>
                  <a:cubicBezTo>
                    <a:pt x="6502" y="12239"/>
                    <a:pt x="6730" y="12176"/>
                    <a:pt x="6971" y="12117"/>
                  </a:cubicBezTo>
                  <a:cubicBezTo>
                    <a:pt x="7212" y="12058"/>
                    <a:pt x="7465" y="12012"/>
                    <a:pt x="7730" y="11977"/>
                  </a:cubicBezTo>
                  <a:cubicBezTo>
                    <a:pt x="7730" y="11961"/>
                    <a:pt x="7730" y="11944"/>
                    <a:pt x="7730" y="11927"/>
                  </a:cubicBezTo>
                  <a:cubicBezTo>
                    <a:pt x="7730" y="11910"/>
                    <a:pt x="7730" y="11893"/>
                    <a:pt x="7730" y="11876"/>
                  </a:cubicBezTo>
                  <a:cubicBezTo>
                    <a:pt x="7730" y="11691"/>
                    <a:pt x="7760" y="11509"/>
                    <a:pt x="7820" y="11332"/>
                  </a:cubicBezTo>
                  <a:cubicBezTo>
                    <a:pt x="7880" y="11155"/>
                    <a:pt x="7970" y="10990"/>
                    <a:pt x="8091" y="10838"/>
                  </a:cubicBezTo>
                  <a:cubicBezTo>
                    <a:pt x="6959" y="10939"/>
                    <a:pt x="5900" y="11184"/>
                    <a:pt x="4912" y="11572"/>
                  </a:cubicBezTo>
                  <a:cubicBezTo>
                    <a:pt x="3925" y="11944"/>
                    <a:pt x="3070" y="12417"/>
                    <a:pt x="2348" y="12990"/>
                  </a:cubicBezTo>
                  <a:cubicBezTo>
                    <a:pt x="1625" y="13564"/>
                    <a:pt x="1060" y="14215"/>
                    <a:pt x="650" y="14940"/>
                  </a:cubicBezTo>
                  <a:cubicBezTo>
                    <a:pt x="217" y="15683"/>
                    <a:pt x="0" y="16460"/>
                    <a:pt x="0" y="17270"/>
                  </a:cubicBezTo>
                  <a:lnTo>
                    <a:pt x="0" y="20511"/>
                  </a:lnTo>
                  <a:cubicBezTo>
                    <a:pt x="0" y="20815"/>
                    <a:pt x="150" y="21073"/>
                    <a:pt x="452" y="21283"/>
                  </a:cubicBezTo>
                  <a:cubicBezTo>
                    <a:pt x="753" y="21495"/>
                    <a:pt x="1120" y="21600"/>
                    <a:pt x="1553" y="21600"/>
                  </a:cubicBezTo>
                  <a:lnTo>
                    <a:pt x="7983" y="21600"/>
                  </a:lnTo>
                  <a:lnTo>
                    <a:pt x="6429" y="20511"/>
                  </a:lnTo>
                  <a:lnTo>
                    <a:pt x="6429" y="20511"/>
                  </a:lnTo>
                  <a:lnTo>
                    <a:pt x="6429" y="20511"/>
                  </a:lnTo>
                  <a:lnTo>
                    <a:pt x="6429" y="20511"/>
                  </a:lnTo>
                  <a:lnTo>
                    <a:pt x="6429" y="20511"/>
                  </a:lnTo>
                  <a:lnTo>
                    <a:pt x="6429" y="20511"/>
                  </a:lnTo>
                  <a:close/>
                  <a:moveTo>
                    <a:pt x="21600" y="17270"/>
                  </a:moveTo>
                  <a:cubicBezTo>
                    <a:pt x="21600" y="16460"/>
                    <a:pt x="21383" y="15683"/>
                    <a:pt x="20950" y="14940"/>
                  </a:cubicBezTo>
                  <a:cubicBezTo>
                    <a:pt x="20540" y="14215"/>
                    <a:pt x="19975" y="13564"/>
                    <a:pt x="19252" y="12990"/>
                  </a:cubicBezTo>
                  <a:cubicBezTo>
                    <a:pt x="18530" y="12417"/>
                    <a:pt x="17675" y="11944"/>
                    <a:pt x="16688" y="11572"/>
                  </a:cubicBezTo>
                  <a:cubicBezTo>
                    <a:pt x="15700" y="11184"/>
                    <a:pt x="14641" y="10939"/>
                    <a:pt x="13509" y="10838"/>
                  </a:cubicBezTo>
                  <a:cubicBezTo>
                    <a:pt x="13629" y="11007"/>
                    <a:pt x="13720" y="11176"/>
                    <a:pt x="13780" y="11344"/>
                  </a:cubicBezTo>
                  <a:cubicBezTo>
                    <a:pt x="13840" y="11513"/>
                    <a:pt x="13870" y="11691"/>
                    <a:pt x="13870" y="11876"/>
                  </a:cubicBezTo>
                  <a:cubicBezTo>
                    <a:pt x="13870" y="11893"/>
                    <a:pt x="13870" y="11910"/>
                    <a:pt x="13870" y="11927"/>
                  </a:cubicBezTo>
                  <a:cubicBezTo>
                    <a:pt x="13870" y="11944"/>
                    <a:pt x="13870" y="11961"/>
                    <a:pt x="13870" y="11977"/>
                  </a:cubicBezTo>
                  <a:cubicBezTo>
                    <a:pt x="14111" y="12012"/>
                    <a:pt x="14358" y="12058"/>
                    <a:pt x="14611" y="12117"/>
                  </a:cubicBezTo>
                  <a:cubicBezTo>
                    <a:pt x="14864" y="12176"/>
                    <a:pt x="15098" y="12239"/>
                    <a:pt x="15315" y="12307"/>
                  </a:cubicBezTo>
                  <a:cubicBezTo>
                    <a:pt x="15772" y="12442"/>
                    <a:pt x="16212" y="12607"/>
                    <a:pt x="16633" y="12800"/>
                  </a:cubicBezTo>
                  <a:cubicBezTo>
                    <a:pt x="17054" y="12995"/>
                    <a:pt x="17434" y="13218"/>
                    <a:pt x="17771" y="13472"/>
                  </a:cubicBezTo>
                  <a:cubicBezTo>
                    <a:pt x="18132" y="13725"/>
                    <a:pt x="18452" y="13995"/>
                    <a:pt x="18728" y="14282"/>
                  </a:cubicBezTo>
                  <a:cubicBezTo>
                    <a:pt x="19005" y="14569"/>
                    <a:pt x="19240" y="14873"/>
                    <a:pt x="19433" y="15193"/>
                  </a:cubicBezTo>
                  <a:cubicBezTo>
                    <a:pt x="19649" y="15514"/>
                    <a:pt x="19806" y="15852"/>
                    <a:pt x="19902" y="16206"/>
                  </a:cubicBezTo>
                  <a:cubicBezTo>
                    <a:pt x="19998" y="16561"/>
                    <a:pt x="20047" y="16915"/>
                    <a:pt x="20047" y="17270"/>
                  </a:cubicBezTo>
                  <a:lnTo>
                    <a:pt x="20047" y="20511"/>
                  </a:lnTo>
                  <a:lnTo>
                    <a:pt x="15171" y="20511"/>
                  </a:lnTo>
                  <a:lnTo>
                    <a:pt x="13617" y="21600"/>
                  </a:lnTo>
                  <a:lnTo>
                    <a:pt x="20047" y="21600"/>
                  </a:lnTo>
                  <a:cubicBezTo>
                    <a:pt x="20480" y="21600"/>
                    <a:pt x="20847" y="21495"/>
                    <a:pt x="21148" y="21283"/>
                  </a:cubicBezTo>
                  <a:cubicBezTo>
                    <a:pt x="21449" y="21073"/>
                    <a:pt x="21600" y="20815"/>
                    <a:pt x="21600" y="20511"/>
                  </a:cubicBezTo>
                  <a:lnTo>
                    <a:pt x="21600" y="17270"/>
                  </a:lnTo>
                  <a:lnTo>
                    <a:pt x="21600" y="17270"/>
                  </a:lnTo>
                  <a:lnTo>
                    <a:pt x="21600" y="17270"/>
                  </a:lnTo>
                  <a:lnTo>
                    <a:pt x="21600" y="17270"/>
                  </a:lnTo>
                  <a:lnTo>
                    <a:pt x="21600" y="17270"/>
                  </a:lnTo>
                  <a:lnTo>
                    <a:pt x="21600" y="1727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miter lim="400000"/>
            </a:ln>
          </p:spPr>
          <p:txBody>
            <a:bodyPr lIns="27428" tIns="27428" rIns="27428" bIns="27428" anchor="ctr"/>
            <a:lstStyle/>
            <a:p>
              <a:pPr marL="0" marR="0" lvl="0" indent="0" algn="l" defTabSz="3291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b="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1296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sym typeface="Gill Sans"/>
              </a:endParaRPr>
            </a:p>
          </p:txBody>
        </p:sp>
        <p:sp>
          <p:nvSpPr>
            <p:cNvPr id="1519" name="CaixaDeTexto 1518">
              <a:extLst>
                <a:ext uri="{FF2B5EF4-FFF2-40B4-BE49-F238E27FC236}">
                  <a16:creationId xmlns:a16="http://schemas.microsoft.com/office/drawing/2014/main" id="{48628301-1CA0-3E95-B0EC-3C5E77DCFCD4}"/>
                </a:ext>
              </a:extLst>
            </p:cNvPr>
            <p:cNvSpPr txBox="1"/>
            <p:nvPr/>
          </p:nvSpPr>
          <p:spPr>
            <a:xfrm>
              <a:off x="768272" y="3501680"/>
              <a:ext cx="848111" cy="230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3165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PJ</a:t>
              </a:r>
            </a:p>
          </p:txBody>
        </p:sp>
      </p:grpSp>
      <p:grpSp>
        <p:nvGrpSpPr>
          <p:cNvPr id="1520" name="Agrupar 1519">
            <a:extLst>
              <a:ext uri="{FF2B5EF4-FFF2-40B4-BE49-F238E27FC236}">
                <a16:creationId xmlns:a16="http://schemas.microsoft.com/office/drawing/2014/main" id="{5D909122-184C-D8FE-A832-19C790082BAA}"/>
              </a:ext>
            </a:extLst>
          </p:cNvPr>
          <p:cNvGrpSpPr/>
          <p:nvPr/>
        </p:nvGrpSpPr>
        <p:grpSpPr>
          <a:xfrm>
            <a:off x="7420794" y="1913360"/>
            <a:ext cx="848110" cy="509846"/>
            <a:chOff x="777761" y="2487663"/>
            <a:chExt cx="848111" cy="509847"/>
          </a:xfrm>
        </p:grpSpPr>
        <p:sp>
          <p:nvSpPr>
            <p:cNvPr id="1521" name="Forma">
              <a:extLst>
                <a:ext uri="{FF2B5EF4-FFF2-40B4-BE49-F238E27FC236}">
                  <a16:creationId xmlns:a16="http://schemas.microsoft.com/office/drawing/2014/main" id="{16FEBFF7-6CD3-8F09-35E2-89B8B47D23D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9235" y="2487663"/>
              <a:ext cx="201906" cy="288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353" y="10787"/>
                  </a:moveTo>
                  <a:cubicBezTo>
                    <a:pt x="13605" y="10787"/>
                    <a:pt x="14797" y="10965"/>
                    <a:pt x="15929" y="11319"/>
                  </a:cubicBezTo>
                  <a:cubicBezTo>
                    <a:pt x="17061" y="11657"/>
                    <a:pt x="18042" y="12117"/>
                    <a:pt x="18873" y="12699"/>
                  </a:cubicBezTo>
                  <a:cubicBezTo>
                    <a:pt x="19704" y="13282"/>
                    <a:pt x="20360" y="13970"/>
                    <a:pt x="20841" y="14763"/>
                  </a:cubicBezTo>
                  <a:cubicBezTo>
                    <a:pt x="21347" y="15557"/>
                    <a:pt x="21600" y="16392"/>
                    <a:pt x="21600" y="17270"/>
                  </a:cubicBezTo>
                  <a:lnTo>
                    <a:pt x="21600" y="20891"/>
                  </a:lnTo>
                  <a:cubicBezTo>
                    <a:pt x="21600" y="21094"/>
                    <a:pt x="21498" y="21262"/>
                    <a:pt x="21293" y="21397"/>
                  </a:cubicBezTo>
                  <a:cubicBezTo>
                    <a:pt x="21088" y="21533"/>
                    <a:pt x="20854" y="21600"/>
                    <a:pt x="20589" y="21600"/>
                  </a:cubicBezTo>
                  <a:lnTo>
                    <a:pt x="1011" y="21600"/>
                  </a:lnTo>
                  <a:cubicBezTo>
                    <a:pt x="746" y="21600"/>
                    <a:pt x="512" y="21533"/>
                    <a:pt x="307" y="21397"/>
                  </a:cubicBezTo>
                  <a:cubicBezTo>
                    <a:pt x="102" y="21262"/>
                    <a:pt x="0" y="21094"/>
                    <a:pt x="0" y="20891"/>
                  </a:cubicBezTo>
                  <a:lnTo>
                    <a:pt x="0" y="17270"/>
                  </a:lnTo>
                  <a:cubicBezTo>
                    <a:pt x="0" y="16392"/>
                    <a:pt x="253" y="15557"/>
                    <a:pt x="759" y="14763"/>
                  </a:cubicBezTo>
                  <a:cubicBezTo>
                    <a:pt x="1240" y="13970"/>
                    <a:pt x="1896" y="13282"/>
                    <a:pt x="2727" y="12699"/>
                  </a:cubicBezTo>
                  <a:cubicBezTo>
                    <a:pt x="3558" y="12117"/>
                    <a:pt x="4539" y="11657"/>
                    <a:pt x="5671" y="11319"/>
                  </a:cubicBezTo>
                  <a:cubicBezTo>
                    <a:pt x="6803" y="10965"/>
                    <a:pt x="7995" y="10787"/>
                    <a:pt x="9247" y="10787"/>
                  </a:cubicBezTo>
                  <a:lnTo>
                    <a:pt x="12353" y="10787"/>
                  </a:lnTo>
                  <a:lnTo>
                    <a:pt x="12353" y="10787"/>
                  </a:lnTo>
                  <a:lnTo>
                    <a:pt x="12353" y="10787"/>
                  </a:lnTo>
                  <a:close/>
                  <a:moveTo>
                    <a:pt x="20047" y="20511"/>
                  </a:moveTo>
                  <a:lnTo>
                    <a:pt x="20047" y="17270"/>
                  </a:lnTo>
                  <a:cubicBezTo>
                    <a:pt x="20047" y="16915"/>
                    <a:pt x="19999" y="16561"/>
                    <a:pt x="19902" y="16206"/>
                  </a:cubicBezTo>
                  <a:cubicBezTo>
                    <a:pt x="19806" y="15852"/>
                    <a:pt x="19649" y="15514"/>
                    <a:pt x="19433" y="15193"/>
                  </a:cubicBezTo>
                  <a:cubicBezTo>
                    <a:pt x="19240" y="14873"/>
                    <a:pt x="19005" y="14565"/>
                    <a:pt x="18728" y="14269"/>
                  </a:cubicBezTo>
                  <a:cubicBezTo>
                    <a:pt x="18452" y="13974"/>
                    <a:pt x="18132" y="13708"/>
                    <a:pt x="17771" y="13472"/>
                  </a:cubicBezTo>
                  <a:cubicBezTo>
                    <a:pt x="17410" y="13218"/>
                    <a:pt x="17025" y="12995"/>
                    <a:pt x="16615" y="12800"/>
                  </a:cubicBezTo>
                  <a:cubicBezTo>
                    <a:pt x="16206" y="12607"/>
                    <a:pt x="15773" y="12442"/>
                    <a:pt x="15315" y="12307"/>
                  </a:cubicBezTo>
                  <a:cubicBezTo>
                    <a:pt x="14858" y="12155"/>
                    <a:pt x="14376" y="12045"/>
                    <a:pt x="13870" y="11977"/>
                  </a:cubicBezTo>
                  <a:cubicBezTo>
                    <a:pt x="13365" y="11910"/>
                    <a:pt x="12859" y="11876"/>
                    <a:pt x="12353" y="11876"/>
                  </a:cubicBezTo>
                  <a:lnTo>
                    <a:pt x="9247" y="11876"/>
                  </a:lnTo>
                  <a:cubicBezTo>
                    <a:pt x="8741" y="11876"/>
                    <a:pt x="8235" y="11910"/>
                    <a:pt x="7730" y="11977"/>
                  </a:cubicBezTo>
                  <a:cubicBezTo>
                    <a:pt x="7224" y="12045"/>
                    <a:pt x="6742" y="12155"/>
                    <a:pt x="6285" y="12307"/>
                  </a:cubicBezTo>
                  <a:cubicBezTo>
                    <a:pt x="5827" y="12442"/>
                    <a:pt x="5388" y="12607"/>
                    <a:pt x="4967" y="12800"/>
                  </a:cubicBezTo>
                  <a:cubicBezTo>
                    <a:pt x="4545" y="12995"/>
                    <a:pt x="4166" y="13218"/>
                    <a:pt x="3829" y="13472"/>
                  </a:cubicBezTo>
                  <a:cubicBezTo>
                    <a:pt x="3468" y="13725"/>
                    <a:pt x="3148" y="13995"/>
                    <a:pt x="2872" y="14282"/>
                  </a:cubicBezTo>
                  <a:cubicBezTo>
                    <a:pt x="2595" y="14569"/>
                    <a:pt x="2360" y="14873"/>
                    <a:pt x="2167" y="15193"/>
                  </a:cubicBezTo>
                  <a:cubicBezTo>
                    <a:pt x="1951" y="15514"/>
                    <a:pt x="1794" y="15852"/>
                    <a:pt x="1698" y="16206"/>
                  </a:cubicBezTo>
                  <a:cubicBezTo>
                    <a:pt x="1601" y="16561"/>
                    <a:pt x="1553" y="16915"/>
                    <a:pt x="1553" y="17270"/>
                  </a:cubicBezTo>
                  <a:lnTo>
                    <a:pt x="1553" y="20511"/>
                  </a:lnTo>
                  <a:lnTo>
                    <a:pt x="20047" y="20511"/>
                  </a:lnTo>
                  <a:lnTo>
                    <a:pt x="20047" y="20511"/>
                  </a:lnTo>
                  <a:lnTo>
                    <a:pt x="20047" y="20511"/>
                  </a:lnTo>
                  <a:close/>
                  <a:moveTo>
                    <a:pt x="6429" y="7369"/>
                  </a:moveTo>
                  <a:cubicBezTo>
                    <a:pt x="5225" y="6525"/>
                    <a:pt x="4623" y="5504"/>
                    <a:pt x="4623" y="4305"/>
                  </a:cubicBezTo>
                  <a:cubicBezTo>
                    <a:pt x="4623" y="3123"/>
                    <a:pt x="5225" y="2110"/>
                    <a:pt x="6429" y="1266"/>
                  </a:cubicBezTo>
                  <a:cubicBezTo>
                    <a:pt x="7633" y="422"/>
                    <a:pt x="9090" y="0"/>
                    <a:pt x="10800" y="0"/>
                  </a:cubicBezTo>
                  <a:cubicBezTo>
                    <a:pt x="12510" y="0"/>
                    <a:pt x="13967" y="422"/>
                    <a:pt x="15171" y="1266"/>
                  </a:cubicBezTo>
                  <a:cubicBezTo>
                    <a:pt x="16375" y="2110"/>
                    <a:pt x="16977" y="3123"/>
                    <a:pt x="16977" y="4305"/>
                  </a:cubicBezTo>
                  <a:cubicBezTo>
                    <a:pt x="16977" y="5504"/>
                    <a:pt x="16375" y="6525"/>
                    <a:pt x="15171" y="7369"/>
                  </a:cubicBezTo>
                  <a:cubicBezTo>
                    <a:pt x="13967" y="8213"/>
                    <a:pt x="12510" y="8635"/>
                    <a:pt x="10800" y="8635"/>
                  </a:cubicBezTo>
                  <a:cubicBezTo>
                    <a:pt x="9090" y="8635"/>
                    <a:pt x="7633" y="8213"/>
                    <a:pt x="6429" y="7369"/>
                  </a:cubicBezTo>
                  <a:lnTo>
                    <a:pt x="6429" y="7369"/>
                  </a:lnTo>
                  <a:close/>
                  <a:moveTo>
                    <a:pt x="7513" y="2026"/>
                  </a:moveTo>
                  <a:cubicBezTo>
                    <a:pt x="7080" y="2330"/>
                    <a:pt x="6748" y="2680"/>
                    <a:pt x="6520" y="3077"/>
                  </a:cubicBezTo>
                  <a:cubicBezTo>
                    <a:pt x="6291" y="3473"/>
                    <a:pt x="6177" y="3883"/>
                    <a:pt x="6177" y="4305"/>
                  </a:cubicBezTo>
                  <a:cubicBezTo>
                    <a:pt x="6177" y="4744"/>
                    <a:pt x="6291" y="5162"/>
                    <a:pt x="6520" y="5558"/>
                  </a:cubicBezTo>
                  <a:cubicBezTo>
                    <a:pt x="6748" y="5955"/>
                    <a:pt x="7080" y="6305"/>
                    <a:pt x="7513" y="6609"/>
                  </a:cubicBezTo>
                  <a:cubicBezTo>
                    <a:pt x="7971" y="6913"/>
                    <a:pt x="8476" y="7145"/>
                    <a:pt x="9030" y="7306"/>
                  </a:cubicBezTo>
                  <a:cubicBezTo>
                    <a:pt x="9584" y="7466"/>
                    <a:pt x="10174" y="7546"/>
                    <a:pt x="10800" y="7546"/>
                  </a:cubicBezTo>
                  <a:cubicBezTo>
                    <a:pt x="11426" y="7546"/>
                    <a:pt x="12016" y="7466"/>
                    <a:pt x="12570" y="7306"/>
                  </a:cubicBezTo>
                  <a:cubicBezTo>
                    <a:pt x="13124" y="7145"/>
                    <a:pt x="13629" y="6913"/>
                    <a:pt x="14087" y="6609"/>
                  </a:cubicBezTo>
                  <a:cubicBezTo>
                    <a:pt x="14520" y="6305"/>
                    <a:pt x="14852" y="5955"/>
                    <a:pt x="15080" y="5558"/>
                  </a:cubicBezTo>
                  <a:cubicBezTo>
                    <a:pt x="15309" y="5162"/>
                    <a:pt x="15423" y="4744"/>
                    <a:pt x="15423" y="4305"/>
                  </a:cubicBezTo>
                  <a:cubicBezTo>
                    <a:pt x="15423" y="3883"/>
                    <a:pt x="15309" y="3473"/>
                    <a:pt x="15080" y="3077"/>
                  </a:cubicBezTo>
                  <a:cubicBezTo>
                    <a:pt x="14852" y="2680"/>
                    <a:pt x="14520" y="2330"/>
                    <a:pt x="14087" y="2026"/>
                  </a:cubicBezTo>
                  <a:cubicBezTo>
                    <a:pt x="13629" y="1722"/>
                    <a:pt x="13124" y="1486"/>
                    <a:pt x="12570" y="1317"/>
                  </a:cubicBezTo>
                  <a:cubicBezTo>
                    <a:pt x="12016" y="1148"/>
                    <a:pt x="11426" y="1064"/>
                    <a:pt x="10800" y="1064"/>
                  </a:cubicBezTo>
                  <a:cubicBezTo>
                    <a:pt x="10174" y="1064"/>
                    <a:pt x="9584" y="1148"/>
                    <a:pt x="9030" y="1317"/>
                  </a:cubicBezTo>
                  <a:cubicBezTo>
                    <a:pt x="8476" y="1486"/>
                    <a:pt x="7971" y="1722"/>
                    <a:pt x="7513" y="2026"/>
                  </a:cubicBezTo>
                  <a:lnTo>
                    <a:pt x="7513" y="2026"/>
                  </a:lnTo>
                  <a:lnTo>
                    <a:pt x="7513" y="2026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miter lim="400000"/>
            </a:ln>
          </p:spPr>
          <p:txBody>
            <a:bodyPr lIns="27428" tIns="27428" rIns="27428" bIns="27428" anchor="ctr"/>
            <a:lstStyle/>
            <a:p>
              <a:pPr marL="0" marR="0" lvl="0" indent="0" algn="l" defTabSz="3291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b="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1296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sym typeface="Gill Sans"/>
              </a:endParaRPr>
            </a:p>
          </p:txBody>
        </p:sp>
        <p:sp>
          <p:nvSpPr>
            <p:cNvPr id="1522" name="CaixaDeTexto 1521">
              <a:extLst>
                <a:ext uri="{FF2B5EF4-FFF2-40B4-BE49-F238E27FC236}">
                  <a16:creationId xmlns:a16="http://schemas.microsoft.com/office/drawing/2014/main" id="{1EE935D2-9E14-742E-A36B-BC5623CB9C93}"/>
                </a:ext>
              </a:extLst>
            </p:cNvPr>
            <p:cNvSpPr txBox="1"/>
            <p:nvPr/>
          </p:nvSpPr>
          <p:spPr>
            <a:xfrm>
              <a:off x="777761" y="2766677"/>
              <a:ext cx="848111" cy="2308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3165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PF</a:t>
              </a:r>
            </a:p>
          </p:txBody>
        </p:sp>
      </p:grpSp>
      <p:grpSp>
        <p:nvGrpSpPr>
          <p:cNvPr id="1535" name="Agrupar 1534">
            <a:extLst>
              <a:ext uri="{FF2B5EF4-FFF2-40B4-BE49-F238E27FC236}">
                <a16:creationId xmlns:a16="http://schemas.microsoft.com/office/drawing/2014/main" id="{BC58E0F1-9CC7-70D9-EBCC-C3C47FC8ED2D}"/>
              </a:ext>
            </a:extLst>
          </p:cNvPr>
          <p:cNvGrpSpPr/>
          <p:nvPr/>
        </p:nvGrpSpPr>
        <p:grpSpPr>
          <a:xfrm>
            <a:off x="7409998" y="3607797"/>
            <a:ext cx="848110" cy="583707"/>
            <a:chOff x="7953666" y="3822530"/>
            <a:chExt cx="848110" cy="583707"/>
          </a:xfrm>
        </p:grpSpPr>
        <p:sp>
          <p:nvSpPr>
            <p:cNvPr id="1523" name="Forma">
              <a:extLst>
                <a:ext uri="{FF2B5EF4-FFF2-40B4-BE49-F238E27FC236}">
                  <a16:creationId xmlns:a16="http://schemas.microsoft.com/office/drawing/2014/main" id="{6CFEBCCE-38E4-DCE0-949B-CDA82FC5FE5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51573" y="3822530"/>
              <a:ext cx="252297" cy="252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323" y="1266"/>
                  </a:moveTo>
                  <a:cubicBezTo>
                    <a:pt x="21174" y="2110"/>
                    <a:pt x="21600" y="3123"/>
                    <a:pt x="21600" y="4305"/>
                  </a:cubicBezTo>
                  <a:lnTo>
                    <a:pt x="21600" y="17270"/>
                  </a:lnTo>
                  <a:cubicBezTo>
                    <a:pt x="21600" y="18469"/>
                    <a:pt x="21174" y="19490"/>
                    <a:pt x="20323" y="20334"/>
                  </a:cubicBezTo>
                  <a:cubicBezTo>
                    <a:pt x="19471" y="21178"/>
                    <a:pt x="18455" y="21600"/>
                    <a:pt x="17275" y="21600"/>
                  </a:cubicBezTo>
                  <a:lnTo>
                    <a:pt x="4325" y="21600"/>
                  </a:lnTo>
                  <a:cubicBezTo>
                    <a:pt x="3145" y="21600"/>
                    <a:pt x="2129" y="21178"/>
                    <a:pt x="1277" y="20334"/>
                  </a:cubicBezTo>
                  <a:cubicBezTo>
                    <a:pt x="426" y="19490"/>
                    <a:pt x="0" y="18469"/>
                    <a:pt x="0" y="17270"/>
                  </a:cubicBezTo>
                  <a:lnTo>
                    <a:pt x="0" y="4305"/>
                  </a:lnTo>
                  <a:cubicBezTo>
                    <a:pt x="0" y="3123"/>
                    <a:pt x="426" y="2110"/>
                    <a:pt x="1277" y="1266"/>
                  </a:cubicBezTo>
                  <a:cubicBezTo>
                    <a:pt x="2129" y="422"/>
                    <a:pt x="3145" y="0"/>
                    <a:pt x="4325" y="0"/>
                  </a:cubicBezTo>
                  <a:lnTo>
                    <a:pt x="17275" y="0"/>
                  </a:lnTo>
                  <a:cubicBezTo>
                    <a:pt x="18455" y="0"/>
                    <a:pt x="19471" y="422"/>
                    <a:pt x="20323" y="1266"/>
                  </a:cubicBezTo>
                  <a:lnTo>
                    <a:pt x="20323" y="1266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miter lim="400000"/>
            </a:ln>
          </p:spPr>
          <p:txBody>
            <a:bodyPr lIns="27428" tIns="27428" rIns="27428" bIns="27428" anchor="ctr"/>
            <a:lstStyle/>
            <a:p>
              <a:pPr marL="0" marR="0" lvl="0" indent="0" algn="l" defTabSz="3291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b="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1296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sym typeface="Gill Sans"/>
              </a:endParaRPr>
            </a:p>
          </p:txBody>
        </p:sp>
        <p:sp>
          <p:nvSpPr>
            <p:cNvPr id="1533" name="CaixaDeTexto 1532">
              <a:extLst>
                <a:ext uri="{FF2B5EF4-FFF2-40B4-BE49-F238E27FC236}">
                  <a16:creationId xmlns:a16="http://schemas.microsoft.com/office/drawing/2014/main" id="{D2216F54-C439-D8E2-2AE3-FEDCBB836B17}"/>
                </a:ext>
              </a:extLst>
            </p:cNvPr>
            <p:cNvSpPr txBox="1"/>
            <p:nvPr/>
          </p:nvSpPr>
          <p:spPr>
            <a:xfrm>
              <a:off x="7953666" y="4036905"/>
              <a:ext cx="84811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3165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Áreas Internas</a:t>
              </a:r>
            </a:p>
          </p:txBody>
        </p:sp>
      </p:grpSp>
      <p:grpSp>
        <p:nvGrpSpPr>
          <p:cNvPr id="1536" name="Agrupar 1535">
            <a:extLst>
              <a:ext uri="{FF2B5EF4-FFF2-40B4-BE49-F238E27FC236}">
                <a16:creationId xmlns:a16="http://schemas.microsoft.com/office/drawing/2014/main" id="{FA3143C7-34E4-7F37-B6AD-A9A755625B98}"/>
              </a:ext>
            </a:extLst>
          </p:cNvPr>
          <p:cNvGrpSpPr/>
          <p:nvPr/>
        </p:nvGrpSpPr>
        <p:grpSpPr>
          <a:xfrm>
            <a:off x="7420794" y="2995528"/>
            <a:ext cx="848110" cy="585425"/>
            <a:chOff x="7953666" y="3214737"/>
            <a:chExt cx="848110" cy="585425"/>
          </a:xfrm>
        </p:grpSpPr>
        <p:grpSp>
          <p:nvGrpSpPr>
            <p:cNvPr id="1524" name="Agrupar 1523">
              <a:extLst>
                <a:ext uri="{FF2B5EF4-FFF2-40B4-BE49-F238E27FC236}">
                  <a16:creationId xmlns:a16="http://schemas.microsoft.com/office/drawing/2014/main" id="{AA0F95B7-ABB6-CF58-3FB5-EB8703C5B2A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232822" y="3214737"/>
              <a:ext cx="289799" cy="252000"/>
              <a:chOff x="14235288" y="1236062"/>
              <a:chExt cx="438150" cy="381001"/>
            </a:xfrm>
          </p:grpSpPr>
          <p:sp>
            <p:nvSpPr>
              <p:cNvPr id="1525" name="Forma Livre: Forma 1524">
                <a:extLst>
                  <a:ext uri="{FF2B5EF4-FFF2-40B4-BE49-F238E27FC236}">
                    <a16:creationId xmlns:a16="http://schemas.microsoft.com/office/drawing/2014/main" id="{A98E697D-0FD2-EC98-C5B5-69124C300912}"/>
                  </a:ext>
                </a:extLst>
              </p:cNvPr>
              <p:cNvSpPr/>
              <p:nvPr/>
            </p:nvSpPr>
            <p:spPr>
              <a:xfrm>
                <a:off x="14235288" y="1236062"/>
                <a:ext cx="438150" cy="114300"/>
              </a:xfrm>
              <a:custGeom>
                <a:avLst/>
                <a:gdLst>
                  <a:gd name="connsiteX0" fmla="*/ 219075 w 438150"/>
                  <a:gd name="connsiteY0" fmla="*/ 0 h 114300"/>
                  <a:gd name="connsiteX1" fmla="*/ 0 w 438150"/>
                  <a:gd name="connsiteY1" fmla="*/ 85725 h 114300"/>
                  <a:gd name="connsiteX2" fmla="*/ 0 w 438150"/>
                  <a:gd name="connsiteY2" fmla="*/ 95250 h 114300"/>
                  <a:gd name="connsiteX3" fmla="*/ 9525 w 438150"/>
                  <a:gd name="connsiteY3" fmla="*/ 114300 h 114300"/>
                  <a:gd name="connsiteX4" fmla="*/ 428625 w 438150"/>
                  <a:gd name="connsiteY4" fmla="*/ 114300 h 114300"/>
                  <a:gd name="connsiteX5" fmla="*/ 438150 w 438150"/>
                  <a:gd name="connsiteY5" fmla="*/ 95250 h 114300"/>
                  <a:gd name="connsiteX6" fmla="*/ 438150 w 438150"/>
                  <a:gd name="connsiteY6" fmla="*/ 85725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8150" h="114300">
                    <a:moveTo>
                      <a:pt x="219075" y="0"/>
                    </a:moveTo>
                    <a:lnTo>
                      <a:pt x="0" y="85725"/>
                    </a:lnTo>
                    <a:lnTo>
                      <a:pt x="0" y="95250"/>
                    </a:lnTo>
                    <a:lnTo>
                      <a:pt x="9525" y="114300"/>
                    </a:lnTo>
                    <a:lnTo>
                      <a:pt x="428625" y="114300"/>
                    </a:lnTo>
                    <a:lnTo>
                      <a:pt x="438150" y="95250"/>
                    </a:lnTo>
                    <a:lnTo>
                      <a:pt x="438150" y="85725"/>
                    </a:lnTo>
                    <a:close/>
                  </a:path>
                </a:pathLst>
              </a:custGeom>
              <a:noFill/>
              <a:ln w="19050" cap="rnd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26" name="Forma Livre: Forma 1525">
                <a:extLst>
                  <a:ext uri="{FF2B5EF4-FFF2-40B4-BE49-F238E27FC236}">
                    <a16:creationId xmlns:a16="http://schemas.microsoft.com/office/drawing/2014/main" id="{14AD1772-F0BF-7828-F7B7-D646DE705006}"/>
                  </a:ext>
                </a:extLst>
              </p:cNvPr>
              <p:cNvSpPr/>
              <p:nvPr/>
            </p:nvSpPr>
            <p:spPr>
              <a:xfrm>
                <a:off x="14530563" y="1397987"/>
                <a:ext cx="57150" cy="152400"/>
              </a:xfrm>
              <a:custGeom>
                <a:avLst/>
                <a:gdLst>
                  <a:gd name="connsiteX0" fmla="*/ 0 w 57150"/>
                  <a:gd name="connsiteY0" fmla="*/ 152400 h 152400"/>
                  <a:gd name="connsiteX1" fmla="*/ 0 w 57150"/>
                  <a:gd name="connsiteY1" fmla="*/ 28575 h 152400"/>
                  <a:gd name="connsiteX2" fmla="*/ 28575 w 57150"/>
                  <a:gd name="connsiteY2" fmla="*/ 0 h 152400"/>
                  <a:gd name="connsiteX3" fmla="*/ 28575 w 57150"/>
                  <a:gd name="connsiteY3" fmla="*/ 0 h 152400"/>
                  <a:gd name="connsiteX4" fmla="*/ 57150 w 57150"/>
                  <a:gd name="connsiteY4" fmla="*/ 28575 h 152400"/>
                  <a:gd name="connsiteX5" fmla="*/ 57150 w 57150"/>
                  <a:gd name="connsiteY5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7150" h="152400">
                    <a:moveTo>
                      <a:pt x="0" y="152400"/>
                    </a:moveTo>
                    <a:lnTo>
                      <a:pt x="0" y="28575"/>
                    </a:lnTo>
                    <a:cubicBezTo>
                      <a:pt x="0" y="12764"/>
                      <a:pt x="12763" y="0"/>
                      <a:pt x="28575" y="0"/>
                    </a:cubicBezTo>
                    <a:lnTo>
                      <a:pt x="28575" y="0"/>
                    </a:lnTo>
                    <a:cubicBezTo>
                      <a:pt x="44387" y="0"/>
                      <a:pt x="57150" y="12764"/>
                      <a:pt x="57150" y="28575"/>
                    </a:cubicBezTo>
                    <a:lnTo>
                      <a:pt x="57150" y="152400"/>
                    </a:lnTo>
                  </a:path>
                </a:pathLst>
              </a:custGeom>
              <a:noFill/>
              <a:ln w="19050" cap="rnd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27" name="Forma Livre: Forma 1526">
                <a:extLst>
                  <a:ext uri="{FF2B5EF4-FFF2-40B4-BE49-F238E27FC236}">
                    <a16:creationId xmlns:a16="http://schemas.microsoft.com/office/drawing/2014/main" id="{C8EABDE9-17FB-0A38-1C57-3EE5BF57EED8}"/>
                  </a:ext>
                </a:extLst>
              </p:cNvPr>
              <p:cNvSpPr/>
              <p:nvPr/>
            </p:nvSpPr>
            <p:spPr>
              <a:xfrm>
                <a:off x="14425788" y="1397987"/>
                <a:ext cx="57150" cy="152400"/>
              </a:xfrm>
              <a:custGeom>
                <a:avLst/>
                <a:gdLst>
                  <a:gd name="connsiteX0" fmla="*/ 0 w 57150"/>
                  <a:gd name="connsiteY0" fmla="*/ 152400 h 152400"/>
                  <a:gd name="connsiteX1" fmla="*/ 0 w 57150"/>
                  <a:gd name="connsiteY1" fmla="*/ 28575 h 152400"/>
                  <a:gd name="connsiteX2" fmla="*/ 28575 w 57150"/>
                  <a:gd name="connsiteY2" fmla="*/ 0 h 152400"/>
                  <a:gd name="connsiteX3" fmla="*/ 28575 w 57150"/>
                  <a:gd name="connsiteY3" fmla="*/ 0 h 152400"/>
                  <a:gd name="connsiteX4" fmla="*/ 57150 w 57150"/>
                  <a:gd name="connsiteY4" fmla="*/ 28575 h 152400"/>
                  <a:gd name="connsiteX5" fmla="*/ 57150 w 57150"/>
                  <a:gd name="connsiteY5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7150" h="152400">
                    <a:moveTo>
                      <a:pt x="0" y="152400"/>
                    </a:moveTo>
                    <a:lnTo>
                      <a:pt x="0" y="28575"/>
                    </a:lnTo>
                    <a:cubicBezTo>
                      <a:pt x="0" y="12764"/>
                      <a:pt x="12763" y="0"/>
                      <a:pt x="28575" y="0"/>
                    </a:cubicBezTo>
                    <a:lnTo>
                      <a:pt x="28575" y="0"/>
                    </a:lnTo>
                    <a:cubicBezTo>
                      <a:pt x="44387" y="0"/>
                      <a:pt x="57150" y="12764"/>
                      <a:pt x="57150" y="28575"/>
                    </a:cubicBezTo>
                    <a:lnTo>
                      <a:pt x="57150" y="152400"/>
                    </a:lnTo>
                  </a:path>
                </a:pathLst>
              </a:custGeom>
              <a:noFill/>
              <a:ln w="19050" cap="rnd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28" name="Forma Livre: Forma 1527">
                <a:extLst>
                  <a:ext uri="{FF2B5EF4-FFF2-40B4-BE49-F238E27FC236}">
                    <a16:creationId xmlns:a16="http://schemas.microsoft.com/office/drawing/2014/main" id="{2C5AC807-B121-4327-34AD-3BE8DC3AF29E}"/>
                  </a:ext>
                </a:extLst>
              </p:cNvPr>
              <p:cNvSpPr/>
              <p:nvPr/>
            </p:nvSpPr>
            <p:spPr>
              <a:xfrm>
                <a:off x="14321013" y="1397987"/>
                <a:ext cx="57150" cy="152400"/>
              </a:xfrm>
              <a:custGeom>
                <a:avLst/>
                <a:gdLst>
                  <a:gd name="connsiteX0" fmla="*/ 0 w 57150"/>
                  <a:gd name="connsiteY0" fmla="*/ 152400 h 152400"/>
                  <a:gd name="connsiteX1" fmla="*/ 0 w 57150"/>
                  <a:gd name="connsiteY1" fmla="*/ 28575 h 152400"/>
                  <a:gd name="connsiteX2" fmla="*/ 28575 w 57150"/>
                  <a:gd name="connsiteY2" fmla="*/ 0 h 152400"/>
                  <a:gd name="connsiteX3" fmla="*/ 28575 w 57150"/>
                  <a:gd name="connsiteY3" fmla="*/ 0 h 152400"/>
                  <a:gd name="connsiteX4" fmla="*/ 57150 w 57150"/>
                  <a:gd name="connsiteY4" fmla="*/ 28575 h 152400"/>
                  <a:gd name="connsiteX5" fmla="*/ 57150 w 57150"/>
                  <a:gd name="connsiteY5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7150" h="152400">
                    <a:moveTo>
                      <a:pt x="0" y="152400"/>
                    </a:moveTo>
                    <a:lnTo>
                      <a:pt x="0" y="28575"/>
                    </a:lnTo>
                    <a:cubicBezTo>
                      <a:pt x="0" y="12764"/>
                      <a:pt x="12763" y="0"/>
                      <a:pt x="28575" y="0"/>
                    </a:cubicBezTo>
                    <a:lnTo>
                      <a:pt x="28575" y="0"/>
                    </a:lnTo>
                    <a:cubicBezTo>
                      <a:pt x="44387" y="0"/>
                      <a:pt x="57150" y="12764"/>
                      <a:pt x="57150" y="28575"/>
                    </a:cubicBezTo>
                    <a:lnTo>
                      <a:pt x="57150" y="152400"/>
                    </a:lnTo>
                  </a:path>
                </a:pathLst>
              </a:custGeom>
              <a:noFill/>
              <a:ln w="19050" cap="rnd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29" name="Forma Livre: Forma 1528">
                <a:extLst>
                  <a:ext uri="{FF2B5EF4-FFF2-40B4-BE49-F238E27FC236}">
                    <a16:creationId xmlns:a16="http://schemas.microsoft.com/office/drawing/2014/main" id="{15C2B511-1BD7-13CF-F995-2699FA26026D}"/>
                  </a:ext>
                </a:extLst>
              </p:cNvPr>
              <p:cNvSpPr/>
              <p:nvPr/>
            </p:nvSpPr>
            <p:spPr>
              <a:xfrm>
                <a:off x="14254338" y="1369412"/>
                <a:ext cx="19050" cy="200025"/>
              </a:xfrm>
              <a:custGeom>
                <a:avLst/>
                <a:gdLst>
                  <a:gd name="connsiteX0" fmla="*/ 0 w 19050"/>
                  <a:gd name="connsiteY0" fmla="*/ 0 h 200025"/>
                  <a:gd name="connsiteX1" fmla="*/ 0 w 19050"/>
                  <a:gd name="connsiteY1" fmla="*/ 19050 h 200025"/>
                  <a:gd name="connsiteX2" fmla="*/ 19050 w 19050"/>
                  <a:gd name="connsiteY2" fmla="*/ 28575 h 200025"/>
                  <a:gd name="connsiteX3" fmla="*/ 19050 w 19050"/>
                  <a:gd name="connsiteY3" fmla="*/ 200025 h 200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200025">
                    <a:moveTo>
                      <a:pt x="0" y="0"/>
                    </a:moveTo>
                    <a:lnTo>
                      <a:pt x="0" y="19050"/>
                    </a:lnTo>
                    <a:lnTo>
                      <a:pt x="19050" y="28575"/>
                    </a:lnTo>
                    <a:lnTo>
                      <a:pt x="19050" y="200025"/>
                    </a:lnTo>
                  </a:path>
                </a:pathLst>
              </a:custGeom>
              <a:noFill/>
              <a:ln w="19050" cap="rnd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30" name="Forma Livre: Forma 1529">
                <a:extLst>
                  <a:ext uri="{FF2B5EF4-FFF2-40B4-BE49-F238E27FC236}">
                    <a16:creationId xmlns:a16="http://schemas.microsoft.com/office/drawing/2014/main" id="{2DEB2CE0-9D19-82FE-65E6-F418CE6C510C}"/>
                  </a:ext>
                </a:extLst>
              </p:cNvPr>
              <p:cNvSpPr/>
              <p:nvPr/>
            </p:nvSpPr>
            <p:spPr>
              <a:xfrm>
                <a:off x="14635338" y="1369412"/>
                <a:ext cx="19050" cy="200025"/>
              </a:xfrm>
              <a:custGeom>
                <a:avLst/>
                <a:gdLst>
                  <a:gd name="connsiteX0" fmla="*/ 0 w 19050"/>
                  <a:gd name="connsiteY0" fmla="*/ 200025 h 200025"/>
                  <a:gd name="connsiteX1" fmla="*/ 0 w 19050"/>
                  <a:gd name="connsiteY1" fmla="*/ 28575 h 200025"/>
                  <a:gd name="connsiteX2" fmla="*/ 19050 w 19050"/>
                  <a:gd name="connsiteY2" fmla="*/ 19050 h 200025"/>
                  <a:gd name="connsiteX3" fmla="*/ 19050 w 19050"/>
                  <a:gd name="connsiteY3" fmla="*/ 0 h 200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200025">
                    <a:moveTo>
                      <a:pt x="0" y="200025"/>
                    </a:moveTo>
                    <a:lnTo>
                      <a:pt x="0" y="28575"/>
                    </a:lnTo>
                    <a:lnTo>
                      <a:pt x="19050" y="19050"/>
                    </a:lnTo>
                    <a:lnTo>
                      <a:pt x="19050" y="0"/>
                    </a:lnTo>
                  </a:path>
                </a:pathLst>
              </a:custGeom>
              <a:noFill/>
              <a:ln w="19050" cap="rnd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31" name="Forma Livre: Forma 1530">
                <a:extLst>
                  <a:ext uri="{FF2B5EF4-FFF2-40B4-BE49-F238E27FC236}">
                    <a16:creationId xmlns:a16="http://schemas.microsoft.com/office/drawing/2014/main" id="{A00D8D04-031E-93F7-33D5-6C17145E0691}"/>
                  </a:ext>
                </a:extLst>
              </p:cNvPr>
              <p:cNvSpPr/>
              <p:nvPr/>
            </p:nvSpPr>
            <p:spPr>
              <a:xfrm>
                <a:off x="14244813" y="1569438"/>
                <a:ext cx="419100" cy="9525"/>
              </a:xfrm>
              <a:custGeom>
                <a:avLst/>
                <a:gdLst>
                  <a:gd name="connsiteX0" fmla="*/ 0 w 419100"/>
                  <a:gd name="connsiteY0" fmla="*/ 0 h 0"/>
                  <a:gd name="connsiteX1" fmla="*/ 419100 w 419100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9100">
                    <a:moveTo>
                      <a:pt x="0" y="0"/>
                    </a:moveTo>
                    <a:lnTo>
                      <a:pt x="419100" y="0"/>
                    </a:lnTo>
                  </a:path>
                </a:pathLst>
              </a:custGeom>
              <a:ln w="19050" cap="rnd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32" name="Forma Livre: Forma 1531">
                <a:extLst>
                  <a:ext uri="{FF2B5EF4-FFF2-40B4-BE49-F238E27FC236}">
                    <a16:creationId xmlns:a16="http://schemas.microsoft.com/office/drawing/2014/main" id="{1A14B4D4-19E2-E44E-446C-AD22021D6AE3}"/>
                  </a:ext>
                </a:extLst>
              </p:cNvPr>
              <p:cNvSpPr/>
              <p:nvPr/>
            </p:nvSpPr>
            <p:spPr>
              <a:xfrm>
                <a:off x="14244813" y="1607538"/>
                <a:ext cx="419100" cy="9525"/>
              </a:xfrm>
              <a:custGeom>
                <a:avLst/>
                <a:gdLst>
                  <a:gd name="connsiteX0" fmla="*/ 0 w 419100"/>
                  <a:gd name="connsiteY0" fmla="*/ 0 h 0"/>
                  <a:gd name="connsiteX1" fmla="*/ 419100 w 419100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9100">
                    <a:moveTo>
                      <a:pt x="0" y="0"/>
                    </a:moveTo>
                    <a:lnTo>
                      <a:pt x="419100" y="0"/>
                    </a:lnTo>
                  </a:path>
                </a:pathLst>
              </a:custGeom>
              <a:ln w="19050" cap="rnd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534" name="CaixaDeTexto 1533">
              <a:extLst>
                <a:ext uri="{FF2B5EF4-FFF2-40B4-BE49-F238E27FC236}">
                  <a16:creationId xmlns:a16="http://schemas.microsoft.com/office/drawing/2014/main" id="{1CB837C8-09A6-6420-52FE-F50C2362ADC9}"/>
                </a:ext>
              </a:extLst>
            </p:cNvPr>
            <p:cNvSpPr txBox="1"/>
            <p:nvPr/>
          </p:nvSpPr>
          <p:spPr>
            <a:xfrm>
              <a:off x="7953666" y="3430830"/>
              <a:ext cx="84811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3165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Órgãos externos</a:t>
              </a:r>
            </a:p>
          </p:txBody>
        </p:sp>
      </p:grpSp>
      <p:grpSp>
        <p:nvGrpSpPr>
          <p:cNvPr id="1537" name="Agrupar 1536">
            <a:extLst>
              <a:ext uri="{FF2B5EF4-FFF2-40B4-BE49-F238E27FC236}">
                <a16:creationId xmlns:a16="http://schemas.microsoft.com/office/drawing/2014/main" id="{3038AAE8-F201-66FE-64C6-FD917E9AE1EC}"/>
              </a:ext>
            </a:extLst>
          </p:cNvPr>
          <p:cNvGrpSpPr/>
          <p:nvPr/>
        </p:nvGrpSpPr>
        <p:grpSpPr>
          <a:xfrm>
            <a:off x="8326196" y="2521422"/>
            <a:ext cx="720000" cy="467227"/>
            <a:chOff x="1735517" y="2703352"/>
            <a:chExt cx="720000" cy="467227"/>
          </a:xfrm>
        </p:grpSpPr>
        <p:sp>
          <p:nvSpPr>
            <p:cNvPr id="1538" name="CaixaDeTexto 1537">
              <a:extLst>
                <a:ext uri="{FF2B5EF4-FFF2-40B4-BE49-F238E27FC236}">
                  <a16:creationId xmlns:a16="http://schemas.microsoft.com/office/drawing/2014/main" id="{5ACF2B0F-6640-7DBA-3E13-18E7874AB7C8}"/>
                </a:ext>
              </a:extLst>
            </p:cNvPr>
            <p:cNvSpPr txBox="1"/>
            <p:nvPr/>
          </p:nvSpPr>
          <p:spPr>
            <a:xfrm>
              <a:off x="1735517" y="2939747"/>
              <a:ext cx="72000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3165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Aplicativos</a:t>
              </a:r>
            </a:p>
          </p:txBody>
        </p:sp>
        <p:sp>
          <p:nvSpPr>
            <p:cNvPr id="1539" name="Forma">
              <a:extLst>
                <a:ext uri="{FF2B5EF4-FFF2-40B4-BE49-F238E27FC236}">
                  <a16:creationId xmlns:a16="http://schemas.microsoft.com/office/drawing/2014/main" id="{2900CEE1-4D84-A1FD-2B31-B7B1F788B68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19887" y="2703352"/>
              <a:ext cx="151261" cy="252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018" y="950"/>
                  </a:moveTo>
                  <a:cubicBezTo>
                    <a:pt x="21073" y="1583"/>
                    <a:pt x="21600" y="2347"/>
                    <a:pt x="21600" y="3241"/>
                  </a:cubicBezTo>
                  <a:lnTo>
                    <a:pt x="21600" y="18359"/>
                  </a:lnTo>
                  <a:cubicBezTo>
                    <a:pt x="21600" y="19254"/>
                    <a:pt x="21073" y="20017"/>
                    <a:pt x="20018" y="20650"/>
                  </a:cubicBezTo>
                  <a:cubicBezTo>
                    <a:pt x="18963" y="21283"/>
                    <a:pt x="17690" y="21600"/>
                    <a:pt x="16200" y="21600"/>
                  </a:cubicBezTo>
                  <a:lnTo>
                    <a:pt x="5400" y="21600"/>
                  </a:lnTo>
                  <a:cubicBezTo>
                    <a:pt x="3909" y="21600"/>
                    <a:pt x="2637" y="21283"/>
                    <a:pt x="1582" y="20650"/>
                  </a:cubicBezTo>
                  <a:cubicBezTo>
                    <a:pt x="527" y="20017"/>
                    <a:pt x="0" y="19254"/>
                    <a:pt x="0" y="18359"/>
                  </a:cubicBezTo>
                  <a:lnTo>
                    <a:pt x="0" y="3241"/>
                  </a:lnTo>
                  <a:cubicBezTo>
                    <a:pt x="0" y="2347"/>
                    <a:pt x="527" y="1583"/>
                    <a:pt x="1582" y="950"/>
                  </a:cubicBezTo>
                  <a:cubicBezTo>
                    <a:pt x="2637" y="317"/>
                    <a:pt x="3909" y="0"/>
                    <a:pt x="5400" y="0"/>
                  </a:cubicBezTo>
                  <a:lnTo>
                    <a:pt x="16200" y="0"/>
                  </a:lnTo>
                  <a:cubicBezTo>
                    <a:pt x="17690" y="0"/>
                    <a:pt x="18963" y="317"/>
                    <a:pt x="20018" y="950"/>
                  </a:cubicBezTo>
                  <a:lnTo>
                    <a:pt x="20018" y="950"/>
                  </a:lnTo>
                  <a:close/>
                  <a:moveTo>
                    <a:pt x="19786" y="18359"/>
                  </a:moveTo>
                  <a:lnTo>
                    <a:pt x="19786" y="16206"/>
                  </a:lnTo>
                  <a:lnTo>
                    <a:pt x="1814" y="16206"/>
                  </a:lnTo>
                  <a:lnTo>
                    <a:pt x="1814" y="18359"/>
                  </a:lnTo>
                  <a:cubicBezTo>
                    <a:pt x="1814" y="18950"/>
                    <a:pt x="2165" y="19456"/>
                    <a:pt x="2869" y="19878"/>
                  </a:cubicBezTo>
                  <a:cubicBezTo>
                    <a:pt x="3571" y="20300"/>
                    <a:pt x="4415" y="20511"/>
                    <a:pt x="5400" y="20511"/>
                  </a:cubicBezTo>
                  <a:lnTo>
                    <a:pt x="16200" y="20511"/>
                  </a:lnTo>
                  <a:cubicBezTo>
                    <a:pt x="17184" y="20511"/>
                    <a:pt x="18028" y="20300"/>
                    <a:pt x="18731" y="19878"/>
                  </a:cubicBezTo>
                  <a:cubicBezTo>
                    <a:pt x="19434" y="19456"/>
                    <a:pt x="19786" y="18950"/>
                    <a:pt x="19786" y="18359"/>
                  </a:cubicBezTo>
                  <a:lnTo>
                    <a:pt x="19786" y="18359"/>
                  </a:lnTo>
                  <a:lnTo>
                    <a:pt x="19786" y="18359"/>
                  </a:lnTo>
                  <a:close/>
                  <a:moveTo>
                    <a:pt x="19786" y="4305"/>
                  </a:moveTo>
                  <a:lnTo>
                    <a:pt x="1814" y="4305"/>
                  </a:lnTo>
                  <a:lnTo>
                    <a:pt x="1814" y="15117"/>
                  </a:lnTo>
                  <a:lnTo>
                    <a:pt x="19786" y="15117"/>
                  </a:lnTo>
                  <a:lnTo>
                    <a:pt x="19786" y="4305"/>
                  </a:lnTo>
                  <a:lnTo>
                    <a:pt x="19786" y="4305"/>
                  </a:lnTo>
                  <a:close/>
                  <a:moveTo>
                    <a:pt x="1814" y="3241"/>
                  </a:moveTo>
                  <a:lnTo>
                    <a:pt x="19786" y="3241"/>
                  </a:lnTo>
                  <a:cubicBezTo>
                    <a:pt x="19786" y="2634"/>
                    <a:pt x="19434" y="2119"/>
                    <a:pt x="18731" y="1697"/>
                  </a:cubicBezTo>
                  <a:cubicBezTo>
                    <a:pt x="18028" y="1275"/>
                    <a:pt x="17184" y="1064"/>
                    <a:pt x="16200" y="1064"/>
                  </a:cubicBezTo>
                  <a:lnTo>
                    <a:pt x="5400" y="1064"/>
                  </a:lnTo>
                  <a:cubicBezTo>
                    <a:pt x="4415" y="1064"/>
                    <a:pt x="3571" y="1275"/>
                    <a:pt x="2869" y="1697"/>
                  </a:cubicBezTo>
                  <a:cubicBezTo>
                    <a:pt x="2165" y="2119"/>
                    <a:pt x="1814" y="2634"/>
                    <a:pt x="1814" y="3241"/>
                  </a:cubicBezTo>
                  <a:lnTo>
                    <a:pt x="1814" y="3241"/>
                  </a:lnTo>
                  <a:lnTo>
                    <a:pt x="1814" y="3241"/>
                  </a:lnTo>
                  <a:close/>
                  <a:moveTo>
                    <a:pt x="8986" y="18359"/>
                  </a:moveTo>
                  <a:cubicBezTo>
                    <a:pt x="8986" y="18663"/>
                    <a:pt x="9161" y="18920"/>
                    <a:pt x="9513" y="19131"/>
                  </a:cubicBezTo>
                  <a:cubicBezTo>
                    <a:pt x="9865" y="19342"/>
                    <a:pt x="10294" y="19448"/>
                    <a:pt x="10800" y="19448"/>
                  </a:cubicBezTo>
                  <a:cubicBezTo>
                    <a:pt x="11306" y="19448"/>
                    <a:pt x="11735" y="19342"/>
                    <a:pt x="12087" y="19131"/>
                  </a:cubicBezTo>
                  <a:cubicBezTo>
                    <a:pt x="12438" y="18920"/>
                    <a:pt x="12614" y="18663"/>
                    <a:pt x="12614" y="18359"/>
                  </a:cubicBezTo>
                  <a:cubicBezTo>
                    <a:pt x="12614" y="18055"/>
                    <a:pt x="12438" y="17798"/>
                    <a:pt x="12087" y="17586"/>
                  </a:cubicBezTo>
                  <a:cubicBezTo>
                    <a:pt x="11735" y="17376"/>
                    <a:pt x="11306" y="17270"/>
                    <a:pt x="10800" y="17270"/>
                  </a:cubicBezTo>
                  <a:cubicBezTo>
                    <a:pt x="10294" y="17270"/>
                    <a:pt x="9865" y="17376"/>
                    <a:pt x="9513" y="17586"/>
                  </a:cubicBezTo>
                  <a:cubicBezTo>
                    <a:pt x="9161" y="17798"/>
                    <a:pt x="8986" y="18055"/>
                    <a:pt x="8986" y="18359"/>
                  </a:cubicBezTo>
                  <a:lnTo>
                    <a:pt x="8986" y="18359"/>
                  </a:lnTo>
                  <a:lnTo>
                    <a:pt x="8986" y="18359"/>
                  </a:lnTo>
                  <a:close/>
                  <a:moveTo>
                    <a:pt x="6286" y="7546"/>
                  </a:moveTo>
                  <a:cubicBezTo>
                    <a:pt x="6539" y="7546"/>
                    <a:pt x="6757" y="7495"/>
                    <a:pt x="6940" y="7394"/>
                  </a:cubicBezTo>
                  <a:cubicBezTo>
                    <a:pt x="7122" y="7293"/>
                    <a:pt x="7214" y="7166"/>
                    <a:pt x="7214" y="7014"/>
                  </a:cubicBezTo>
                  <a:lnTo>
                    <a:pt x="7214" y="5925"/>
                  </a:lnTo>
                  <a:cubicBezTo>
                    <a:pt x="7214" y="5791"/>
                    <a:pt x="7122" y="5668"/>
                    <a:pt x="6940" y="5558"/>
                  </a:cubicBezTo>
                  <a:cubicBezTo>
                    <a:pt x="6757" y="5449"/>
                    <a:pt x="6539" y="5394"/>
                    <a:pt x="6286" y="5394"/>
                  </a:cubicBezTo>
                  <a:lnTo>
                    <a:pt x="4514" y="5394"/>
                  </a:lnTo>
                  <a:cubicBezTo>
                    <a:pt x="4261" y="5394"/>
                    <a:pt x="4043" y="5449"/>
                    <a:pt x="3860" y="5558"/>
                  </a:cubicBezTo>
                  <a:cubicBezTo>
                    <a:pt x="3677" y="5668"/>
                    <a:pt x="3586" y="5791"/>
                    <a:pt x="3586" y="5925"/>
                  </a:cubicBezTo>
                  <a:lnTo>
                    <a:pt x="3586" y="7014"/>
                  </a:lnTo>
                  <a:cubicBezTo>
                    <a:pt x="3586" y="7166"/>
                    <a:pt x="3677" y="7293"/>
                    <a:pt x="3860" y="7394"/>
                  </a:cubicBezTo>
                  <a:cubicBezTo>
                    <a:pt x="4043" y="7495"/>
                    <a:pt x="4261" y="7546"/>
                    <a:pt x="4514" y="7546"/>
                  </a:cubicBezTo>
                  <a:lnTo>
                    <a:pt x="6286" y="7546"/>
                  </a:lnTo>
                  <a:lnTo>
                    <a:pt x="6286" y="7546"/>
                  </a:lnTo>
                  <a:lnTo>
                    <a:pt x="6286" y="7546"/>
                  </a:lnTo>
                  <a:close/>
                  <a:moveTo>
                    <a:pt x="12340" y="7394"/>
                  </a:moveTo>
                  <a:cubicBezTo>
                    <a:pt x="12522" y="7293"/>
                    <a:pt x="12614" y="7166"/>
                    <a:pt x="12614" y="7014"/>
                  </a:cubicBezTo>
                  <a:lnTo>
                    <a:pt x="12614" y="5925"/>
                  </a:lnTo>
                  <a:cubicBezTo>
                    <a:pt x="12614" y="5791"/>
                    <a:pt x="12522" y="5668"/>
                    <a:pt x="12340" y="5558"/>
                  </a:cubicBezTo>
                  <a:cubicBezTo>
                    <a:pt x="12157" y="5449"/>
                    <a:pt x="11939" y="5394"/>
                    <a:pt x="11686" y="5394"/>
                  </a:cubicBezTo>
                  <a:lnTo>
                    <a:pt x="9914" y="5394"/>
                  </a:lnTo>
                  <a:cubicBezTo>
                    <a:pt x="9661" y="5394"/>
                    <a:pt x="9443" y="5449"/>
                    <a:pt x="9260" y="5558"/>
                  </a:cubicBezTo>
                  <a:cubicBezTo>
                    <a:pt x="9077" y="5668"/>
                    <a:pt x="8986" y="5791"/>
                    <a:pt x="8986" y="5925"/>
                  </a:cubicBezTo>
                  <a:lnTo>
                    <a:pt x="8986" y="7014"/>
                  </a:lnTo>
                  <a:cubicBezTo>
                    <a:pt x="8986" y="7166"/>
                    <a:pt x="9077" y="7293"/>
                    <a:pt x="9260" y="7394"/>
                  </a:cubicBezTo>
                  <a:cubicBezTo>
                    <a:pt x="9443" y="7495"/>
                    <a:pt x="9661" y="7546"/>
                    <a:pt x="9914" y="7546"/>
                  </a:cubicBezTo>
                  <a:lnTo>
                    <a:pt x="11686" y="7546"/>
                  </a:lnTo>
                  <a:cubicBezTo>
                    <a:pt x="11939" y="7546"/>
                    <a:pt x="12157" y="7495"/>
                    <a:pt x="12340" y="7394"/>
                  </a:cubicBezTo>
                  <a:lnTo>
                    <a:pt x="12340" y="7394"/>
                  </a:lnTo>
                  <a:close/>
                  <a:moveTo>
                    <a:pt x="17740" y="7394"/>
                  </a:moveTo>
                  <a:cubicBezTo>
                    <a:pt x="17922" y="7293"/>
                    <a:pt x="18014" y="7166"/>
                    <a:pt x="18014" y="7014"/>
                  </a:cubicBezTo>
                  <a:lnTo>
                    <a:pt x="18014" y="5925"/>
                  </a:lnTo>
                  <a:cubicBezTo>
                    <a:pt x="18014" y="5791"/>
                    <a:pt x="17922" y="5668"/>
                    <a:pt x="17740" y="5558"/>
                  </a:cubicBezTo>
                  <a:cubicBezTo>
                    <a:pt x="17557" y="5449"/>
                    <a:pt x="17339" y="5394"/>
                    <a:pt x="17086" y="5394"/>
                  </a:cubicBezTo>
                  <a:lnTo>
                    <a:pt x="15314" y="5394"/>
                  </a:lnTo>
                  <a:cubicBezTo>
                    <a:pt x="15061" y="5394"/>
                    <a:pt x="14843" y="5449"/>
                    <a:pt x="14660" y="5558"/>
                  </a:cubicBezTo>
                  <a:cubicBezTo>
                    <a:pt x="14477" y="5668"/>
                    <a:pt x="14386" y="5791"/>
                    <a:pt x="14386" y="5925"/>
                  </a:cubicBezTo>
                  <a:lnTo>
                    <a:pt x="14386" y="7014"/>
                  </a:lnTo>
                  <a:cubicBezTo>
                    <a:pt x="14386" y="7166"/>
                    <a:pt x="14477" y="7293"/>
                    <a:pt x="14660" y="7394"/>
                  </a:cubicBezTo>
                  <a:cubicBezTo>
                    <a:pt x="14843" y="7495"/>
                    <a:pt x="15061" y="7546"/>
                    <a:pt x="15314" y="7546"/>
                  </a:cubicBezTo>
                  <a:lnTo>
                    <a:pt x="17086" y="7546"/>
                  </a:lnTo>
                  <a:cubicBezTo>
                    <a:pt x="17339" y="7546"/>
                    <a:pt x="17557" y="7495"/>
                    <a:pt x="17740" y="7394"/>
                  </a:cubicBezTo>
                  <a:lnTo>
                    <a:pt x="17740" y="7394"/>
                  </a:lnTo>
                  <a:close/>
                  <a:moveTo>
                    <a:pt x="6286" y="10787"/>
                  </a:moveTo>
                  <a:cubicBezTo>
                    <a:pt x="6539" y="10787"/>
                    <a:pt x="6757" y="10737"/>
                    <a:pt x="6940" y="10635"/>
                  </a:cubicBezTo>
                  <a:cubicBezTo>
                    <a:pt x="7122" y="10534"/>
                    <a:pt x="7214" y="10408"/>
                    <a:pt x="7214" y="10256"/>
                  </a:cubicBezTo>
                  <a:lnTo>
                    <a:pt x="7214" y="9167"/>
                  </a:lnTo>
                  <a:cubicBezTo>
                    <a:pt x="7214" y="9032"/>
                    <a:pt x="7122" y="8910"/>
                    <a:pt x="6940" y="8800"/>
                  </a:cubicBezTo>
                  <a:cubicBezTo>
                    <a:pt x="6757" y="8690"/>
                    <a:pt x="6539" y="8635"/>
                    <a:pt x="6286" y="8635"/>
                  </a:cubicBezTo>
                  <a:lnTo>
                    <a:pt x="4514" y="8635"/>
                  </a:lnTo>
                  <a:cubicBezTo>
                    <a:pt x="4261" y="8635"/>
                    <a:pt x="4043" y="8690"/>
                    <a:pt x="3860" y="8800"/>
                  </a:cubicBezTo>
                  <a:cubicBezTo>
                    <a:pt x="3677" y="8910"/>
                    <a:pt x="3586" y="9032"/>
                    <a:pt x="3586" y="9167"/>
                  </a:cubicBezTo>
                  <a:lnTo>
                    <a:pt x="3586" y="10256"/>
                  </a:lnTo>
                  <a:cubicBezTo>
                    <a:pt x="3586" y="10408"/>
                    <a:pt x="3677" y="10534"/>
                    <a:pt x="3860" y="10635"/>
                  </a:cubicBezTo>
                  <a:cubicBezTo>
                    <a:pt x="4043" y="10737"/>
                    <a:pt x="4261" y="10787"/>
                    <a:pt x="4514" y="10787"/>
                  </a:cubicBezTo>
                  <a:lnTo>
                    <a:pt x="6286" y="10787"/>
                  </a:lnTo>
                  <a:lnTo>
                    <a:pt x="6286" y="10787"/>
                  </a:lnTo>
                  <a:lnTo>
                    <a:pt x="6286" y="10787"/>
                  </a:lnTo>
                  <a:close/>
                  <a:moveTo>
                    <a:pt x="12340" y="10635"/>
                  </a:moveTo>
                  <a:cubicBezTo>
                    <a:pt x="12522" y="10534"/>
                    <a:pt x="12614" y="10408"/>
                    <a:pt x="12614" y="10256"/>
                  </a:cubicBezTo>
                  <a:lnTo>
                    <a:pt x="12614" y="9167"/>
                  </a:lnTo>
                  <a:cubicBezTo>
                    <a:pt x="12614" y="9032"/>
                    <a:pt x="12522" y="8910"/>
                    <a:pt x="12340" y="8800"/>
                  </a:cubicBezTo>
                  <a:cubicBezTo>
                    <a:pt x="12157" y="8690"/>
                    <a:pt x="11939" y="8635"/>
                    <a:pt x="11686" y="8635"/>
                  </a:cubicBezTo>
                  <a:lnTo>
                    <a:pt x="9914" y="8635"/>
                  </a:lnTo>
                  <a:cubicBezTo>
                    <a:pt x="9661" y="8635"/>
                    <a:pt x="9443" y="8690"/>
                    <a:pt x="9260" y="8800"/>
                  </a:cubicBezTo>
                  <a:cubicBezTo>
                    <a:pt x="9077" y="8910"/>
                    <a:pt x="8986" y="9032"/>
                    <a:pt x="8986" y="9167"/>
                  </a:cubicBezTo>
                  <a:lnTo>
                    <a:pt x="8986" y="10256"/>
                  </a:lnTo>
                  <a:cubicBezTo>
                    <a:pt x="8986" y="10408"/>
                    <a:pt x="9077" y="10534"/>
                    <a:pt x="9260" y="10635"/>
                  </a:cubicBezTo>
                  <a:cubicBezTo>
                    <a:pt x="9443" y="10737"/>
                    <a:pt x="9661" y="10787"/>
                    <a:pt x="9914" y="10787"/>
                  </a:cubicBezTo>
                  <a:lnTo>
                    <a:pt x="11686" y="10787"/>
                  </a:lnTo>
                  <a:cubicBezTo>
                    <a:pt x="11939" y="10787"/>
                    <a:pt x="12157" y="10737"/>
                    <a:pt x="12340" y="10635"/>
                  </a:cubicBezTo>
                  <a:lnTo>
                    <a:pt x="12340" y="10635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miter lim="400000"/>
            </a:ln>
          </p:spPr>
          <p:txBody>
            <a:bodyPr lIns="27428" tIns="27428" rIns="27428" bIns="27428" anchor="ctr"/>
            <a:lstStyle/>
            <a:p>
              <a:pPr marL="0" marR="0" lvl="0" indent="0" algn="l" defTabSz="3291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b="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lang="pt-BR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sym typeface="Gill Sans"/>
              </a:endParaRPr>
            </a:p>
          </p:txBody>
        </p:sp>
      </p:grpSp>
      <p:grpSp>
        <p:nvGrpSpPr>
          <p:cNvPr id="1540" name="Agrupar 1539">
            <a:extLst>
              <a:ext uri="{FF2B5EF4-FFF2-40B4-BE49-F238E27FC236}">
                <a16:creationId xmlns:a16="http://schemas.microsoft.com/office/drawing/2014/main" id="{989679D4-DEDA-6F75-46B5-FA70BA99B25D}"/>
              </a:ext>
            </a:extLst>
          </p:cNvPr>
          <p:cNvGrpSpPr/>
          <p:nvPr/>
        </p:nvGrpSpPr>
        <p:grpSpPr>
          <a:xfrm>
            <a:off x="8353492" y="3577044"/>
            <a:ext cx="720000" cy="492787"/>
            <a:chOff x="1745578" y="3767997"/>
            <a:chExt cx="720000" cy="492788"/>
          </a:xfrm>
        </p:grpSpPr>
        <p:sp>
          <p:nvSpPr>
            <p:cNvPr id="1541" name="CaixaDeTexto 1540">
              <a:extLst>
                <a:ext uri="{FF2B5EF4-FFF2-40B4-BE49-F238E27FC236}">
                  <a16:creationId xmlns:a16="http://schemas.microsoft.com/office/drawing/2014/main" id="{4345E03A-1ED9-6028-D391-11B105F8CDCC}"/>
                </a:ext>
              </a:extLst>
            </p:cNvPr>
            <p:cNvSpPr txBox="1"/>
            <p:nvPr/>
          </p:nvSpPr>
          <p:spPr>
            <a:xfrm>
              <a:off x="1745578" y="4029952"/>
              <a:ext cx="720000" cy="2308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3165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Centrais</a:t>
              </a:r>
            </a:p>
          </p:txBody>
        </p:sp>
        <p:sp>
          <p:nvSpPr>
            <p:cNvPr id="1542" name="Forma">
              <a:extLst>
                <a:ext uri="{FF2B5EF4-FFF2-40B4-BE49-F238E27FC236}">
                  <a16:creationId xmlns:a16="http://schemas.microsoft.com/office/drawing/2014/main" id="{E15AEA83-A689-B10E-5328-52B9954421C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62462" y="3767997"/>
              <a:ext cx="266111" cy="252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109" y="18000"/>
                  </a:moveTo>
                  <a:lnTo>
                    <a:pt x="9109" y="21600"/>
                  </a:lnTo>
                  <a:lnTo>
                    <a:pt x="12518" y="21600"/>
                  </a:lnTo>
                  <a:lnTo>
                    <a:pt x="12518" y="18000"/>
                  </a:lnTo>
                  <a:lnTo>
                    <a:pt x="9109" y="18000"/>
                  </a:lnTo>
                  <a:lnTo>
                    <a:pt x="9109" y="18000"/>
                  </a:lnTo>
                  <a:lnTo>
                    <a:pt x="9109" y="18000"/>
                  </a:lnTo>
                  <a:close/>
                  <a:moveTo>
                    <a:pt x="4554" y="18000"/>
                  </a:moveTo>
                  <a:lnTo>
                    <a:pt x="7964" y="18000"/>
                  </a:lnTo>
                  <a:lnTo>
                    <a:pt x="7964" y="21600"/>
                  </a:lnTo>
                  <a:lnTo>
                    <a:pt x="4554" y="21600"/>
                  </a:lnTo>
                  <a:lnTo>
                    <a:pt x="4554" y="18000"/>
                  </a:lnTo>
                  <a:lnTo>
                    <a:pt x="4554" y="18000"/>
                  </a:lnTo>
                  <a:close/>
                  <a:moveTo>
                    <a:pt x="13636" y="18000"/>
                  </a:moveTo>
                  <a:lnTo>
                    <a:pt x="17046" y="18000"/>
                  </a:lnTo>
                  <a:lnTo>
                    <a:pt x="17046" y="21600"/>
                  </a:lnTo>
                  <a:lnTo>
                    <a:pt x="13636" y="21600"/>
                  </a:lnTo>
                  <a:lnTo>
                    <a:pt x="13636" y="18000"/>
                  </a:lnTo>
                  <a:lnTo>
                    <a:pt x="13636" y="18000"/>
                  </a:lnTo>
                  <a:close/>
                  <a:moveTo>
                    <a:pt x="4554" y="13219"/>
                  </a:moveTo>
                  <a:lnTo>
                    <a:pt x="7964" y="13219"/>
                  </a:lnTo>
                  <a:lnTo>
                    <a:pt x="7964" y="16819"/>
                  </a:lnTo>
                  <a:lnTo>
                    <a:pt x="4554" y="16819"/>
                  </a:lnTo>
                  <a:lnTo>
                    <a:pt x="4554" y="13219"/>
                  </a:lnTo>
                  <a:lnTo>
                    <a:pt x="4554" y="13219"/>
                  </a:lnTo>
                  <a:close/>
                  <a:moveTo>
                    <a:pt x="9109" y="16819"/>
                  </a:moveTo>
                  <a:lnTo>
                    <a:pt x="9109" y="13219"/>
                  </a:lnTo>
                  <a:lnTo>
                    <a:pt x="12518" y="13219"/>
                  </a:lnTo>
                  <a:lnTo>
                    <a:pt x="12518" y="16819"/>
                  </a:lnTo>
                  <a:lnTo>
                    <a:pt x="9109" y="16819"/>
                  </a:lnTo>
                  <a:lnTo>
                    <a:pt x="9109" y="16819"/>
                  </a:lnTo>
                  <a:lnTo>
                    <a:pt x="9109" y="16819"/>
                  </a:lnTo>
                  <a:close/>
                  <a:moveTo>
                    <a:pt x="13636" y="13219"/>
                  </a:moveTo>
                  <a:lnTo>
                    <a:pt x="17046" y="13219"/>
                  </a:lnTo>
                  <a:lnTo>
                    <a:pt x="17046" y="16819"/>
                  </a:lnTo>
                  <a:lnTo>
                    <a:pt x="13636" y="16819"/>
                  </a:lnTo>
                  <a:lnTo>
                    <a:pt x="13636" y="13219"/>
                  </a:lnTo>
                  <a:lnTo>
                    <a:pt x="13636" y="13219"/>
                  </a:lnTo>
                  <a:close/>
                  <a:moveTo>
                    <a:pt x="21600" y="8409"/>
                  </a:moveTo>
                  <a:cubicBezTo>
                    <a:pt x="21600" y="7247"/>
                    <a:pt x="21396" y="6159"/>
                    <a:pt x="20987" y="5147"/>
                  </a:cubicBezTo>
                  <a:cubicBezTo>
                    <a:pt x="20561" y="4116"/>
                    <a:pt x="19989" y="3220"/>
                    <a:pt x="19270" y="2461"/>
                  </a:cubicBezTo>
                  <a:cubicBezTo>
                    <a:pt x="18550" y="1702"/>
                    <a:pt x="17711" y="1107"/>
                    <a:pt x="16753" y="675"/>
                  </a:cubicBezTo>
                  <a:cubicBezTo>
                    <a:pt x="15776" y="225"/>
                    <a:pt x="14737" y="0"/>
                    <a:pt x="13636" y="0"/>
                  </a:cubicBezTo>
                  <a:lnTo>
                    <a:pt x="7964" y="0"/>
                  </a:lnTo>
                  <a:cubicBezTo>
                    <a:pt x="6863" y="0"/>
                    <a:pt x="5833" y="225"/>
                    <a:pt x="4874" y="675"/>
                  </a:cubicBezTo>
                  <a:cubicBezTo>
                    <a:pt x="3897" y="1107"/>
                    <a:pt x="3050" y="1702"/>
                    <a:pt x="2330" y="2461"/>
                  </a:cubicBezTo>
                  <a:cubicBezTo>
                    <a:pt x="1611" y="3220"/>
                    <a:pt x="1048" y="4116"/>
                    <a:pt x="639" y="5147"/>
                  </a:cubicBezTo>
                  <a:cubicBezTo>
                    <a:pt x="213" y="6159"/>
                    <a:pt x="0" y="7247"/>
                    <a:pt x="0" y="8409"/>
                  </a:cubicBezTo>
                  <a:cubicBezTo>
                    <a:pt x="0" y="9066"/>
                    <a:pt x="222" y="9628"/>
                    <a:pt x="666" y="10097"/>
                  </a:cubicBezTo>
                  <a:cubicBezTo>
                    <a:pt x="1110" y="10566"/>
                    <a:pt x="1651" y="10800"/>
                    <a:pt x="2291" y="10800"/>
                  </a:cubicBezTo>
                  <a:lnTo>
                    <a:pt x="4554" y="10800"/>
                  </a:lnTo>
                  <a:cubicBezTo>
                    <a:pt x="5176" y="10800"/>
                    <a:pt x="5709" y="10566"/>
                    <a:pt x="6152" y="10097"/>
                  </a:cubicBezTo>
                  <a:cubicBezTo>
                    <a:pt x="6596" y="9628"/>
                    <a:pt x="6818" y="9066"/>
                    <a:pt x="6818" y="8409"/>
                  </a:cubicBezTo>
                  <a:lnTo>
                    <a:pt x="6818" y="7200"/>
                  </a:lnTo>
                  <a:cubicBezTo>
                    <a:pt x="6818" y="6881"/>
                    <a:pt x="6929" y="6605"/>
                    <a:pt x="7151" y="6370"/>
                  </a:cubicBezTo>
                  <a:cubicBezTo>
                    <a:pt x="7373" y="6136"/>
                    <a:pt x="7644" y="6019"/>
                    <a:pt x="7964" y="6019"/>
                  </a:cubicBezTo>
                  <a:lnTo>
                    <a:pt x="13636" y="6019"/>
                  </a:lnTo>
                  <a:cubicBezTo>
                    <a:pt x="13956" y="6019"/>
                    <a:pt x="14227" y="6136"/>
                    <a:pt x="14449" y="6370"/>
                  </a:cubicBezTo>
                  <a:cubicBezTo>
                    <a:pt x="14671" y="6605"/>
                    <a:pt x="14782" y="6881"/>
                    <a:pt x="14782" y="7200"/>
                  </a:cubicBezTo>
                  <a:lnTo>
                    <a:pt x="14782" y="8409"/>
                  </a:lnTo>
                  <a:cubicBezTo>
                    <a:pt x="14782" y="9066"/>
                    <a:pt x="15004" y="9628"/>
                    <a:pt x="15448" y="10097"/>
                  </a:cubicBezTo>
                  <a:cubicBezTo>
                    <a:pt x="15891" y="10566"/>
                    <a:pt x="16424" y="10800"/>
                    <a:pt x="17046" y="10800"/>
                  </a:cubicBezTo>
                  <a:lnTo>
                    <a:pt x="19336" y="10800"/>
                  </a:lnTo>
                  <a:cubicBezTo>
                    <a:pt x="19958" y="10800"/>
                    <a:pt x="20490" y="10566"/>
                    <a:pt x="20934" y="10097"/>
                  </a:cubicBezTo>
                  <a:cubicBezTo>
                    <a:pt x="21378" y="9628"/>
                    <a:pt x="21600" y="9066"/>
                    <a:pt x="21600" y="8409"/>
                  </a:cubicBezTo>
                  <a:lnTo>
                    <a:pt x="21600" y="8409"/>
                  </a:lnTo>
                  <a:lnTo>
                    <a:pt x="21600" y="8409"/>
                  </a:lnTo>
                  <a:lnTo>
                    <a:pt x="21600" y="8409"/>
                  </a:lnTo>
                  <a:lnTo>
                    <a:pt x="21600" y="8409"/>
                  </a:lnTo>
                  <a:close/>
                  <a:moveTo>
                    <a:pt x="20455" y="8409"/>
                  </a:moveTo>
                  <a:cubicBezTo>
                    <a:pt x="20455" y="8747"/>
                    <a:pt x="20344" y="9033"/>
                    <a:pt x="20122" y="9267"/>
                  </a:cubicBezTo>
                  <a:cubicBezTo>
                    <a:pt x="19900" y="9502"/>
                    <a:pt x="19638" y="9619"/>
                    <a:pt x="19336" y="9619"/>
                  </a:cubicBezTo>
                  <a:lnTo>
                    <a:pt x="17046" y="9619"/>
                  </a:lnTo>
                  <a:cubicBezTo>
                    <a:pt x="16744" y="9619"/>
                    <a:pt x="16482" y="9502"/>
                    <a:pt x="16260" y="9267"/>
                  </a:cubicBezTo>
                  <a:cubicBezTo>
                    <a:pt x="16038" y="9033"/>
                    <a:pt x="15927" y="8747"/>
                    <a:pt x="15927" y="8409"/>
                  </a:cubicBezTo>
                  <a:lnTo>
                    <a:pt x="15927" y="7200"/>
                  </a:lnTo>
                  <a:cubicBezTo>
                    <a:pt x="15927" y="6544"/>
                    <a:pt x="15705" y="5981"/>
                    <a:pt x="15261" y="5513"/>
                  </a:cubicBezTo>
                  <a:cubicBezTo>
                    <a:pt x="14817" y="5044"/>
                    <a:pt x="14276" y="4809"/>
                    <a:pt x="13636" y="4809"/>
                  </a:cubicBezTo>
                  <a:lnTo>
                    <a:pt x="7964" y="4809"/>
                  </a:lnTo>
                  <a:cubicBezTo>
                    <a:pt x="7342" y="4809"/>
                    <a:pt x="6809" y="5044"/>
                    <a:pt x="6365" y="5513"/>
                  </a:cubicBezTo>
                  <a:cubicBezTo>
                    <a:pt x="5922" y="5981"/>
                    <a:pt x="5700" y="6544"/>
                    <a:pt x="5700" y="7200"/>
                  </a:cubicBezTo>
                  <a:lnTo>
                    <a:pt x="5700" y="8409"/>
                  </a:lnTo>
                  <a:cubicBezTo>
                    <a:pt x="5700" y="8747"/>
                    <a:pt x="5589" y="9033"/>
                    <a:pt x="5367" y="9267"/>
                  </a:cubicBezTo>
                  <a:cubicBezTo>
                    <a:pt x="5145" y="9502"/>
                    <a:pt x="4874" y="9619"/>
                    <a:pt x="4554" y="9619"/>
                  </a:cubicBezTo>
                  <a:lnTo>
                    <a:pt x="2291" y="9619"/>
                  </a:lnTo>
                  <a:cubicBezTo>
                    <a:pt x="1971" y="9619"/>
                    <a:pt x="1700" y="9502"/>
                    <a:pt x="1478" y="9267"/>
                  </a:cubicBezTo>
                  <a:cubicBezTo>
                    <a:pt x="1256" y="9033"/>
                    <a:pt x="1145" y="8747"/>
                    <a:pt x="1145" y="8409"/>
                  </a:cubicBezTo>
                  <a:cubicBezTo>
                    <a:pt x="1145" y="7922"/>
                    <a:pt x="1190" y="7444"/>
                    <a:pt x="1278" y="6975"/>
                  </a:cubicBezTo>
                  <a:cubicBezTo>
                    <a:pt x="1367" y="6507"/>
                    <a:pt x="1500" y="6047"/>
                    <a:pt x="1678" y="5597"/>
                  </a:cubicBezTo>
                  <a:cubicBezTo>
                    <a:pt x="1855" y="5166"/>
                    <a:pt x="2064" y="4763"/>
                    <a:pt x="2304" y="4388"/>
                  </a:cubicBezTo>
                  <a:cubicBezTo>
                    <a:pt x="2544" y="4013"/>
                    <a:pt x="2823" y="3656"/>
                    <a:pt x="3143" y="3319"/>
                  </a:cubicBezTo>
                  <a:cubicBezTo>
                    <a:pt x="3462" y="2981"/>
                    <a:pt x="3800" y="2686"/>
                    <a:pt x="4155" y="2433"/>
                  </a:cubicBezTo>
                  <a:cubicBezTo>
                    <a:pt x="4510" y="2180"/>
                    <a:pt x="4892" y="1960"/>
                    <a:pt x="5300" y="1772"/>
                  </a:cubicBezTo>
                  <a:cubicBezTo>
                    <a:pt x="5726" y="1585"/>
                    <a:pt x="6161" y="1444"/>
                    <a:pt x="6605" y="1350"/>
                  </a:cubicBezTo>
                  <a:cubicBezTo>
                    <a:pt x="7049" y="1256"/>
                    <a:pt x="7502" y="1209"/>
                    <a:pt x="7964" y="1209"/>
                  </a:cubicBezTo>
                  <a:lnTo>
                    <a:pt x="13636" y="1209"/>
                  </a:lnTo>
                  <a:cubicBezTo>
                    <a:pt x="14098" y="1209"/>
                    <a:pt x="14551" y="1256"/>
                    <a:pt x="14995" y="1350"/>
                  </a:cubicBezTo>
                  <a:cubicBezTo>
                    <a:pt x="15439" y="1444"/>
                    <a:pt x="15874" y="1585"/>
                    <a:pt x="16300" y="1772"/>
                  </a:cubicBezTo>
                  <a:cubicBezTo>
                    <a:pt x="16708" y="1960"/>
                    <a:pt x="17094" y="2180"/>
                    <a:pt x="17458" y="2433"/>
                  </a:cubicBezTo>
                  <a:cubicBezTo>
                    <a:pt x="17822" y="2686"/>
                    <a:pt x="18155" y="2981"/>
                    <a:pt x="18457" y="3319"/>
                  </a:cubicBezTo>
                  <a:cubicBezTo>
                    <a:pt x="18777" y="3656"/>
                    <a:pt x="19061" y="4013"/>
                    <a:pt x="19309" y="4388"/>
                  </a:cubicBezTo>
                  <a:cubicBezTo>
                    <a:pt x="19558" y="4763"/>
                    <a:pt x="19762" y="5166"/>
                    <a:pt x="19922" y="5597"/>
                  </a:cubicBezTo>
                  <a:cubicBezTo>
                    <a:pt x="20100" y="6047"/>
                    <a:pt x="20233" y="6507"/>
                    <a:pt x="20322" y="6975"/>
                  </a:cubicBezTo>
                  <a:cubicBezTo>
                    <a:pt x="20410" y="7444"/>
                    <a:pt x="20455" y="7922"/>
                    <a:pt x="20455" y="8409"/>
                  </a:cubicBezTo>
                  <a:lnTo>
                    <a:pt x="20455" y="8409"/>
                  </a:lnTo>
                  <a:lnTo>
                    <a:pt x="20455" y="8409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miter lim="400000"/>
            </a:ln>
          </p:spPr>
          <p:txBody>
            <a:bodyPr lIns="27428" tIns="27428" rIns="27428" bIns="27428" anchor="ctr"/>
            <a:lstStyle/>
            <a:p>
              <a:pPr marL="0" marR="0" lvl="0" indent="0" algn="l" defTabSz="3291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b="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sym typeface="Gill Sans"/>
              </a:endParaRPr>
            </a:p>
          </p:txBody>
        </p:sp>
      </p:grpSp>
      <p:grpSp>
        <p:nvGrpSpPr>
          <p:cNvPr id="1543" name="Agrupar 1542">
            <a:extLst>
              <a:ext uri="{FF2B5EF4-FFF2-40B4-BE49-F238E27FC236}">
                <a16:creationId xmlns:a16="http://schemas.microsoft.com/office/drawing/2014/main" id="{AD647333-E025-1175-C2DC-1E6F95E6201B}"/>
              </a:ext>
            </a:extLst>
          </p:cNvPr>
          <p:cNvGrpSpPr/>
          <p:nvPr/>
        </p:nvGrpSpPr>
        <p:grpSpPr>
          <a:xfrm>
            <a:off x="8297251" y="1952644"/>
            <a:ext cx="720000" cy="462876"/>
            <a:chOff x="1723917" y="3268315"/>
            <a:chExt cx="720000" cy="462875"/>
          </a:xfrm>
        </p:grpSpPr>
        <p:sp>
          <p:nvSpPr>
            <p:cNvPr id="1544" name="CaixaDeTexto 1543">
              <a:extLst>
                <a:ext uri="{FF2B5EF4-FFF2-40B4-BE49-F238E27FC236}">
                  <a16:creationId xmlns:a16="http://schemas.microsoft.com/office/drawing/2014/main" id="{635788E8-46FF-68C0-F2EC-81CC118E71E1}"/>
                </a:ext>
              </a:extLst>
            </p:cNvPr>
            <p:cNvSpPr txBox="1"/>
            <p:nvPr/>
          </p:nvSpPr>
          <p:spPr>
            <a:xfrm>
              <a:off x="1723917" y="3500359"/>
              <a:ext cx="720000" cy="230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3165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Sites</a:t>
              </a:r>
            </a:p>
          </p:txBody>
        </p:sp>
        <p:sp>
          <p:nvSpPr>
            <p:cNvPr id="1545" name="Forma">
              <a:extLst>
                <a:ext uri="{FF2B5EF4-FFF2-40B4-BE49-F238E27FC236}">
                  <a16:creationId xmlns:a16="http://schemas.microsoft.com/office/drawing/2014/main" id="{EA9F44C5-20CF-83C0-9EBD-F2E6E8E14E4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41626" y="3268315"/>
              <a:ext cx="307782" cy="252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62" y="21417"/>
                  </a:moveTo>
                  <a:cubicBezTo>
                    <a:pt x="21554" y="21295"/>
                    <a:pt x="21600" y="21160"/>
                    <a:pt x="21600" y="21009"/>
                  </a:cubicBezTo>
                  <a:cubicBezTo>
                    <a:pt x="21600" y="20841"/>
                    <a:pt x="21554" y="20696"/>
                    <a:pt x="21462" y="20573"/>
                  </a:cubicBezTo>
                  <a:cubicBezTo>
                    <a:pt x="21370" y="20452"/>
                    <a:pt x="21255" y="20391"/>
                    <a:pt x="21116" y="20391"/>
                  </a:cubicBezTo>
                  <a:lnTo>
                    <a:pt x="484" y="20391"/>
                  </a:lnTo>
                  <a:cubicBezTo>
                    <a:pt x="345" y="20391"/>
                    <a:pt x="230" y="20452"/>
                    <a:pt x="138" y="20573"/>
                  </a:cubicBezTo>
                  <a:cubicBezTo>
                    <a:pt x="46" y="20696"/>
                    <a:pt x="0" y="20841"/>
                    <a:pt x="0" y="21009"/>
                  </a:cubicBezTo>
                  <a:cubicBezTo>
                    <a:pt x="0" y="21160"/>
                    <a:pt x="46" y="21295"/>
                    <a:pt x="138" y="21417"/>
                  </a:cubicBezTo>
                  <a:cubicBezTo>
                    <a:pt x="230" y="21539"/>
                    <a:pt x="345" y="21600"/>
                    <a:pt x="484" y="21600"/>
                  </a:cubicBezTo>
                  <a:lnTo>
                    <a:pt x="21116" y="21600"/>
                  </a:lnTo>
                  <a:lnTo>
                    <a:pt x="21116" y="21600"/>
                  </a:lnTo>
                  <a:lnTo>
                    <a:pt x="21116" y="21600"/>
                  </a:lnTo>
                  <a:cubicBezTo>
                    <a:pt x="21255" y="21600"/>
                    <a:pt x="21370" y="21539"/>
                    <a:pt x="21462" y="21417"/>
                  </a:cubicBezTo>
                  <a:lnTo>
                    <a:pt x="21462" y="21417"/>
                  </a:lnTo>
                  <a:close/>
                  <a:moveTo>
                    <a:pt x="19643" y="15609"/>
                  </a:moveTo>
                  <a:lnTo>
                    <a:pt x="1957" y="15609"/>
                  </a:lnTo>
                  <a:lnTo>
                    <a:pt x="1957" y="1209"/>
                  </a:lnTo>
                  <a:lnTo>
                    <a:pt x="19643" y="1209"/>
                  </a:lnTo>
                  <a:lnTo>
                    <a:pt x="19643" y="15609"/>
                  </a:lnTo>
                  <a:lnTo>
                    <a:pt x="19643" y="15609"/>
                  </a:lnTo>
                  <a:close/>
                  <a:moveTo>
                    <a:pt x="1957" y="0"/>
                  </a:moveTo>
                  <a:cubicBezTo>
                    <a:pt x="1681" y="0"/>
                    <a:pt x="1447" y="117"/>
                    <a:pt x="1255" y="352"/>
                  </a:cubicBezTo>
                  <a:cubicBezTo>
                    <a:pt x="1063" y="586"/>
                    <a:pt x="967" y="872"/>
                    <a:pt x="967" y="1209"/>
                  </a:cubicBezTo>
                  <a:lnTo>
                    <a:pt x="967" y="15609"/>
                  </a:lnTo>
                  <a:cubicBezTo>
                    <a:pt x="967" y="15928"/>
                    <a:pt x="1063" y="16205"/>
                    <a:pt x="1255" y="16439"/>
                  </a:cubicBezTo>
                  <a:cubicBezTo>
                    <a:pt x="1447" y="16674"/>
                    <a:pt x="1681" y="16791"/>
                    <a:pt x="1957" y="16791"/>
                  </a:cubicBezTo>
                  <a:lnTo>
                    <a:pt x="19643" y="16791"/>
                  </a:lnTo>
                  <a:cubicBezTo>
                    <a:pt x="19919" y="16791"/>
                    <a:pt x="20153" y="16674"/>
                    <a:pt x="20345" y="16439"/>
                  </a:cubicBezTo>
                  <a:cubicBezTo>
                    <a:pt x="20537" y="16205"/>
                    <a:pt x="20633" y="15928"/>
                    <a:pt x="20633" y="15609"/>
                  </a:cubicBezTo>
                  <a:lnTo>
                    <a:pt x="20633" y="1209"/>
                  </a:lnTo>
                  <a:cubicBezTo>
                    <a:pt x="20633" y="872"/>
                    <a:pt x="20537" y="586"/>
                    <a:pt x="20345" y="352"/>
                  </a:cubicBezTo>
                  <a:cubicBezTo>
                    <a:pt x="20153" y="117"/>
                    <a:pt x="19919" y="0"/>
                    <a:pt x="19643" y="0"/>
                  </a:cubicBezTo>
                  <a:lnTo>
                    <a:pt x="1957" y="0"/>
                  </a:lnTo>
                  <a:lnTo>
                    <a:pt x="1957" y="0"/>
                  </a:lnTo>
                  <a:close/>
                  <a:moveTo>
                    <a:pt x="15221" y="2391"/>
                  </a:moveTo>
                  <a:cubicBezTo>
                    <a:pt x="15359" y="2391"/>
                    <a:pt x="15475" y="2452"/>
                    <a:pt x="15567" y="2573"/>
                  </a:cubicBezTo>
                  <a:cubicBezTo>
                    <a:pt x="15659" y="2696"/>
                    <a:pt x="15705" y="2841"/>
                    <a:pt x="15705" y="3009"/>
                  </a:cubicBezTo>
                  <a:lnTo>
                    <a:pt x="15705" y="4191"/>
                  </a:lnTo>
                  <a:cubicBezTo>
                    <a:pt x="15705" y="4359"/>
                    <a:pt x="15659" y="4505"/>
                    <a:pt x="15567" y="4627"/>
                  </a:cubicBezTo>
                  <a:cubicBezTo>
                    <a:pt x="15475" y="4749"/>
                    <a:pt x="15359" y="4809"/>
                    <a:pt x="15221" y="4809"/>
                  </a:cubicBezTo>
                  <a:lnTo>
                    <a:pt x="14231" y="4809"/>
                  </a:lnTo>
                  <a:cubicBezTo>
                    <a:pt x="14108" y="4809"/>
                    <a:pt x="13997" y="4749"/>
                    <a:pt x="13897" y="4627"/>
                  </a:cubicBezTo>
                  <a:cubicBezTo>
                    <a:pt x="13797" y="4505"/>
                    <a:pt x="13748" y="4359"/>
                    <a:pt x="13748" y="4191"/>
                  </a:cubicBezTo>
                  <a:lnTo>
                    <a:pt x="13748" y="3009"/>
                  </a:lnTo>
                  <a:cubicBezTo>
                    <a:pt x="13748" y="2841"/>
                    <a:pt x="13797" y="2696"/>
                    <a:pt x="13897" y="2573"/>
                  </a:cubicBezTo>
                  <a:cubicBezTo>
                    <a:pt x="13997" y="2452"/>
                    <a:pt x="14108" y="2391"/>
                    <a:pt x="14231" y="2391"/>
                  </a:cubicBezTo>
                  <a:lnTo>
                    <a:pt x="15221" y="2391"/>
                  </a:lnTo>
                  <a:lnTo>
                    <a:pt x="15221" y="2391"/>
                  </a:lnTo>
                  <a:lnTo>
                    <a:pt x="15221" y="2391"/>
                  </a:lnTo>
                  <a:close/>
                  <a:moveTo>
                    <a:pt x="18169" y="2391"/>
                  </a:moveTo>
                  <a:cubicBezTo>
                    <a:pt x="18307" y="2391"/>
                    <a:pt x="18422" y="2452"/>
                    <a:pt x="18514" y="2573"/>
                  </a:cubicBezTo>
                  <a:cubicBezTo>
                    <a:pt x="18606" y="2696"/>
                    <a:pt x="18652" y="2841"/>
                    <a:pt x="18652" y="3009"/>
                  </a:cubicBezTo>
                  <a:lnTo>
                    <a:pt x="18652" y="4191"/>
                  </a:lnTo>
                  <a:cubicBezTo>
                    <a:pt x="18652" y="4359"/>
                    <a:pt x="18606" y="4505"/>
                    <a:pt x="18514" y="4627"/>
                  </a:cubicBezTo>
                  <a:cubicBezTo>
                    <a:pt x="18422" y="4749"/>
                    <a:pt x="18307" y="4809"/>
                    <a:pt x="18169" y="4809"/>
                  </a:cubicBezTo>
                  <a:lnTo>
                    <a:pt x="17179" y="4809"/>
                  </a:lnTo>
                  <a:cubicBezTo>
                    <a:pt x="17056" y="4809"/>
                    <a:pt x="16944" y="4749"/>
                    <a:pt x="16845" y="4627"/>
                  </a:cubicBezTo>
                  <a:cubicBezTo>
                    <a:pt x="16745" y="4505"/>
                    <a:pt x="16695" y="4359"/>
                    <a:pt x="16695" y="4191"/>
                  </a:cubicBezTo>
                  <a:lnTo>
                    <a:pt x="16695" y="3009"/>
                  </a:lnTo>
                  <a:cubicBezTo>
                    <a:pt x="16695" y="2841"/>
                    <a:pt x="16745" y="2696"/>
                    <a:pt x="16845" y="2573"/>
                  </a:cubicBezTo>
                  <a:cubicBezTo>
                    <a:pt x="16944" y="2452"/>
                    <a:pt x="17056" y="2391"/>
                    <a:pt x="17179" y="2391"/>
                  </a:cubicBezTo>
                  <a:lnTo>
                    <a:pt x="18169" y="2391"/>
                  </a:lnTo>
                  <a:lnTo>
                    <a:pt x="18169" y="2391"/>
                  </a:lnTo>
                  <a:lnTo>
                    <a:pt x="18169" y="2391"/>
                  </a:lnTo>
                  <a:close/>
                  <a:moveTo>
                    <a:pt x="15221" y="5991"/>
                  </a:moveTo>
                  <a:cubicBezTo>
                    <a:pt x="15359" y="5991"/>
                    <a:pt x="15475" y="6052"/>
                    <a:pt x="15567" y="6173"/>
                  </a:cubicBezTo>
                  <a:cubicBezTo>
                    <a:pt x="15659" y="6296"/>
                    <a:pt x="15705" y="6441"/>
                    <a:pt x="15705" y="6609"/>
                  </a:cubicBezTo>
                  <a:lnTo>
                    <a:pt x="15705" y="7791"/>
                  </a:lnTo>
                  <a:cubicBezTo>
                    <a:pt x="15705" y="7959"/>
                    <a:pt x="15659" y="8105"/>
                    <a:pt x="15567" y="8227"/>
                  </a:cubicBezTo>
                  <a:cubicBezTo>
                    <a:pt x="15475" y="8349"/>
                    <a:pt x="15359" y="8409"/>
                    <a:pt x="15221" y="8409"/>
                  </a:cubicBezTo>
                  <a:lnTo>
                    <a:pt x="14231" y="8409"/>
                  </a:lnTo>
                  <a:cubicBezTo>
                    <a:pt x="14108" y="8409"/>
                    <a:pt x="13997" y="8349"/>
                    <a:pt x="13897" y="8227"/>
                  </a:cubicBezTo>
                  <a:cubicBezTo>
                    <a:pt x="13797" y="8105"/>
                    <a:pt x="13748" y="7959"/>
                    <a:pt x="13748" y="7791"/>
                  </a:cubicBezTo>
                  <a:lnTo>
                    <a:pt x="13748" y="6609"/>
                  </a:lnTo>
                  <a:cubicBezTo>
                    <a:pt x="13748" y="6441"/>
                    <a:pt x="13797" y="6296"/>
                    <a:pt x="13897" y="6173"/>
                  </a:cubicBezTo>
                  <a:cubicBezTo>
                    <a:pt x="13997" y="6052"/>
                    <a:pt x="14108" y="5991"/>
                    <a:pt x="14231" y="5991"/>
                  </a:cubicBezTo>
                  <a:lnTo>
                    <a:pt x="15221" y="5991"/>
                  </a:lnTo>
                  <a:lnTo>
                    <a:pt x="15221" y="5991"/>
                  </a:lnTo>
                  <a:lnTo>
                    <a:pt x="15221" y="5991"/>
                  </a:lnTo>
                  <a:close/>
                  <a:moveTo>
                    <a:pt x="18169" y="5991"/>
                  </a:moveTo>
                  <a:cubicBezTo>
                    <a:pt x="18307" y="5991"/>
                    <a:pt x="18422" y="6052"/>
                    <a:pt x="18514" y="6173"/>
                  </a:cubicBezTo>
                  <a:cubicBezTo>
                    <a:pt x="18606" y="6296"/>
                    <a:pt x="18652" y="6441"/>
                    <a:pt x="18652" y="6609"/>
                  </a:cubicBezTo>
                  <a:lnTo>
                    <a:pt x="18652" y="7791"/>
                  </a:lnTo>
                  <a:cubicBezTo>
                    <a:pt x="18652" y="7959"/>
                    <a:pt x="18606" y="8105"/>
                    <a:pt x="18514" y="8227"/>
                  </a:cubicBezTo>
                  <a:cubicBezTo>
                    <a:pt x="18422" y="8349"/>
                    <a:pt x="18307" y="8409"/>
                    <a:pt x="18169" y="8409"/>
                  </a:cubicBezTo>
                  <a:lnTo>
                    <a:pt x="17179" y="8409"/>
                  </a:lnTo>
                  <a:cubicBezTo>
                    <a:pt x="17056" y="8409"/>
                    <a:pt x="16944" y="8349"/>
                    <a:pt x="16845" y="8227"/>
                  </a:cubicBezTo>
                  <a:cubicBezTo>
                    <a:pt x="16745" y="8105"/>
                    <a:pt x="16695" y="7959"/>
                    <a:pt x="16695" y="7791"/>
                  </a:cubicBezTo>
                  <a:lnTo>
                    <a:pt x="16695" y="6609"/>
                  </a:lnTo>
                  <a:cubicBezTo>
                    <a:pt x="16695" y="6441"/>
                    <a:pt x="16745" y="6296"/>
                    <a:pt x="16845" y="6173"/>
                  </a:cubicBezTo>
                  <a:cubicBezTo>
                    <a:pt x="16944" y="6052"/>
                    <a:pt x="17056" y="5991"/>
                    <a:pt x="17179" y="5991"/>
                  </a:cubicBezTo>
                  <a:lnTo>
                    <a:pt x="18169" y="5991"/>
                  </a:lnTo>
                  <a:lnTo>
                    <a:pt x="18169" y="5991"/>
                  </a:lnTo>
                  <a:lnTo>
                    <a:pt x="18169" y="5991"/>
                  </a:lnTo>
                  <a:close/>
                  <a:moveTo>
                    <a:pt x="18169" y="9591"/>
                  </a:moveTo>
                  <a:cubicBezTo>
                    <a:pt x="18307" y="9591"/>
                    <a:pt x="18422" y="9652"/>
                    <a:pt x="18514" y="9773"/>
                  </a:cubicBezTo>
                  <a:cubicBezTo>
                    <a:pt x="18606" y="9896"/>
                    <a:pt x="18652" y="10041"/>
                    <a:pt x="18652" y="10209"/>
                  </a:cubicBezTo>
                  <a:lnTo>
                    <a:pt x="18652" y="11391"/>
                  </a:lnTo>
                  <a:cubicBezTo>
                    <a:pt x="18652" y="11559"/>
                    <a:pt x="18606" y="11705"/>
                    <a:pt x="18514" y="11827"/>
                  </a:cubicBezTo>
                  <a:cubicBezTo>
                    <a:pt x="18422" y="11949"/>
                    <a:pt x="18307" y="12009"/>
                    <a:pt x="18169" y="12009"/>
                  </a:cubicBezTo>
                  <a:lnTo>
                    <a:pt x="17179" y="12009"/>
                  </a:lnTo>
                  <a:cubicBezTo>
                    <a:pt x="17056" y="12009"/>
                    <a:pt x="16944" y="11949"/>
                    <a:pt x="16845" y="11827"/>
                  </a:cubicBezTo>
                  <a:cubicBezTo>
                    <a:pt x="16745" y="11705"/>
                    <a:pt x="16695" y="11559"/>
                    <a:pt x="16695" y="11391"/>
                  </a:cubicBezTo>
                  <a:lnTo>
                    <a:pt x="16695" y="10209"/>
                  </a:lnTo>
                  <a:cubicBezTo>
                    <a:pt x="16695" y="10041"/>
                    <a:pt x="16745" y="9896"/>
                    <a:pt x="16845" y="9773"/>
                  </a:cubicBezTo>
                  <a:cubicBezTo>
                    <a:pt x="16944" y="9652"/>
                    <a:pt x="17056" y="9591"/>
                    <a:pt x="17179" y="9591"/>
                  </a:cubicBezTo>
                  <a:lnTo>
                    <a:pt x="18169" y="9591"/>
                  </a:lnTo>
                  <a:lnTo>
                    <a:pt x="18169" y="9591"/>
                  </a:lnTo>
                  <a:lnTo>
                    <a:pt x="18169" y="9591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miter lim="400000"/>
            </a:ln>
          </p:spPr>
          <p:txBody>
            <a:bodyPr lIns="27428" tIns="27428" rIns="27428" bIns="27428" anchor="ctr"/>
            <a:lstStyle/>
            <a:p>
              <a:pPr marL="0" marR="0" lvl="0" indent="0" algn="l" defTabSz="3291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b="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lang="pt-BR" sz="1296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sym typeface="Gill Sans"/>
              </a:endParaRPr>
            </a:p>
          </p:txBody>
        </p:sp>
      </p:grpSp>
      <p:grpSp>
        <p:nvGrpSpPr>
          <p:cNvPr id="1546" name="Agrupar 1545">
            <a:extLst>
              <a:ext uri="{FF2B5EF4-FFF2-40B4-BE49-F238E27FC236}">
                <a16:creationId xmlns:a16="http://schemas.microsoft.com/office/drawing/2014/main" id="{4FFB4847-42E4-D94F-8B0B-81BE10DE61D7}"/>
              </a:ext>
            </a:extLst>
          </p:cNvPr>
          <p:cNvGrpSpPr/>
          <p:nvPr/>
        </p:nvGrpSpPr>
        <p:grpSpPr>
          <a:xfrm>
            <a:off x="8287804" y="2975048"/>
            <a:ext cx="848110" cy="577532"/>
            <a:chOff x="1671462" y="2183867"/>
            <a:chExt cx="848111" cy="577531"/>
          </a:xfrm>
        </p:grpSpPr>
        <p:sp>
          <p:nvSpPr>
            <p:cNvPr id="1547" name="Forma">
              <a:extLst>
                <a:ext uri="{FF2B5EF4-FFF2-40B4-BE49-F238E27FC236}">
                  <a16:creationId xmlns:a16="http://schemas.microsoft.com/office/drawing/2014/main" id="{8A82F8F5-E151-C4DD-0BCF-61B7432CE26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00980" y="2183867"/>
              <a:ext cx="189075" cy="252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12285" y="0"/>
                    <a:pt x="13680" y="203"/>
                    <a:pt x="14985" y="608"/>
                  </a:cubicBezTo>
                  <a:cubicBezTo>
                    <a:pt x="16312" y="1030"/>
                    <a:pt x="17460" y="1604"/>
                    <a:pt x="18428" y="2330"/>
                  </a:cubicBezTo>
                  <a:cubicBezTo>
                    <a:pt x="19395" y="3056"/>
                    <a:pt x="20171" y="3900"/>
                    <a:pt x="20756" y="4862"/>
                  </a:cubicBezTo>
                  <a:cubicBezTo>
                    <a:pt x="21318" y="5841"/>
                    <a:pt x="21600" y="6879"/>
                    <a:pt x="21600" y="7977"/>
                  </a:cubicBezTo>
                  <a:cubicBezTo>
                    <a:pt x="21600" y="9074"/>
                    <a:pt x="21037" y="10399"/>
                    <a:pt x="19913" y="11952"/>
                  </a:cubicBezTo>
                  <a:cubicBezTo>
                    <a:pt x="18787" y="13522"/>
                    <a:pt x="17550" y="15020"/>
                    <a:pt x="16200" y="16447"/>
                  </a:cubicBezTo>
                  <a:cubicBezTo>
                    <a:pt x="14850" y="17874"/>
                    <a:pt x="13612" y="19085"/>
                    <a:pt x="12488" y="20081"/>
                  </a:cubicBezTo>
                  <a:lnTo>
                    <a:pt x="10800" y="21600"/>
                  </a:lnTo>
                  <a:lnTo>
                    <a:pt x="9113" y="20081"/>
                  </a:lnTo>
                  <a:cubicBezTo>
                    <a:pt x="7987" y="19085"/>
                    <a:pt x="6750" y="17874"/>
                    <a:pt x="5400" y="16447"/>
                  </a:cubicBezTo>
                  <a:cubicBezTo>
                    <a:pt x="4050" y="15020"/>
                    <a:pt x="2812" y="13522"/>
                    <a:pt x="1687" y="11952"/>
                  </a:cubicBezTo>
                  <a:cubicBezTo>
                    <a:pt x="562" y="10399"/>
                    <a:pt x="0" y="9074"/>
                    <a:pt x="0" y="7977"/>
                  </a:cubicBezTo>
                  <a:cubicBezTo>
                    <a:pt x="0" y="6879"/>
                    <a:pt x="281" y="5841"/>
                    <a:pt x="844" y="4862"/>
                  </a:cubicBezTo>
                  <a:cubicBezTo>
                    <a:pt x="1406" y="3900"/>
                    <a:pt x="2177" y="3056"/>
                    <a:pt x="3156" y="2330"/>
                  </a:cubicBezTo>
                  <a:cubicBezTo>
                    <a:pt x="4134" y="1604"/>
                    <a:pt x="5276" y="1030"/>
                    <a:pt x="6581" y="608"/>
                  </a:cubicBezTo>
                  <a:cubicBezTo>
                    <a:pt x="7886" y="203"/>
                    <a:pt x="9292" y="0"/>
                    <a:pt x="10800" y="0"/>
                  </a:cubicBezTo>
                  <a:lnTo>
                    <a:pt x="10800" y="0"/>
                  </a:lnTo>
                  <a:lnTo>
                    <a:pt x="10800" y="0"/>
                  </a:lnTo>
                  <a:lnTo>
                    <a:pt x="10800" y="0"/>
                  </a:lnTo>
                  <a:lnTo>
                    <a:pt x="10800" y="0"/>
                  </a:lnTo>
                  <a:close/>
                  <a:moveTo>
                    <a:pt x="15019" y="15801"/>
                  </a:moveTo>
                  <a:cubicBezTo>
                    <a:pt x="15783" y="14991"/>
                    <a:pt x="16470" y="14223"/>
                    <a:pt x="17078" y="13497"/>
                  </a:cubicBezTo>
                  <a:cubicBezTo>
                    <a:pt x="17685" y="12771"/>
                    <a:pt x="18202" y="12096"/>
                    <a:pt x="18630" y="11471"/>
                  </a:cubicBezTo>
                  <a:cubicBezTo>
                    <a:pt x="19260" y="10543"/>
                    <a:pt x="19670" y="9800"/>
                    <a:pt x="19862" y="9243"/>
                  </a:cubicBezTo>
                  <a:cubicBezTo>
                    <a:pt x="20053" y="8686"/>
                    <a:pt x="20149" y="8264"/>
                    <a:pt x="20149" y="7977"/>
                  </a:cubicBezTo>
                  <a:cubicBezTo>
                    <a:pt x="20149" y="7504"/>
                    <a:pt x="20087" y="7044"/>
                    <a:pt x="19963" y="6596"/>
                  </a:cubicBezTo>
                  <a:cubicBezTo>
                    <a:pt x="19839" y="6149"/>
                    <a:pt x="19654" y="5714"/>
                    <a:pt x="19406" y="5292"/>
                  </a:cubicBezTo>
                  <a:cubicBezTo>
                    <a:pt x="19181" y="4887"/>
                    <a:pt x="18900" y="4499"/>
                    <a:pt x="18563" y="4128"/>
                  </a:cubicBezTo>
                  <a:cubicBezTo>
                    <a:pt x="18225" y="3756"/>
                    <a:pt x="17842" y="3410"/>
                    <a:pt x="17415" y="3089"/>
                  </a:cubicBezTo>
                  <a:cubicBezTo>
                    <a:pt x="16987" y="2785"/>
                    <a:pt x="16526" y="2507"/>
                    <a:pt x="16031" y="2254"/>
                  </a:cubicBezTo>
                  <a:cubicBezTo>
                    <a:pt x="15536" y="2000"/>
                    <a:pt x="15007" y="1789"/>
                    <a:pt x="14445" y="1621"/>
                  </a:cubicBezTo>
                  <a:cubicBezTo>
                    <a:pt x="13860" y="1435"/>
                    <a:pt x="13264" y="1296"/>
                    <a:pt x="12656" y="1203"/>
                  </a:cubicBezTo>
                  <a:cubicBezTo>
                    <a:pt x="12049" y="1110"/>
                    <a:pt x="11430" y="1064"/>
                    <a:pt x="10800" y="1064"/>
                  </a:cubicBezTo>
                  <a:cubicBezTo>
                    <a:pt x="10170" y="1064"/>
                    <a:pt x="9545" y="1110"/>
                    <a:pt x="8927" y="1203"/>
                  </a:cubicBezTo>
                  <a:cubicBezTo>
                    <a:pt x="8308" y="1296"/>
                    <a:pt x="7717" y="1435"/>
                    <a:pt x="7155" y="1621"/>
                  </a:cubicBezTo>
                  <a:cubicBezTo>
                    <a:pt x="6592" y="1789"/>
                    <a:pt x="6058" y="2000"/>
                    <a:pt x="5552" y="2254"/>
                  </a:cubicBezTo>
                  <a:cubicBezTo>
                    <a:pt x="5046" y="2507"/>
                    <a:pt x="4578" y="2785"/>
                    <a:pt x="4151" y="3089"/>
                  </a:cubicBezTo>
                  <a:cubicBezTo>
                    <a:pt x="3724" y="3410"/>
                    <a:pt x="3341" y="3756"/>
                    <a:pt x="3004" y="4128"/>
                  </a:cubicBezTo>
                  <a:cubicBezTo>
                    <a:pt x="2666" y="4499"/>
                    <a:pt x="2385" y="4887"/>
                    <a:pt x="2160" y="5292"/>
                  </a:cubicBezTo>
                  <a:cubicBezTo>
                    <a:pt x="1912" y="5714"/>
                    <a:pt x="1727" y="6149"/>
                    <a:pt x="1603" y="6596"/>
                  </a:cubicBezTo>
                  <a:cubicBezTo>
                    <a:pt x="1479" y="7044"/>
                    <a:pt x="1417" y="7504"/>
                    <a:pt x="1417" y="7977"/>
                  </a:cubicBezTo>
                  <a:cubicBezTo>
                    <a:pt x="1417" y="8264"/>
                    <a:pt x="1519" y="8686"/>
                    <a:pt x="1721" y="9243"/>
                  </a:cubicBezTo>
                  <a:cubicBezTo>
                    <a:pt x="1924" y="9800"/>
                    <a:pt x="2340" y="10543"/>
                    <a:pt x="2970" y="11471"/>
                  </a:cubicBezTo>
                  <a:cubicBezTo>
                    <a:pt x="3397" y="12096"/>
                    <a:pt x="3915" y="12775"/>
                    <a:pt x="4523" y="13509"/>
                  </a:cubicBezTo>
                  <a:cubicBezTo>
                    <a:pt x="5130" y="14244"/>
                    <a:pt x="5805" y="15016"/>
                    <a:pt x="6547" y="15826"/>
                  </a:cubicBezTo>
                  <a:cubicBezTo>
                    <a:pt x="7358" y="16671"/>
                    <a:pt x="8139" y="17451"/>
                    <a:pt x="8893" y="18169"/>
                  </a:cubicBezTo>
                  <a:cubicBezTo>
                    <a:pt x="9647" y="18887"/>
                    <a:pt x="10282" y="19473"/>
                    <a:pt x="10800" y="19929"/>
                  </a:cubicBezTo>
                  <a:cubicBezTo>
                    <a:pt x="11295" y="19473"/>
                    <a:pt x="11925" y="18882"/>
                    <a:pt x="12690" y="18156"/>
                  </a:cubicBezTo>
                  <a:cubicBezTo>
                    <a:pt x="13455" y="17431"/>
                    <a:pt x="14231" y="16646"/>
                    <a:pt x="15019" y="15801"/>
                  </a:cubicBezTo>
                  <a:lnTo>
                    <a:pt x="15019" y="15801"/>
                  </a:lnTo>
                  <a:lnTo>
                    <a:pt x="15019" y="15801"/>
                  </a:lnTo>
                  <a:close/>
                  <a:moveTo>
                    <a:pt x="10800" y="3241"/>
                  </a:moveTo>
                  <a:cubicBezTo>
                    <a:pt x="12195" y="3241"/>
                    <a:pt x="13382" y="3608"/>
                    <a:pt x="14361" y="4343"/>
                  </a:cubicBezTo>
                  <a:cubicBezTo>
                    <a:pt x="15339" y="5077"/>
                    <a:pt x="15829" y="5968"/>
                    <a:pt x="15829" y="7014"/>
                  </a:cubicBezTo>
                  <a:cubicBezTo>
                    <a:pt x="15829" y="8061"/>
                    <a:pt x="15339" y="8951"/>
                    <a:pt x="14361" y="9686"/>
                  </a:cubicBezTo>
                  <a:cubicBezTo>
                    <a:pt x="13382" y="10420"/>
                    <a:pt x="12195" y="10787"/>
                    <a:pt x="10800" y="10787"/>
                  </a:cubicBezTo>
                  <a:cubicBezTo>
                    <a:pt x="9405" y="10787"/>
                    <a:pt x="8212" y="10420"/>
                    <a:pt x="7223" y="9686"/>
                  </a:cubicBezTo>
                  <a:cubicBezTo>
                    <a:pt x="6232" y="8951"/>
                    <a:pt x="5738" y="8061"/>
                    <a:pt x="5738" y="7014"/>
                  </a:cubicBezTo>
                  <a:cubicBezTo>
                    <a:pt x="5738" y="5968"/>
                    <a:pt x="6232" y="5077"/>
                    <a:pt x="7223" y="4343"/>
                  </a:cubicBezTo>
                  <a:cubicBezTo>
                    <a:pt x="8212" y="3608"/>
                    <a:pt x="9405" y="3241"/>
                    <a:pt x="10800" y="3241"/>
                  </a:cubicBezTo>
                  <a:lnTo>
                    <a:pt x="10800" y="3241"/>
                  </a:lnTo>
                  <a:lnTo>
                    <a:pt x="10800" y="3241"/>
                  </a:lnTo>
                  <a:close/>
                  <a:moveTo>
                    <a:pt x="10800" y="9724"/>
                  </a:moveTo>
                  <a:cubicBezTo>
                    <a:pt x="11790" y="9724"/>
                    <a:pt x="12634" y="9458"/>
                    <a:pt x="13331" y="8926"/>
                  </a:cubicBezTo>
                  <a:cubicBezTo>
                    <a:pt x="14028" y="8394"/>
                    <a:pt x="14378" y="7757"/>
                    <a:pt x="14378" y="7014"/>
                  </a:cubicBezTo>
                  <a:cubicBezTo>
                    <a:pt x="14378" y="6272"/>
                    <a:pt x="14028" y="5634"/>
                    <a:pt x="13331" y="5102"/>
                  </a:cubicBezTo>
                  <a:cubicBezTo>
                    <a:pt x="12634" y="4571"/>
                    <a:pt x="11790" y="4305"/>
                    <a:pt x="10800" y="4305"/>
                  </a:cubicBezTo>
                  <a:cubicBezTo>
                    <a:pt x="9810" y="4305"/>
                    <a:pt x="8961" y="4571"/>
                    <a:pt x="8252" y="5102"/>
                  </a:cubicBezTo>
                  <a:cubicBezTo>
                    <a:pt x="7543" y="5634"/>
                    <a:pt x="7189" y="6272"/>
                    <a:pt x="7189" y="7014"/>
                  </a:cubicBezTo>
                  <a:cubicBezTo>
                    <a:pt x="7189" y="7757"/>
                    <a:pt x="7543" y="8394"/>
                    <a:pt x="8252" y="8926"/>
                  </a:cubicBezTo>
                  <a:cubicBezTo>
                    <a:pt x="8961" y="9458"/>
                    <a:pt x="9810" y="9724"/>
                    <a:pt x="10800" y="9724"/>
                  </a:cubicBezTo>
                  <a:lnTo>
                    <a:pt x="10800" y="9724"/>
                  </a:lnTo>
                  <a:lnTo>
                    <a:pt x="10800" y="9724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miter lim="400000"/>
            </a:ln>
          </p:spPr>
          <p:txBody>
            <a:bodyPr lIns="27428" tIns="27428" rIns="27428" bIns="27428" anchor="ctr"/>
            <a:lstStyle/>
            <a:p>
              <a:pPr marL="0" marR="0" lvl="0" indent="0" algn="ctr" defTabSz="3291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b="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1296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sym typeface="Gill Sans"/>
              </a:endParaRPr>
            </a:p>
          </p:txBody>
        </p:sp>
        <p:sp>
          <p:nvSpPr>
            <p:cNvPr id="1548" name="CaixaDeTexto 1547">
              <a:extLst>
                <a:ext uri="{FF2B5EF4-FFF2-40B4-BE49-F238E27FC236}">
                  <a16:creationId xmlns:a16="http://schemas.microsoft.com/office/drawing/2014/main" id="{C46BC7D9-B49C-85C3-91E3-6FF84B4C0EBB}"/>
                </a:ext>
              </a:extLst>
            </p:cNvPr>
            <p:cNvSpPr txBox="1"/>
            <p:nvPr/>
          </p:nvSpPr>
          <p:spPr>
            <a:xfrm>
              <a:off x="1671462" y="2392066"/>
              <a:ext cx="84811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3165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Agências/</a:t>
              </a:r>
            </a:p>
            <a:p>
              <a:pPr marL="0" marR="0" lvl="0" indent="0" algn="ctr" defTabSz="13165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Plataformas</a:t>
              </a:r>
            </a:p>
          </p:txBody>
        </p:sp>
      </p:grpSp>
      <p:cxnSp>
        <p:nvCxnSpPr>
          <p:cNvPr id="1553" name="Conector de Seta Reta 1552">
            <a:extLst>
              <a:ext uri="{FF2B5EF4-FFF2-40B4-BE49-F238E27FC236}">
                <a16:creationId xmlns:a16="http://schemas.microsoft.com/office/drawing/2014/main" id="{1D9929B3-AA34-0F5C-E7DA-F7B72D3413A3}"/>
              </a:ext>
            </a:extLst>
          </p:cNvPr>
          <p:cNvCxnSpPr/>
          <p:nvPr/>
        </p:nvCxnSpPr>
        <p:spPr>
          <a:xfrm>
            <a:off x="7983449" y="3745846"/>
            <a:ext cx="507910" cy="0"/>
          </a:xfrm>
          <a:prstGeom prst="straightConnector1">
            <a:avLst/>
          </a:prstGeom>
          <a:ln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4" name="Conector de Seta Reta 1553">
            <a:extLst>
              <a:ext uri="{FF2B5EF4-FFF2-40B4-BE49-F238E27FC236}">
                <a16:creationId xmlns:a16="http://schemas.microsoft.com/office/drawing/2014/main" id="{B3B39928-4D77-DE62-9C8A-E9594A8A8474}"/>
              </a:ext>
            </a:extLst>
          </p:cNvPr>
          <p:cNvCxnSpPr/>
          <p:nvPr/>
        </p:nvCxnSpPr>
        <p:spPr>
          <a:xfrm>
            <a:off x="7987944" y="3162189"/>
            <a:ext cx="507910" cy="0"/>
          </a:xfrm>
          <a:prstGeom prst="straightConnector1">
            <a:avLst/>
          </a:prstGeom>
          <a:ln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5" name="Conector de Seta Reta 1554">
            <a:extLst>
              <a:ext uri="{FF2B5EF4-FFF2-40B4-BE49-F238E27FC236}">
                <a16:creationId xmlns:a16="http://schemas.microsoft.com/office/drawing/2014/main" id="{00DC8D27-9E16-9860-6791-D196B6D2B046}"/>
              </a:ext>
            </a:extLst>
          </p:cNvPr>
          <p:cNvCxnSpPr/>
          <p:nvPr/>
        </p:nvCxnSpPr>
        <p:spPr>
          <a:xfrm>
            <a:off x="7964549" y="2632935"/>
            <a:ext cx="507910" cy="0"/>
          </a:xfrm>
          <a:prstGeom prst="straightConnector1">
            <a:avLst/>
          </a:prstGeom>
          <a:ln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6" name="Conector de Seta Reta 1555">
            <a:extLst>
              <a:ext uri="{FF2B5EF4-FFF2-40B4-BE49-F238E27FC236}">
                <a16:creationId xmlns:a16="http://schemas.microsoft.com/office/drawing/2014/main" id="{878B0D1C-9C97-6B1B-FF60-93F98EB694E4}"/>
              </a:ext>
            </a:extLst>
          </p:cNvPr>
          <p:cNvCxnSpPr/>
          <p:nvPr/>
        </p:nvCxnSpPr>
        <p:spPr>
          <a:xfrm>
            <a:off x="7964549" y="2061793"/>
            <a:ext cx="507910" cy="0"/>
          </a:xfrm>
          <a:prstGeom prst="straightConnector1">
            <a:avLst/>
          </a:prstGeom>
          <a:ln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8" name="Conector reto 1557">
            <a:extLst>
              <a:ext uri="{FF2B5EF4-FFF2-40B4-BE49-F238E27FC236}">
                <a16:creationId xmlns:a16="http://schemas.microsoft.com/office/drawing/2014/main" id="{DE72F06D-6A87-42D1-55C6-127FCEF7F3AD}"/>
              </a:ext>
            </a:extLst>
          </p:cNvPr>
          <p:cNvCxnSpPr>
            <a:cxnSpLocks/>
          </p:cNvCxnSpPr>
          <p:nvPr/>
        </p:nvCxnSpPr>
        <p:spPr>
          <a:xfrm>
            <a:off x="8218504" y="2061793"/>
            <a:ext cx="0" cy="1667231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Agrupar 1">
            <a:extLst>
              <a:ext uri="{FF2B5EF4-FFF2-40B4-BE49-F238E27FC236}">
                <a16:creationId xmlns:a16="http://schemas.microsoft.com/office/drawing/2014/main" id="{E7A92C31-63D0-E4D7-9D3D-6F64D532009C}"/>
              </a:ext>
            </a:extLst>
          </p:cNvPr>
          <p:cNvGrpSpPr>
            <a:grpSpLocks noChangeAspect="1"/>
          </p:cNvGrpSpPr>
          <p:nvPr/>
        </p:nvGrpSpPr>
        <p:grpSpPr>
          <a:xfrm>
            <a:off x="9681566" y="3542533"/>
            <a:ext cx="230087" cy="252000"/>
            <a:chOff x="3602717" y="2013405"/>
            <a:chExt cx="400050" cy="438150"/>
          </a:xfrm>
        </p:grpSpPr>
        <p:sp>
          <p:nvSpPr>
            <p:cNvPr id="4" name="Forma Livre: Forma 3">
              <a:extLst>
                <a:ext uri="{FF2B5EF4-FFF2-40B4-BE49-F238E27FC236}">
                  <a16:creationId xmlns:a16="http://schemas.microsoft.com/office/drawing/2014/main" id="{004C979F-BD06-3616-6D3B-EF86448B480F}"/>
                </a:ext>
              </a:extLst>
            </p:cNvPr>
            <p:cNvSpPr/>
            <p:nvPr/>
          </p:nvSpPr>
          <p:spPr>
            <a:xfrm>
              <a:off x="3726542" y="2242005"/>
              <a:ext cx="276225" cy="9525"/>
            </a:xfrm>
            <a:custGeom>
              <a:avLst/>
              <a:gdLst>
                <a:gd name="connsiteX0" fmla="*/ 0 w 276225"/>
                <a:gd name="connsiteY0" fmla="*/ 0 h 0"/>
                <a:gd name="connsiteX1" fmla="*/ 276225 w 27622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6225">
                  <a:moveTo>
                    <a:pt x="0" y="0"/>
                  </a:moveTo>
                  <a:lnTo>
                    <a:pt x="276225" y="0"/>
                  </a:lnTo>
                </a:path>
              </a:pathLst>
            </a:custGeom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" name="Forma Livre: Forma 4">
              <a:extLst>
                <a:ext uri="{FF2B5EF4-FFF2-40B4-BE49-F238E27FC236}">
                  <a16:creationId xmlns:a16="http://schemas.microsoft.com/office/drawing/2014/main" id="{A0A4C59D-1861-3BB7-56D2-7821D0B5AFAD}"/>
                </a:ext>
              </a:extLst>
            </p:cNvPr>
            <p:cNvSpPr/>
            <p:nvPr/>
          </p:nvSpPr>
          <p:spPr>
            <a:xfrm>
              <a:off x="3850367" y="2213430"/>
              <a:ext cx="38100" cy="28575"/>
            </a:xfrm>
            <a:custGeom>
              <a:avLst/>
              <a:gdLst>
                <a:gd name="connsiteX0" fmla="*/ 0 w 38100"/>
                <a:gd name="connsiteY0" fmla="*/ 0 h 28575"/>
                <a:gd name="connsiteX1" fmla="*/ 38100 w 38100"/>
                <a:gd name="connsiteY1" fmla="*/ 0 h 28575"/>
                <a:gd name="connsiteX2" fmla="*/ 38100 w 38100"/>
                <a:gd name="connsiteY2" fmla="*/ 28575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100" h="28575">
                  <a:moveTo>
                    <a:pt x="0" y="0"/>
                  </a:moveTo>
                  <a:lnTo>
                    <a:pt x="38100" y="0"/>
                  </a:lnTo>
                  <a:lnTo>
                    <a:pt x="38100" y="28575"/>
                  </a:lnTo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Forma Livre: Forma 6">
              <a:extLst>
                <a:ext uri="{FF2B5EF4-FFF2-40B4-BE49-F238E27FC236}">
                  <a16:creationId xmlns:a16="http://schemas.microsoft.com/office/drawing/2014/main" id="{BD1DD92F-9942-C0BB-71D0-BD03BAA45166}"/>
                </a:ext>
              </a:extLst>
            </p:cNvPr>
            <p:cNvSpPr/>
            <p:nvPr/>
          </p:nvSpPr>
          <p:spPr>
            <a:xfrm>
              <a:off x="3926567" y="2099130"/>
              <a:ext cx="57150" cy="142875"/>
            </a:xfrm>
            <a:custGeom>
              <a:avLst/>
              <a:gdLst>
                <a:gd name="connsiteX0" fmla="*/ 0 w 57150"/>
                <a:gd name="connsiteY0" fmla="*/ 142875 h 142875"/>
                <a:gd name="connsiteX1" fmla="*/ 0 w 57150"/>
                <a:gd name="connsiteY1" fmla="*/ 114300 h 142875"/>
                <a:gd name="connsiteX2" fmla="*/ 38100 w 57150"/>
                <a:gd name="connsiteY2" fmla="*/ 114300 h 142875"/>
                <a:gd name="connsiteX3" fmla="*/ 57150 w 57150"/>
                <a:gd name="connsiteY3" fmla="*/ 114300 h 142875"/>
                <a:gd name="connsiteX4" fmla="*/ 57150 w 57150"/>
                <a:gd name="connsiteY4" fmla="*/ 0 h 142875"/>
                <a:gd name="connsiteX5" fmla="*/ 9525 w 57150"/>
                <a:gd name="connsiteY5" fmla="*/ 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150" h="142875">
                  <a:moveTo>
                    <a:pt x="0" y="142875"/>
                  </a:moveTo>
                  <a:lnTo>
                    <a:pt x="0" y="114300"/>
                  </a:lnTo>
                  <a:lnTo>
                    <a:pt x="38100" y="114300"/>
                  </a:lnTo>
                  <a:lnTo>
                    <a:pt x="57150" y="114300"/>
                  </a:lnTo>
                  <a:lnTo>
                    <a:pt x="57150" y="0"/>
                  </a:lnTo>
                  <a:lnTo>
                    <a:pt x="9525" y="0"/>
                  </a:lnTo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Forma Livre: Forma 7">
              <a:extLst>
                <a:ext uri="{FF2B5EF4-FFF2-40B4-BE49-F238E27FC236}">
                  <a16:creationId xmlns:a16="http://schemas.microsoft.com/office/drawing/2014/main" id="{B616A578-20B0-7B1F-2672-3FD18FB95A36}"/>
                </a:ext>
              </a:extLst>
            </p:cNvPr>
            <p:cNvSpPr/>
            <p:nvPr/>
          </p:nvSpPr>
          <p:spPr>
            <a:xfrm>
              <a:off x="3897992" y="2013405"/>
              <a:ext cx="47625" cy="161925"/>
            </a:xfrm>
            <a:custGeom>
              <a:avLst/>
              <a:gdLst>
                <a:gd name="connsiteX0" fmla="*/ 28575 w 47625"/>
                <a:gd name="connsiteY0" fmla="*/ 161925 h 161925"/>
                <a:gd name="connsiteX1" fmla="*/ 0 w 47625"/>
                <a:gd name="connsiteY1" fmla="*/ 161925 h 161925"/>
                <a:gd name="connsiteX2" fmla="*/ 0 w 47625"/>
                <a:gd name="connsiteY2" fmla="*/ 0 h 161925"/>
                <a:gd name="connsiteX3" fmla="*/ 28575 w 47625"/>
                <a:gd name="connsiteY3" fmla="*/ 0 h 161925"/>
                <a:gd name="connsiteX4" fmla="*/ 47625 w 47625"/>
                <a:gd name="connsiteY4" fmla="*/ 19050 h 161925"/>
                <a:gd name="connsiteX5" fmla="*/ 47625 w 47625"/>
                <a:gd name="connsiteY5" fmla="*/ 142875 h 161925"/>
                <a:gd name="connsiteX6" fmla="*/ 28575 w 47625"/>
                <a:gd name="connsiteY6" fmla="*/ 161925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625" h="161925">
                  <a:moveTo>
                    <a:pt x="28575" y="161925"/>
                  </a:moveTo>
                  <a:lnTo>
                    <a:pt x="0" y="161925"/>
                  </a:lnTo>
                  <a:lnTo>
                    <a:pt x="0" y="0"/>
                  </a:lnTo>
                  <a:lnTo>
                    <a:pt x="28575" y="0"/>
                  </a:lnTo>
                  <a:cubicBezTo>
                    <a:pt x="39053" y="0"/>
                    <a:pt x="47625" y="8573"/>
                    <a:pt x="47625" y="19050"/>
                  </a:cubicBezTo>
                  <a:lnTo>
                    <a:pt x="47625" y="142875"/>
                  </a:lnTo>
                  <a:cubicBezTo>
                    <a:pt x="47625" y="153352"/>
                    <a:pt x="39053" y="161925"/>
                    <a:pt x="28575" y="161925"/>
                  </a:cubicBezTo>
                  <a:close/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orma Livre: Forma 8">
              <a:extLst>
                <a:ext uri="{FF2B5EF4-FFF2-40B4-BE49-F238E27FC236}">
                  <a16:creationId xmlns:a16="http://schemas.microsoft.com/office/drawing/2014/main" id="{2BD1DA51-38CD-2010-A171-85161474E558}"/>
                </a:ext>
              </a:extLst>
            </p:cNvPr>
            <p:cNvSpPr/>
            <p:nvPr/>
          </p:nvSpPr>
          <p:spPr>
            <a:xfrm>
              <a:off x="3688442" y="2384880"/>
              <a:ext cx="9525" cy="47625"/>
            </a:xfrm>
            <a:custGeom>
              <a:avLst/>
              <a:gdLst>
                <a:gd name="connsiteX0" fmla="*/ 0 w 0"/>
                <a:gd name="connsiteY0" fmla="*/ 0 h 47625"/>
                <a:gd name="connsiteX1" fmla="*/ 0 w 0"/>
                <a:gd name="connsiteY1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47625">
                  <a:moveTo>
                    <a:pt x="0" y="0"/>
                  </a:moveTo>
                  <a:lnTo>
                    <a:pt x="0" y="47625"/>
                  </a:lnTo>
                </a:path>
              </a:pathLst>
            </a:custGeom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orma Livre: Forma 9">
              <a:extLst>
                <a:ext uri="{FF2B5EF4-FFF2-40B4-BE49-F238E27FC236}">
                  <a16:creationId xmlns:a16="http://schemas.microsoft.com/office/drawing/2014/main" id="{61D47F4A-5A36-446A-1E1F-C061B0235E3D}"/>
                </a:ext>
              </a:extLst>
            </p:cNvPr>
            <p:cNvSpPr/>
            <p:nvPr/>
          </p:nvSpPr>
          <p:spPr>
            <a:xfrm>
              <a:off x="3640817" y="2146755"/>
              <a:ext cx="190500" cy="304800"/>
            </a:xfrm>
            <a:custGeom>
              <a:avLst/>
              <a:gdLst>
                <a:gd name="connsiteX0" fmla="*/ 180975 w 190500"/>
                <a:gd name="connsiteY0" fmla="*/ 304800 h 304800"/>
                <a:gd name="connsiteX1" fmla="*/ 123825 w 190500"/>
                <a:gd name="connsiteY1" fmla="*/ 200025 h 304800"/>
                <a:gd name="connsiteX2" fmla="*/ 57150 w 190500"/>
                <a:gd name="connsiteY2" fmla="*/ 200025 h 304800"/>
                <a:gd name="connsiteX3" fmla="*/ 0 w 190500"/>
                <a:gd name="connsiteY3" fmla="*/ 142875 h 304800"/>
                <a:gd name="connsiteX4" fmla="*/ 0 w 190500"/>
                <a:gd name="connsiteY4" fmla="*/ 38100 h 304800"/>
                <a:gd name="connsiteX5" fmla="*/ 38100 w 190500"/>
                <a:gd name="connsiteY5" fmla="*/ 0 h 304800"/>
                <a:gd name="connsiteX6" fmla="*/ 76200 w 190500"/>
                <a:gd name="connsiteY6" fmla="*/ 0 h 304800"/>
                <a:gd name="connsiteX7" fmla="*/ 142875 w 190500"/>
                <a:gd name="connsiteY7" fmla="*/ 47625 h 304800"/>
                <a:gd name="connsiteX8" fmla="*/ 190500 w 190500"/>
                <a:gd name="connsiteY8" fmla="*/ 47625 h 304800"/>
                <a:gd name="connsiteX9" fmla="*/ 152400 w 190500"/>
                <a:gd name="connsiteY9" fmla="*/ 95250 h 304800"/>
                <a:gd name="connsiteX10" fmla="*/ 114300 w 190500"/>
                <a:gd name="connsiteY10" fmla="*/ 95250 h 304800"/>
                <a:gd name="connsiteX11" fmla="*/ 57150 w 190500"/>
                <a:gd name="connsiteY11" fmla="*/ 5715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0500" h="304800">
                  <a:moveTo>
                    <a:pt x="180975" y="304800"/>
                  </a:moveTo>
                  <a:lnTo>
                    <a:pt x="123825" y="200025"/>
                  </a:lnTo>
                  <a:lnTo>
                    <a:pt x="57150" y="200025"/>
                  </a:lnTo>
                  <a:cubicBezTo>
                    <a:pt x="25622" y="200025"/>
                    <a:pt x="0" y="174403"/>
                    <a:pt x="0" y="142875"/>
                  </a:cubicBezTo>
                  <a:lnTo>
                    <a:pt x="0" y="38100"/>
                  </a:lnTo>
                  <a:cubicBezTo>
                    <a:pt x="0" y="17050"/>
                    <a:pt x="17050" y="0"/>
                    <a:pt x="38100" y="0"/>
                  </a:cubicBezTo>
                  <a:lnTo>
                    <a:pt x="76200" y="0"/>
                  </a:lnTo>
                  <a:lnTo>
                    <a:pt x="142875" y="47625"/>
                  </a:lnTo>
                  <a:lnTo>
                    <a:pt x="190500" y="47625"/>
                  </a:lnTo>
                  <a:cubicBezTo>
                    <a:pt x="190500" y="47625"/>
                    <a:pt x="195929" y="95250"/>
                    <a:pt x="152400" y="95250"/>
                  </a:cubicBezTo>
                  <a:cubicBezTo>
                    <a:pt x="126968" y="95250"/>
                    <a:pt x="114300" y="95250"/>
                    <a:pt x="114300" y="95250"/>
                  </a:cubicBezTo>
                  <a:lnTo>
                    <a:pt x="57150" y="57150"/>
                  </a:lnTo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Forma Livre: Forma 10">
              <a:extLst>
                <a:ext uri="{FF2B5EF4-FFF2-40B4-BE49-F238E27FC236}">
                  <a16:creationId xmlns:a16="http://schemas.microsoft.com/office/drawing/2014/main" id="{D2389A55-0BCD-AABF-0C36-9A0136A21D70}"/>
                </a:ext>
              </a:extLst>
            </p:cNvPr>
            <p:cNvSpPr/>
            <p:nvPr/>
          </p:nvSpPr>
          <p:spPr>
            <a:xfrm>
              <a:off x="3726542" y="2222955"/>
              <a:ext cx="133350" cy="228600"/>
            </a:xfrm>
            <a:custGeom>
              <a:avLst/>
              <a:gdLst>
                <a:gd name="connsiteX0" fmla="*/ 0 w 133350"/>
                <a:gd name="connsiteY0" fmla="*/ 0 h 228600"/>
                <a:gd name="connsiteX1" fmla="*/ 0 w 133350"/>
                <a:gd name="connsiteY1" fmla="*/ 57150 h 228600"/>
                <a:gd name="connsiteX2" fmla="*/ 47625 w 133350"/>
                <a:gd name="connsiteY2" fmla="*/ 57150 h 228600"/>
                <a:gd name="connsiteX3" fmla="*/ 92583 w 133350"/>
                <a:gd name="connsiteY3" fmla="*/ 89059 h 228600"/>
                <a:gd name="connsiteX4" fmla="*/ 138589 w 133350"/>
                <a:gd name="connsiteY4" fmla="*/ 228600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350" h="228600">
                  <a:moveTo>
                    <a:pt x="0" y="0"/>
                  </a:moveTo>
                  <a:lnTo>
                    <a:pt x="0" y="57150"/>
                  </a:lnTo>
                  <a:lnTo>
                    <a:pt x="47625" y="57150"/>
                  </a:lnTo>
                  <a:cubicBezTo>
                    <a:pt x="67818" y="57150"/>
                    <a:pt x="85915" y="69913"/>
                    <a:pt x="92583" y="89059"/>
                  </a:cubicBezTo>
                  <a:lnTo>
                    <a:pt x="138589" y="228600"/>
                  </a:lnTo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orma Livre: Forma 11">
              <a:extLst>
                <a:ext uri="{FF2B5EF4-FFF2-40B4-BE49-F238E27FC236}">
                  <a16:creationId xmlns:a16="http://schemas.microsoft.com/office/drawing/2014/main" id="{C344D344-6054-2278-F016-FB8CEB492091}"/>
                </a:ext>
              </a:extLst>
            </p:cNvPr>
            <p:cNvSpPr/>
            <p:nvPr/>
          </p:nvSpPr>
          <p:spPr>
            <a:xfrm>
              <a:off x="3602717" y="2165805"/>
              <a:ext cx="142875" cy="219075"/>
            </a:xfrm>
            <a:custGeom>
              <a:avLst/>
              <a:gdLst>
                <a:gd name="connsiteX0" fmla="*/ 0 w 142875"/>
                <a:gd name="connsiteY0" fmla="*/ 0 h 219075"/>
                <a:gd name="connsiteX1" fmla="*/ 0 w 142875"/>
                <a:gd name="connsiteY1" fmla="*/ 142875 h 219075"/>
                <a:gd name="connsiteX2" fmla="*/ 76200 w 142875"/>
                <a:gd name="connsiteY2" fmla="*/ 219075 h 219075"/>
                <a:gd name="connsiteX3" fmla="*/ 142875 w 142875"/>
                <a:gd name="connsiteY3" fmla="*/ 219075 h 219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875" h="219075">
                  <a:moveTo>
                    <a:pt x="0" y="0"/>
                  </a:moveTo>
                  <a:lnTo>
                    <a:pt x="0" y="142875"/>
                  </a:lnTo>
                  <a:cubicBezTo>
                    <a:pt x="0" y="184975"/>
                    <a:pt x="34100" y="219075"/>
                    <a:pt x="76200" y="219075"/>
                  </a:cubicBezTo>
                  <a:lnTo>
                    <a:pt x="142875" y="219075"/>
                  </a:lnTo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orma Livre: Forma 12">
              <a:extLst>
                <a:ext uri="{FF2B5EF4-FFF2-40B4-BE49-F238E27FC236}">
                  <a16:creationId xmlns:a16="http://schemas.microsoft.com/office/drawing/2014/main" id="{997C5A67-AC8D-4846-8CB6-1443D38E360D}"/>
                </a:ext>
              </a:extLst>
            </p:cNvPr>
            <p:cNvSpPr/>
            <p:nvPr/>
          </p:nvSpPr>
          <p:spPr>
            <a:xfrm>
              <a:off x="3602717" y="2280105"/>
              <a:ext cx="95250" cy="28575"/>
            </a:xfrm>
            <a:custGeom>
              <a:avLst/>
              <a:gdLst>
                <a:gd name="connsiteX0" fmla="*/ 0 w 95250"/>
                <a:gd name="connsiteY0" fmla="*/ 0 h 28575"/>
                <a:gd name="connsiteX1" fmla="*/ 76200 w 95250"/>
                <a:gd name="connsiteY1" fmla="*/ 0 h 28575"/>
                <a:gd name="connsiteX2" fmla="*/ 95250 w 95250"/>
                <a:gd name="connsiteY2" fmla="*/ 28575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0" h="28575">
                  <a:moveTo>
                    <a:pt x="0" y="0"/>
                  </a:moveTo>
                  <a:lnTo>
                    <a:pt x="76200" y="0"/>
                  </a:lnTo>
                  <a:lnTo>
                    <a:pt x="95250" y="28575"/>
                  </a:lnTo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orma Livre: Forma 13">
              <a:extLst>
                <a:ext uri="{FF2B5EF4-FFF2-40B4-BE49-F238E27FC236}">
                  <a16:creationId xmlns:a16="http://schemas.microsoft.com/office/drawing/2014/main" id="{B08B563F-9E74-6175-D224-829C18219F53}"/>
                </a:ext>
              </a:extLst>
            </p:cNvPr>
            <p:cNvSpPr/>
            <p:nvPr/>
          </p:nvSpPr>
          <p:spPr>
            <a:xfrm>
              <a:off x="3631292" y="2432505"/>
              <a:ext cx="114300" cy="19050"/>
            </a:xfrm>
            <a:custGeom>
              <a:avLst/>
              <a:gdLst>
                <a:gd name="connsiteX0" fmla="*/ 114300 w 114300"/>
                <a:gd name="connsiteY0" fmla="*/ 19050 h 19050"/>
                <a:gd name="connsiteX1" fmla="*/ 95250 w 114300"/>
                <a:gd name="connsiteY1" fmla="*/ 19050 h 19050"/>
                <a:gd name="connsiteX2" fmla="*/ 76200 w 114300"/>
                <a:gd name="connsiteY2" fmla="*/ 19050 h 19050"/>
                <a:gd name="connsiteX3" fmla="*/ 57150 w 114300"/>
                <a:gd name="connsiteY3" fmla="*/ 0 h 19050"/>
                <a:gd name="connsiteX4" fmla="*/ 38100 w 114300"/>
                <a:gd name="connsiteY4" fmla="*/ 19050 h 19050"/>
                <a:gd name="connsiteX5" fmla="*/ 19050 w 114300"/>
                <a:gd name="connsiteY5" fmla="*/ 19050 h 19050"/>
                <a:gd name="connsiteX6" fmla="*/ 0 w 114300"/>
                <a:gd name="connsiteY6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300" h="19050">
                  <a:moveTo>
                    <a:pt x="114300" y="19050"/>
                  </a:moveTo>
                  <a:lnTo>
                    <a:pt x="95250" y="19050"/>
                  </a:lnTo>
                  <a:lnTo>
                    <a:pt x="76200" y="19050"/>
                  </a:lnTo>
                  <a:lnTo>
                    <a:pt x="57150" y="0"/>
                  </a:lnTo>
                  <a:lnTo>
                    <a:pt x="38100" y="19050"/>
                  </a:lnTo>
                  <a:lnTo>
                    <a:pt x="19050" y="19050"/>
                  </a:lnTo>
                  <a:lnTo>
                    <a:pt x="0" y="19050"/>
                  </a:lnTo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orma Livre: Forma 14">
              <a:extLst>
                <a:ext uri="{FF2B5EF4-FFF2-40B4-BE49-F238E27FC236}">
                  <a16:creationId xmlns:a16="http://schemas.microsoft.com/office/drawing/2014/main" id="{E6A66A58-7C09-9505-A04F-A922A4E8C298}"/>
                </a:ext>
              </a:extLst>
            </p:cNvPr>
            <p:cNvSpPr/>
            <p:nvPr/>
          </p:nvSpPr>
          <p:spPr>
            <a:xfrm>
              <a:off x="3650342" y="2022835"/>
              <a:ext cx="85725" cy="95250"/>
            </a:xfrm>
            <a:custGeom>
              <a:avLst/>
              <a:gdLst>
                <a:gd name="connsiteX0" fmla="*/ 42863 w 85725"/>
                <a:gd name="connsiteY0" fmla="*/ 95345 h 95250"/>
                <a:gd name="connsiteX1" fmla="*/ 85725 w 85725"/>
                <a:gd name="connsiteY1" fmla="*/ 54483 h 95250"/>
                <a:gd name="connsiteX2" fmla="*/ 85725 w 85725"/>
                <a:gd name="connsiteY2" fmla="*/ 40862 h 95250"/>
                <a:gd name="connsiteX3" fmla="*/ 42863 w 85725"/>
                <a:gd name="connsiteY3" fmla="*/ 0 h 95250"/>
                <a:gd name="connsiteX4" fmla="*/ 0 w 85725"/>
                <a:gd name="connsiteY4" fmla="*/ 40862 h 95250"/>
                <a:gd name="connsiteX5" fmla="*/ 0 w 85725"/>
                <a:gd name="connsiteY5" fmla="*/ 54483 h 95250"/>
                <a:gd name="connsiteX6" fmla="*/ 42863 w 85725"/>
                <a:gd name="connsiteY6" fmla="*/ 95345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725" h="95250">
                  <a:moveTo>
                    <a:pt x="42863" y="95345"/>
                  </a:moveTo>
                  <a:cubicBezTo>
                    <a:pt x="66770" y="95345"/>
                    <a:pt x="85725" y="77057"/>
                    <a:pt x="85725" y="54483"/>
                  </a:cubicBezTo>
                  <a:lnTo>
                    <a:pt x="85725" y="40862"/>
                  </a:lnTo>
                  <a:cubicBezTo>
                    <a:pt x="85725" y="18288"/>
                    <a:pt x="66770" y="0"/>
                    <a:pt x="42863" y="0"/>
                  </a:cubicBezTo>
                  <a:cubicBezTo>
                    <a:pt x="18955" y="0"/>
                    <a:pt x="0" y="18288"/>
                    <a:pt x="0" y="40862"/>
                  </a:cubicBezTo>
                  <a:lnTo>
                    <a:pt x="0" y="54483"/>
                  </a:lnTo>
                  <a:cubicBezTo>
                    <a:pt x="0" y="77057"/>
                    <a:pt x="18955" y="95345"/>
                    <a:pt x="42863" y="95345"/>
                  </a:cubicBezTo>
                  <a:close/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22" name="Conector reto 21">
            <a:extLst>
              <a:ext uri="{FF2B5EF4-FFF2-40B4-BE49-F238E27FC236}">
                <a16:creationId xmlns:a16="http://schemas.microsoft.com/office/drawing/2014/main" id="{77DE9127-45D6-87D5-7523-948CAF9D5B0C}"/>
              </a:ext>
            </a:extLst>
          </p:cNvPr>
          <p:cNvCxnSpPr>
            <a:cxnSpLocks/>
          </p:cNvCxnSpPr>
          <p:nvPr/>
        </p:nvCxnSpPr>
        <p:spPr>
          <a:xfrm>
            <a:off x="2478306" y="1971833"/>
            <a:ext cx="0" cy="1906607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de Seta Reta 22">
            <a:extLst>
              <a:ext uri="{FF2B5EF4-FFF2-40B4-BE49-F238E27FC236}">
                <a16:creationId xmlns:a16="http://schemas.microsoft.com/office/drawing/2014/main" id="{8067D379-C530-3836-A801-912B2AE786F1}"/>
              </a:ext>
            </a:extLst>
          </p:cNvPr>
          <p:cNvCxnSpPr>
            <a:cxnSpLocks/>
          </p:cNvCxnSpPr>
          <p:nvPr/>
        </p:nvCxnSpPr>
        <p:spPr>
          <a:xfrm>
            <a:off x="2495581" y="2323998"/>
            <a:ext cx="259007" cy="1876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ector reto 26">
            <a:extLst>
              <a:ext uri="{FF2B5EF4-FFF2-40B4-BE49-F238E27FC236}">
                <a16:creationId xmlns:a16="http://schemas.microsoft.com/office/drawing/2014/main" id="{E31C035E-2503-A41A-16EE-14342EA4348E}"/>
              </a:ext>
            </a:extLst>
          </p:cNvPr>
          <p:cNvCxnSpPr>
            <a:cxnSpLocks/>
          </p:cNvCxnSpPr>
          <p:nvPr/>
        </p:nvCxnSpPr>
        <p:spPr>
          <a:xfrm>
            <a:off x="2306475" y="3882233"/>
            <a:ext cx="178789" cy="0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to 29">
            <a:extLst>
              <a:ext uri="{FF2B5EF4-FFF2-40B4-BE49-F238E27FC236}">
                <a16:creationId xmlns:a16="http://schemas.microsoft.com/office/drawing/2014/main" id="{57D7F987-943A-6F07-BF22-760736C7E8E3}"/>
              </a:ext>
            </a:extLst>
          </p:cNvPr>
          <p:cNvCxnSpPr>
            <a:cxnSpLocks/>
          </p:cNvCxnSpPr>
          <p:nvPr/>
        </p:nvCxnSpPr>
        <p:spPr>
          <a:xfrm>
            <a:off x="2306475" y="3255782"/>
            <a:ext cx="178789" cy="0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to 30">
            <a:extLst>
              <a:ext uri="{FF2B5EF4-FFF2-40B4-BE49-F238E27FC236}">
                <a16:creationId xmlns:a16="http://schemas.microsoft.com/office/drawing/2014/main" id="{0A70F22A-9E0F-4EAD-4324-0E48CDCF4C4C}"/>
              </a:ext>
            </a:extLst>
          </p:cNvPr>
          <p:cNvCxnSpPr>
            <a:cxnSpLocks/>
          </p:cNvCxnSpPr>
          <p:nvPr/>
        </p:nvCxnSpPr>
        <p:spPr>
          <a:xfrm>
            <a:off x="2299517" y="1984133"/>
            <a:ext cx="178789" cy="0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CaixaDeTexto 36">
            <a:extLst>
              <a:ext uri="{FF2B5EF4-FFF2-40B4-BE49-F238E27FC236}">
                <a16:creationId xmlns:a16="http://schemas.microsoft.com/office/drawing/2014/main" id="{40A60164-0C81-29E3-C000-F828641D6A95}"/>
              </a:ext>
            </a:extLst>
          </p:cNvPr>
          <p:cNvSpPr txBox="1"/>
          <p:nvPr/>
        </p:nvSpPr>
        <p:spPr>
          <a:xfrm>
            <a:off x="9429486" y="3766070"/>
            <a:ext cx="720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165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 err="1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BKO’s</a:t>
            </a:r>
            <a:r>
              <a:rPr kumimoji="0" lang="pt-BR" sz="9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 e terceiros</a:t>
            </a:r>
          </a:p>
        </p:txBody>
      </p:sp>
      <p:cxnSp>
        <p:nvCxnSpPr>
          <p:cNvPr id="38" name="Conector de Seta Reta 37">
            <a:extLst>
              <a:ext uri="{FF2B5EF4-FFF2-40B4-BE49-F238E27FC236}">
                <a16:creationId xmlns:a16="http://schemas.microsoft.com/office/drawing/2014/main" id="{A20A3A5B-AE5C-7426-2917-462C4C792385}"/>
              </a:ext>
            </a:extLst>
          </p:cNvPr>
          <p:cNvCxnSpPr>
            <a:cxnSpLocks/>
          </p:cNvCxnSpPr>
          <p:nvPr/>
        </p:nvCxnSpPr>
        <p:spPr>
          <a:xfrm>
            <a:off x="8836487" y="3756865"/>
            <a:ext cx="704928" cy="0"/>
          </a:xfrm>
          <a:prstGeom prst="straightConnector1">
            <a:avLst/>
          </a:prstGeom>
          <a:ln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ector: Angulado 40">
            <a:extLst>
              <a:ext uri="{FF2B5EF4-FFF2-40B4-BE49-F238E27FC236}">
                <a16:creationId xmlns:a16="http://schemas.microsoft.com/office/drawing/2014/main" id="{C3A0F6B7-2137-6CEE-6FDA-317BD5791D13}"/>
              </a:ext>
            </a:extLst>
          </p:cNvPr>
          <p:cNvCxnSpPr>
            <a:cxnSpLocks/>
          </p:cNvCxnSpPr>
          <p:nvPr/>
        </p:nvCxnSpPr>
        <p:spPr>
          <a:xfrm rot="16200000" flipH="1">
            <a:off x="9581308" y="3136338"/>
            <a:ext cx="257390" cy="245706"/>
          </a:xfrm>
          <a:prstGeom prst="bentConnector3">
            <a:avLst>
              <a:gd name="adj1" fmla="val 810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Agrupar 43">
            <a:extLst>
              <a:ext uri="{FF2B5EF4-FFF2-40B4-BE49-F238E27FC236}">
                <a16:creationId xmlns:a16="http://schemas.microsoft.com/office/drawing/2014/main" id="{1CFD47D8-D4C6-A82D-61AE-55233358B57E}"/>
              </a:ext>
            </a:extLst>
          </p:cNvPr>
          <p:cNvGrpSpPr/>
          <p:nvPr/>
        </p:nvGrpSpPr>
        <p:grpSpPr>
          <a:xfrm>
            <a:off x="3790574" y="3634246"/>
            <a:ext cx="631908" cy="463049"/>
            <a:chOff x="1794065" y="3269051"/>
            <a:chExt cx="631907" cy="463049"/>
          </a:xfrm>
        </p:grpSpPr>
        <p:sp>
          <p:nvSpPr>
            <p:cNvPr id="45" name="CaixaDeTexto 44">
              <a:extLst>
                <a:ext uri="{FF2B5EF4-FFF2-40B4-BE49-F238E27FC236}">
                  <a16:creationId xmlns:a16="http://schemas.microsoft.com/office/drawing/2014/main" id="{A7EFA6A2-0DBC-2059-FDF5-BCD463FDF6EC}"/>
                </a:ext>
              </a:extLst>
            </p:cNvPr>
            <p:cNvSpPr txBox="1"/>
            <p:nvPr/>
          </p:nvSpPr>
          <p:spPr>
            <a:xfrm>
              <a:off x="1794065" y="3501268"/>
              <a:ext cx="63190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3165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Web</a:t>
              </a:r>
            </a:p>
          </p:txBody>
        </p:sp>
        <p:sp>
          <p:nvSpPr>
            <p:cNvPr id="46" name="Forma">
              <a:extLst>
                <a:ext uri="{FF2B5EF4-FFF2-40B4-BE49-F238E27FC236}">
                  <a16:creationId xmlns:a16="http://schemas.microsoft.com/office/drawing/2014/main" id="{18F9F481-E133-9119-4915-22F72A54A6D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56127" y="3269051"/>
              <a:ext cx="307782" cy="252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62" y="21417"/>
                  </a:moveTo>
                  <a:cubicBezTo>
                    <a:pt x="21554" y="21295"/>
                    <a:pt x="21600" y="21160"/>
                    <a:pt x="21600" y="21009"/>
                  </a:cubicBezTo>
                  <a:cubicBezTo>
                    <a:pt x="21600" y="20841"/>
                    <a:pt x="21554" y="20696"/>
                    <a:pt x="21462" y="20573"/>
                  </a:cubicBezTo>
                  <a:cubicBezTo>
                    <a:pt x="21370" y="20452"/>
                    <a:pt x="21255" y="20391"/>
                    <a:pt x="21116" y="20391"/>
                  </a:cubicBezTo>
                  <a:lnTo>
                    <a:pt x="484" y="20391"/>
                  </a:lnTo>
                  <a:cubicBezTo>
                    <a:pt x="345" y="20391"/>
                    <a:pt x="230" y="20452"/>
                    <a:pt x="138" y="20573"/>
                  </a:cubicBezTo>
                  <a:cubicBezTo>
                    <a:pt x="46" y="20696"/>
                    <a:pt x="0" y="20841"/>
                    <a:pt x="0" y="21009"/>
                  </a:cubicBezTo>
                  <a:cubicBezTo>
                    <a:pt x="0" y="21160"/>
                    <a:pt x="46" y="21295"/>
                    <a:pt x="138" y="21417"/>
                  </a:cubicBezTo>
                  <a:cubicBezTo>
                    <a:pt x="230" y="21539"/>
                    <a:pt x="345" y="21600"/>
                    <a:pt x="484" y="21600"/>
                  </a:cubicBezTo>
                  <a:lnTo>
                    <a:pt x="21116" y="21600"/>
                  </a:lnTo>
                  <a:lnTo>
                    <a:pt x="21116" y="21600"/>
                  </a:lnTo>
                  <a:lnTo>
                    <a:pt x="21116" y="21600"/>
                  </a:lnTo>
                  <a:cubicBezTo>
                    <a:pt x="21255" y="21600"/>
                    <a:pt x="21370" y="21539"/>
                    <a:pt x="21462" y="21417"/>
                  </a:cubicBezTo>
                  <a:lnTo>
                    <a:pt x="21462" y="21417"/>
                  </a:lnTo>
                  <a:close/>
                  <a:moveTo>
                    <a:pt x="19643" y="15609"/>
                  </a:moveTo>
                  <a:lnTo>
                    <a:pt x="1957" y="15609"/>
                  </a:lnTo>
                  <a:lnTo>
                    <a:pt x="1957" y="1209"/>
                  </a:lnTo>
                  <a:lnTo>
                    <a:pt x="19643" y="1209"/>
                  </a:lnTo>
                  <a:lnTo>
                    <a:pt x="19643" y="15609"/>
                  </a:lnTo>
                  <a:lnTo>
                    <a:pt x="19643" y="15609"/>
                  </a:lnTo>
                  <a:close/>
                  <a:moveTo>
                    <a:pt x="1957" y="0"/>
                  </a:moveTo>
                  <a:cubicBezTo>
                    <a:pt x="1681" y="0"/>
                    <a:pt x="1447" y="117"/>
                    <a:pt x="1255" y="352"/>
                  </a:cubicBezTo>
                  <a:cubicBezTo>
                    <a:pt x="1063" y="586"/>
                    <a:pt x="967" y="872"/>
                    <a:pt x="967" y="1209"/>
                  </a:cubicBezTo>
                  <a:lnTo>
                    <a:pt x="967" y="15609"/>
                  </a:lnTo>
                  <a:cubicBezTo>
                    <a:pt x="967" y="15928"/>
                    <a:pt x="1063" y="16205"/>
                    <a:pt x="1255" y="16439"/>
                  </a:cubicBezTo>
                  <a:cubicBezTo>
                    <a:pt x="1447" y="16674"/>
                    <a:pt x="1681" y="16791"/>
                    <a:pt x="1957" y="16791"/>
                  </a:cubicBezTo>
                  <a:lnTo>
                    <a:pt x="19643" y="16791"/>
                  </a:lnTo>
                  <a:cubicBezTo>
                    <a:pt x="19919" y="16791"/>
                    <a:pt x="20153" y="16674"/>
                    <a:pt x="20345" y="16439"/>
                  </a:cubicBezTo>
                  <a:cubicBezTo>
                    <a:pt x="20537" y="16205"/>
                    <a:pt x="20633" y="15928"/>
                    <a:pt x="20633" y="15609"/>
                  </a:cubicBezTo>
                  <a:lnTo>
                    <a:pt x="20633" y="1209"/>
                  </a:lnTo>
                  <a:cubicBezTo>
                    <a:pt x="20633" y="872"/>
                    <a:pt x="20537" y="586"/>
                    <a:pt x="20345" y="352"/>
                  </a:cubicBezTo>
                  <a:cubicBezTo>
                    <a:pt x="20153" y="117"/>
                    <a:pt x="19919" y="0"/>
                    <a:pt x="19643" y="0"/>
                  </a:cubicBezTo>
                  <a:lnTo>
                    <a:pt x="1957" y="0"/>
                  </a:lnTo>
                  <a:lnTo>
                    <a:pt x="1957" y="0"/>
                  </a:lnTo>
                  <a:close/>
                  <a:moveTo>
                    <a:pt x="15221" y="2391"/>
                  </a:moveTo>
                  <a:cubicBezTo>
                    <a:pt x="15359" y="2391"/>
                    <a:pt x="15475" y="2452"/>
                    <a:pt x="15567" y="2573"/>
                  </a:cubicBezTo>
                  <a:cubicBezTo>
                    <a:pt x="15659" y="2696"/>
                    <a:pt x="15705" y="2841"/>
                    <a:pt x="15705" y="3009"/>
                  </a:cubicBezTo>
                  <a:lnTo>
                    <a:pt x="15705" y="4191"/>
                  </a:lnTo>
                  <a:cubicBezTo>
                    <a:pt x="15705" y="4359"/>
                    <a:pt x="15659" y="4505"/>
                    <a:pt x="15567" y="4627"/>
                  </a:cubicBezTo>
                  <a:cubicBezTo>
                    <a:pt x="15475" y="4749"/>
                    <a:pt x="15359" y="4809"/>
                    <a:pt x="15221" y="4809"/>
                  </a:cubicBezTo>
                  <a:lnTo>
                    <a:pt x="14231" y="4809"/>
                  </a:lnTo>
                  <a:cubicBezTo>
                    <a:pt x="14108" y="4809"/>
                    <a:pt x="13997" y="4749"/>
                    <a:pt x="13897" y="4627"/>
                  </a:cubicBezTo>
                  <a:cubicBezTo>
                    <a:pt x="13797" y="4505"/>
                    <a:pt x="13748" y="4359"/>
                    <a:pt x="13748" y="4191"/>
                  </a:cubicBezTo>
                  <a:lnTo>
                    <a:pt x="13748" y="3009"/>
                  </a:lnTo>
                  <a:cubicBezTo>
                    <a:pt x="13748" y="2841"/>
                    <a:pt x="13797" y="2696"/>
                    <a:pt x="13897" y="2573"/>
                  </a:cubicBezTo>
                  <a:cubicBezTo>
                    <a:pt x="13997" y="2452"/>
                    <a:pt x="14108" y="2391"/>
                    <a:pt x="14231" y="2391"/>
                  </a:cubicBezTo>
                  <a:lnTo>
                    <a:pt x="15221" y="2391"/>
                  </a:lnTo>
                  <a:lnTo>
                    <a:pt x="15221" y="2391"/>
                  </a:lnTo>
                  <a:lnTo>
                    <a:pt x="15221" y="2391"/>
                  </a:lnTo>
                  <a:close/>
                  <a:moveTo>
                    <a:pt x="18169" y="2391"/>
                  </a:moveTo>
                  <a:cubicBezTo>
                    <a:pt x="18307" y="2391"/>
                    <a:pt x="18422" y="2452"/>
                    <a:pt x="18514" y="2573"/>
                  </a:cubicBezTo>
                  <a:cubicBezTo>
                    <a:pt x="18606" y="2696"/>
                    <a:pt x="18652" y="2841"/>
                    <a:pt x="18652" y="3009"/>
                  </a:cubicBezTo>
                  <a:lnTo>
                    <a:pt x="18652" y="4191"/>
                  </a:lnTo>
                  <a:cubicBezTo>
                    <a:pt x="18652" y="4359"/>
                    <a:pt x="18606" y="4505"/>
                    <a:pt x="18514" y="4627"/>
                  </a:cubicBezTo>
                  <a:cubicBezTo>
                    <a:pt x="18422" y="4749"/>
                    <a:pt x="18307" y="4809"/>
                    <a:pt x="18169" y="4809"/>
                  </a:cubicBezTo>
                  <a:lnTo>
                    <a:pt x="17179" y="4809"/>
                  </a:lnTo>
                  <a:cubicBezTo>
                    <a:pt x="17056" y="4809"/>
                    <a:pt x="16944" y="4749"/>
                    <a:pt x="16845" y="4627"/>
                  </a:cubicBezTo>
                  <a:cubicBezTo>
                    <a:pt x="16745" y="4505"/>
                    <a:pt x="16695" y="4359"/>
                    <a:pt x="16695" y="4191"/>
                  </a:cubicBezTo>
                  <a:lnTo>
                    <a:pt x="16695" y="3009"/>
                  </a:lnTo>
                  <a:cubicBezTo>
                    <a:pt x="16695" y="2841"/>
                    <a:pt x="16745" y="2696"/>
                    <a:pt x="16845" y="2573"/>
                  </a:cubicBezTo>
                  <a:cubicBezTo>
                    <a:pt x="16944" y="2452"/>
                    <a:pt x="17056" y="2391"/>
                    <a:pt x="17179" y="2391"/>
                  </a:cubicBezTo>
                  <a:lnTo>
                    <a:pt x="18169" y="2391"/>
                  </a:lnTo>
                  <a:lnTo>
                    <a:pt x="18169" y="2391"/>
                  </a:lnTo>
                  <a:lnTo>
                    <a:pt x="18169" y="2391"/>
                  </a:lnTo>
                  <a:close/>
                  <a:moveTo>
                    <a:pt x="15221" y="5991"/>
                  </a:moveTo>
                  <a:cubicBezTo>
                    <a:pt x="15359" y="5991"/>
                    <a:pt x="15475" y="6052"/>
                    <a:pt x="15567" y="6173"/>
                  </a:cubicBezTo>
                  <a:cubicBezTo>
                    <a:pt x="15659" y="6296"/>
                    <a:pt x="15705" y="6441"/>
                    <a:pt x="15705" y="6609"/>
                  </a:cubicBezTo>
                  <a:lnTo>
                    <a:pt x="15705" y="7791"/>
                  </a:lnTo>
                  <a:cubicBezTo>
                    <a:pt x="15705" y="7959"/>
                    <a:pt x="15659" y="8105"/>
                    <a:pt x="15567" y="8227"/>
                  </a:cubicBezTo>
                  <a:cubicBezTo>
                    <a:pt x="15475" y="8349"/>
                    <a:pt x="15359" y="8409"/>
                    <a:pt x="15221" y="8409"/>
                  </a:cubicBezTo>
                  <a:lnTo>
                    <a:pt x="14231" y="8409"/>
                  </a:lnTo>
                  <a:cubicBezTo>
                    <a:pt x="14108" y="8409"/>
                    <a:pt x="13997" y="8349"/>
                    <a:pt x="13897" y="8227"/>
                  </a:cubicBezTo>
                  <a:cubicBezTo>
                    <a:pt x="13797" y="8105"/>
                    <a:pt x="13748" y="7959"/>
                    <a:pt x="13748" y="7791"/>
                  </a:cubicBezTo>
                  <a:lnTo>
                    <a:pt x="13748" y="6609"/>
                  </a:lnTo>
                  <a:cubicBezTo>
                    <a:pt x="13748" y="6441"/>
                    <a:pt x="13797" y="6296"/>
                    <a:pt x="13897" y="6173"/>
                  </a:cubicBezTo>
                  <a:cubicBezTo>
                    <a:pt x="13997" y="6052"/>
                    <a:pt x="14108" y="5991"/>
                    <a:pt x="14231" y="5991"/>
                  </a:cubicBezTo>
                  <a:lnTo>
                    <a:pt x="15221" y="5991"/>
                  </a:lnTo>
                  <a:lnTo>
                    <a:pt x="15221" y="5991"/>
                  </a:lnTo>
                  <a:lnTo>
                    <a:pt x="15221" y="5991"/>
                  </a:lnTo>
                  <a:close/>
                  <a:moveTo>
                    <a:pt x="18169" y="5991"/>
                  </a:moveTo>
                  <a:cubicBezTo>
                    <a:pt x="18307" y="5991"/>
                    <a:pt x="18422" y="6052"/>
                    <a:pt x="18514" y="6173"/>
                  </a:cubicBezTo>
                  <a:cubicBezTo>
                    <a:pt x="18606" y="6296"/>
                    <a:pt x="18652" y="6441"/>
                    <a:pt x="18652" y="6609"/>
                  </a:cubicBezTo>
                  <a:lnTo>
                    <a:pt x="18652" y="7791"/>
                  </a:lnTo>
                  <a:cubicBezTo>
                    <a:pt x="18652" y="7959"/>
                    <a:pt x="18606" y="8105"/>
                    <a:pt x="18514" y="8227"/>
                  </a:cubicBezTo>
                  <a:cubicBezTo>
                    <a:pt x="18422" y="8349"/>
                    <a:pt x="18307" y="8409"/>
                    <a:pt x="18169" y="8409"/>
                  </a:cubicBezTo>
                  <a:lnTo>
                    <a:pt x="17179" y="8409"/>
                  </a:lnTo>
                  <a:cubicBezTo>
                    <a:pt x="17056" y="8409"/>
                    <a:pt x="16944" y="8349"/>
                    <a:pt x="16845" y="8227"/>
                  </a:cubicBezTo>
                  <a:cubicBezTo>
                    <a:pt x="16745" y="8105"/>
                    <a:pt x="16695" y="7959"/>
                    <a:pt x="16695" y="7791"/>
                  </a:cubicBezTo>
                  <a:lnTo>
                    <a:pt x="16695" y="6609"/>
                  </a:lnTo>
                  <a:cubicBezTo>
                    <a:pt x="16695" y="6441"/>
                    <a:pt x="16745" y="6296"/>
                    <a:pt x="16845" y="6173"/>
                  </a:cubicBezTo>
                  <a:cubicBezTo>
                    <a:pt x="16944" y="6052"/>
                    <a:pt x="17056" y="5991"/>
                    <a:pt x="17179" y="5991"/>
                  </a:cubicBezTo>
                  <a:lnTo>
                    <a:pt x="18169" y="5991"/>
                  </a:lnTo>
                  <a:lnTo>
                    <a:pt x="18169" y="5991"/>
                  </a:lnTo>
                  <a:lnTo>
                    <a:pt x="18169" y="5991"/>
                  </a:lnTo>
                  <a:close/>
                  <a:moveTo>
                    <a:pt x="18169" y="9591"/>
                  </a:moveTo>
                  <a:cubicBezTo>
                    <a:pt x="18307" y="9591"/>
                    <a:pt x="18422" y="9652"/>
                    <a:pt x="18514" y="9773"/>
                  </a:cubicBezTo>
                  <a:cubicBezTo>
                    <a:pt x="18606" y="9896"/>
                    <a:pt x="18652" y="10041"/>
                    <a:pt x="18652" y="10209"/>
                  </a:cubicBezTo>
                  <a:lnTo>
                    <a:pt x="18652" y="11391"/>
                  </a:lnTo>
                  <a:cubicBezTo>
                    <a:pt x="18652" y="11559"/>
                    <a:pt x="18606" y="11705"/>
                    <a:pt x="18514" y="11827"/>
                  </a:cubicBezTo>
                  <a:cubicBezTo>
                    <a:pt x="18422" y="11949"/>
                    <a:pt x="18307" y="12009"/>
                    <a:pt x="18169" y="12009"/>
                  </a:cubicBezTo>
                  <a:lnTo>
                    <a:pt x="17179" y="12009"/>
                  </a:lnTo>
                  <a:cubicBezTo>
                    <a:pt x="17056" y="12009"/>
                    <a:pt x="16944" y="11949"/>
                    <a:pt x="16845" y="11827"/>
                  </a:cubicBezTo>
                  <a:cubicBezTo>
                    <a:pt x="16745" y="11705"/>
                    <a:pt x="16695" y="11559"/>
                    <a:pt x="16695" y="11391"/>
                  </a:cubicBezTo>
                  <a:lnTo>
                    <a:pt x="16695" y="10209"/>
                  </a:lnTo>
                  <a:cubicBezTo>
                    <a:pt x="16695" y="10041"/>
                    <a:pt x="16745" y="9896"/>
                    <a:pt x="16845" y="9773"/>
                  </a:cubicBezTo>
                  <a:cubicBezTo>
                    <a:pt x="16944" y="9652"/>
                    <a:pt x="17056" y="9591"/>
                    <a:pt x="17179" y="9591"/>
                  </a:cubicBezTo>
                  <a:lnTo>
                    <a:pt x="18169" y="9591"/>
                  </a:lnTo>
                  <a:lnTo>
                    <a:pt x="18169" y="9591"/>
                  </a:lnTo>
                  <a:lnTo>
                    <a:pt x="18169" y="9591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miter lim="400000"/>
            </a:ln>
          </p:spPr>
          <p:txBody>
            <a:bodyPr lIns="27428" tIns="27428" rIns="27428" bIns="27428" anchor="ctr"/>
            <a:lstStyle/>
            <a:p>
              <a:pPr marL="0" marR="0" lvl="0" indent="0" algn="l" defTabSz="3291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b="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lang="pt-BR" sz="1296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sym typeface="Gill Sans"/>
              </a:endParaRPr>
            </a:p>
          </p:txBody>
        </p:sp>
      </p:grpSp>
      <p:cxnSp>
        <p:nvCxnSpPr>
          <p:cNvPr id="47" name="Conector de Seta Reta 46">
            <a:extLst>
              <a:ext uri="{FF2B5EF4-FFF2-40B4-BE49-F238E27FC236}">
                <a16:creationId xmlns:a16="http://schemas.microsoft.com/office/drawing/2014/main" id="{3B101BAE-C2D2-362C-944D-41FC2615551F}"/>
              </a:ext>
            </a:extLst>
          </p:cNvPr>
          <p:cNvCxnSpPr>
            <a:cxnSpLocks/>
          </p:cNvCxnSpPr>
          <p:nvPr/>
        </p:nvCxnSpPr>
        <p:spPr>
          <a:xfrm>
            <a:off x="8836487" y="3161638"/>
            <a:ext cx="401032" cy="0"/>
          </a:xfrm>
          <a:prstGeom prst="straightConnector1">
            <a:avLst/>
          </a:prstGeom>
          <a:ln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" name="Agrupar 49">
            <a:extLst>
              <a:ext uri="{FF2B5EF4-FFF2-40B4-BE49-F238E27FC236}">
                <a16:creationId xmlns:a16="http://schemas.microsoft.com/office/drawing/2014/main" id="{A306D408-A3D5-116B-575E-847D661BD6B0}"/>
              </a:ext>
            </a:extLst>
          </p:cNvPr>
          <p:cNvGrpSpPr/>
          <p:nvPr/>
        </p:nvGrpSpPr>
        <p:grpSpPr>
          <a:xfrm>
            <a:off x="9892759" y="4048614"/>
            <a:ext cx="1217740" cy="463499"/>
            <a:chOff x="1501147" y="3269051"/>
            <a:chExt cx="1217739" cy="463499"/>
          </a:xfrm>
        </p:grpSpPr>
        <p:sp>
          <p:nvSpPr>
            <p:cNvPr id="51" name="CaixaDeTexto 50">
              <a:extLst>
                <a:ext uri="{FF2B5EF4-FFF2-40B4-BE49-F238E27FC236}">
                  <a16:creationId xmlns:a16="http://schemas.microsoft.com/office/drawing/2014/main" id="{7D757406-9F93-92EF-574D-C165AFA0C365}"/>
                </a:ext>
              </a:extLst>
            </p:cNvPr>
            <p:cNvSpPr txBox="1"/>
            <p:nvPr/>
          </p:nvSpPr>
          <p:spPr>
            <a:xfrm>
              <a:off x="1501147" y="3501718"/>
              <a:ext cx="1217739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3165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Central </a:t>
              </a:r>
              <a:r>
                <a:rPr kumimoji="0" lang="pt-BR" sz="900" b="0" i="0" u="none" strike="noStrike" kern="1200" cap="none" spc="0" normalizeH="0" baseline="0" noProof="0" err="1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adm</a:t>
              </a:r>
              <a:r>
                <a: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 (</a:t>
              </a:r>
              <a:r>
                <a:rPr kumimoji="0" lang="pt-BR" sz="900" b="0" i="0" u="none" strike="noStrike" kern="1200" cap="none" spc="0" normalizeH="0" baseline="0" noProof="0" err="1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Valid</a:t>
              </a:r>
              <a:r>
                <a: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)</a:t>
              </a:r>
            </a:p>
          </p:txBody>
        </p:sp>
        <p:sp>
          <p:nvSpPr>
            <p:cNvPr id="52" name="Forma">
              <a:extLst>
                <a:ext uri="{FF2B5EF4-FFF2-40B4-BE49-F238E27FC236}">
                  <a16:creationId xmlns:a16="http://schemas.microsoft.com/office/drawing/2014/main" id="{DA114A24-7A7F-A7EE-8CB8-BFE2E2B48DC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56127" y="3269051"/>
              <a:ext cx="307782" cy="252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62" y="21417"/>
                  </a:moveTo>
                  <a:cubicBezTo>
                    <a:pt x="21554" y="21295"/>
                    <a:pt x="21600" y="21160"/>
                    <a:pt x="21600" y="21009"/>
                  </a:cubicBezTo>
                  <a:cubicBezTo>
                    <a:pt x="21600" y="20841"/>
                    <a:pt x="21554" y="20696"/>
                    <a:pt x="21462" y="20573"/>
                  </a:cubicBezTo>
                  <a:cubicBezTo>
                    <a:pt x="21370" y="20452"/>
                    <a:pt x="21255" y="20391"/>
                    <a:pt x="21116" y="20391"/>
                  </a:cubicBezTo>
                  <a:lnTo>
                    <a:pt x="484" y="20391"/>
                  </a:lnTo>
                  <a:cubicBezTo>
                    <a:pt x="345" y="20391"/>
                    <a:pt x="230" y="20452"/>
                    <a:pt x="138" y="20573"/>
                  </a:cubicBezTo>
                  <a:cubicBezTo>
                    <a:pt x="46" y="20696"/>
                    <a:pt x="0" y="20841"/>
                    <a:pt x="0" y="21009"/>
                  </a:cubicBezTo>
                  <a:cubicBezTo>
                    <a:pt x="0" y="21160"/>
                    <a:pt x="46" y="21295"/>
                    <a:pt x="138" y="21417"/>
                  </a:cubicBezTo>
                  <a:cubicBezTo>
                    <a:pt x="230" y="21539"/>
                    <a:pt x="345" y="21600"/>
                    <a:pt x="484" y="21600"/>
                  </a:cubicBezTo>
                  <a:lnTo>
                    <a:pt x="21116" y="21600"/>
                  </a:lnTo>
                  <a:lnTo>
                    <a:pt x="21116" y="21600"/>
                  </a:lnTo>
                  <a:lnTo>
                    <a:pt x="21116" y="21600"/>
                  </a:lnTo>
                  <a:cubicBezTo>
                    <a:pt x="21255" y="21600"/>
                    <a:pt x="21370" y="21539"/>
                    <a:pt x="21462" y="21417"/>
                  </a:cubicBezTo>
                  <a:lnTo>
                    <a:pt x="21462" y="21417"/>
                  </a:lnTo>
                  <a:close/>
                  <a:moveTo>
                    <a:pt x="19643" y="15609"/>
                  </a:moveTo>
                  <a:lnTo>
                    <a:pt x="1957" y="15609"/>
                  </a:lnTo>
                  <a:lnTo>
                    <a:pt x="1957" y="1209"/>
                  </a:lnTo>
                  <a:lnTo>
                    <a:pt x="19643" y="1209"/>
                  </a:lnTo>
                  <a:lnTo>
                    <a:pt x="19643" y="15609"/>
                  </a:lnTo>
                  <a:lnTo>
                    <a:pt x="19643" y="15609"/>
                  </a:lnTo>
                  <a:close/>
                  <a:moveTo>
                    <a:pt x="1957" y="0"/>
                  </a:moveTo>
                  <a:cubicBezTo>
                    <a:pt x="1681" y="0"/>
                    <a:pt x="1447" y="117"/>
                    <a:pt x="1255" y="352"/>
                  </a:cubicBezTo>
                  <a:cubicBezTo>
                    <a:pt x="1063" y="586"/>
                    <a:pt x="967" y="872"/>
                    <a:pt x="967" y="1209"/>
                  </a:cubicBezTo>
                  <a:lnTo>
                    <a:pt x="967" y="15609"/>
                  </a:lnTo>
                  <a:cubicBezTo>
                    <a:pt x="967" y="15928"/>
                    <a:pt x="1063" y="16205"/>
                    <a:pt x="1255" y="16439"/>
                  </a:cubicBezTo>
                  <a:cubicBezTo>
                    <a:pt x="1447" y="16674"/>
                    <a:pt x="1681" y="16791"/>
                    <a:pt x="1957" y="16791"/>
                  </a:cubicBezTo>
                  <a:lnTo>
                    <a:pt x="19643" y="16791"/>
                  </a:lnTo>
                  <a:cubicBezTo>
                    <a:pt x="19919" y="16791"/>
                    <a:pt x="20153" y="16674"/>
                    <a:pt x="20345" y="16439"/>
                  </a:cubicBezTo>
                  <a:cubicBezTo>
                    <a:pt x="20537" y="16205"/>
                    <a:pt x="20633" y="15928"/>
                    <a:pt x="20633" y="15609"/>
                  </a:cubicBezTo>
                  <a:lnTo>
                    <a:pt x="20633" y="1209"/>
                  </a:lnTo>
                  <a:cubicBezTo>
                    <a:pt x="20633" y="872"/>
                    <a:pt x="20537" y="586"/>
                    <a:pt x="20345" y="352"/>
                  </a:cubicBezTo>
                  <a:cubicBezTo>
                    <a:pt x="20153" y="117"/>
                    <a:pt x="19919" y="0"/>
                    <a:pt x="19643" y="0"/>
                  </a:cubicBezTo>
                  <a:lnTo>
                    <a:pt x="1957" y="0"/>
                  </a:lnTo>
                  <a:lnTo>
                    <a:pt x="1957" y="0"/>
                  </a:lnTo>
                  <a:close/>
                  <a:moveTo>
                    <a:pt x="15221" y="2391"/>
                  </a:moveTo>
                  <a:cubicBezTo>
                    <a:pt x="15359" y="2391"/>
                    <a:pt x="15475" y="2452"/>
                    <a:pt x="15567" y="2573"/>
                  </a:cubicBezTo>
                  <a:cubicBezTo>
                    <a:pt x="15659" y="2696"/>
                    <a:pt x="15705" y="2841"/>
                    <a:pt x="15705" y="3009"/>
                  </a:cubicBezTo>
                  <a:lnTo>
                    <a:pt x="15705" y="4191"/>
                  </a:lnTo>
                  <a:cubicBezTo>
                    <a:pt x="15705" y="4359"/>
                    <a:pt x="15659" y="4505"/>
                    <a:pt x="15567" y="4627"/>
                  </a:cubicBezTo>
                  <a:cubicBezTo>
                    <a:pt x="15475" y="4749"/>
                    <a:pt x="15359" y="4809"/>
                    <a:pt x="15221" y="4809"/>
                  </a:cubicBezTo>
                  <a:lnTo>
                    <a:pt x="14231" y="4809"/>
                  </a:lnTo>
                  <a:cubicBezTo>
                    <a:pt x="14108" y="4809"/>
                    <a:pt x="13997" y="4749"/>
                    <a:pt x="13897" y="4627"/>
                  </a:cubicBezTo>
                  <a:cubicBezTo>
                    <a:pt x="13797" y="4505"/>
                    <a:pt x="13748" y="4359"/>
                    <a:pt x="13748" y="4191"/>
                  </a:cubicBezTo>
                  <a:lnTo>
                    <a:pt x="13748" y="3009"/>
                  </a:lnTo>
                  <a:cubicBezTo>
                    <a:pt x="13748" y="2841"/>
                    <a:pt x="13797" y="2696"/>
                    <a:pt x="13897" y="2573"/>
                  </a:cubicBezTo>
                  <a:cubicBezTo>
                    <a:pt x="13997" y="2452"/>
                    <a:pt x="14108" y="2391"/>
                    <a:pt x="14231" y="2391"/>
                  </a:cubicBezTo>
                  <a:lnTo>
                    <a:pt x="15221" y="2391"/>
                  </a:lnTo>
                  <a:lnTo>
                    <a:pt x="15221" y="2391"/>
                  </a:lnTo>
                  <a:lnTo>
                    <a:pt x="15221" y="2391"/>
                  </a:lnTo>
                  <a:close/>
                  <a:moveTo>
                    <a:pt x="18169" y="2391"/>
                  </a:moveTo>
                  <a:cubicBezTo>
                    <a:pt x="18307" y="2391"/>
                    <a:pt x="18422" y="2452"/>
                    <a:pt x="18514" y="2573"/>
                  </a:cubicBezTo>
                  <a:cubicBezTo>
                    <a:pt x="18606" y="2696"/>
                    <a:pt x="18652" y="2841"/>
                    <a:pt x="18652" y="3009"/>
                  </a:cubicBezTo>
                  <a:lnTo>
                    <a:pt x="18652" y="4191"/>
                  </a:lnTo>
                  <a:cubicBezTo>
                    <a:pt x="18652" y="4359"/>
                    <a:pt x="18606" y="4505"/>
                    <a:pt x="18514" y="4627"/>
                  </a:cubicBezTo>
                  <a:cubicBezTo>
                    <a:pt x="18422" y="4749"/>
                    <a:pt x="18307" y="4809"/>
                    <a:pt x="18169" y="4809"/>
                  </a:cubicBezTo>
                  <a:lnTo>
                    <a:pt x="17179" y="4809"/>
                  </a:lnTo>
                  <a:cubicBezTo>
                    <a:pt x="17056" y="4809"/>
                    <a:pt x="16944" y="4749"/>
                    <a:pt x="16845" y="4627"/>
                  </a:cubicBezTo>
                  <a:cubicBezTo>
                    <a:pt x="16745" y="4505"/>
                    <a:pt x="16695" y="4359"/>
                    <a:pt x="16695" y="4191"/>
                  </a:cubicBezTo>
                  <a:lnTo>
                    <a:pt x="16695" y="3009"/>
                  </a:lnTo>
                  <a:cubicBezTo>
                    <a:pt x="16695" y="2841"/>
                    <a:pt x="16745" y="2696"/>
                    <a:pt x="16845" y="2573"/>
                  </a:cubicBezTo>
                  <a:cubicBezTo>
                    <a:pt x="16944" y="2452"/>
                    <a:pt x="17056" y="2391"/>
                    <a:pt x="17179" y="2391"/>
                  </a:cubicBezTo>
                  <a:lnTo>
                    <a:pt x="18169" y="2391"/>
                  </a:lnTo>
                  <a:lnTo>
                    <a:pt x="18169" y="2391"/>
                  </a:lnTo>
                  <a:lnTo>
                    <a:pt x="18169" y="2391"/>
                  </a:lnTo>
                  <a:close/>
                  <a:moveTo>
                    <a:pt x="15221" y="5991"/>
                  </a:moveTo>
                  <a:cubicBezTo>
                    <a:pt x="15359" y="5991"/>
                    <a:pt x="15475" y="6052"/>
                    <a:pt x="15567" y="6173"/>
                  </a:cubicBezTo>
                  <a:cubicBezTo>
                    <a:pt x="15659" y="6296"/>
                    <a:pt x="15705" y="6441"/>
                    <a:pt x="15705" y="6609"/>
                  </a:cubicBezTo>
                  <a:lnTo>
                    <a:pt x="15705" y="7791"/>
                  </a:lnTo>
                  <a:cubicBezTo>
                    <a:pt x="15705" y="7959"/>
                    <a:pt x="15659" y="8105"/>
                    <a:pt x="15567" y="8227"/>
                  </a:cubicBezTo>
                  <a:cubicBezTo>
                    <a:pt x="15475" y="8349"/>
                    <a:pt x="15359" y="8409"/>
                    <a:pt x="15221" y="8409"/>
                  </a:cubicBezTo>
                  <a:lnTo>
                    <a:pt x="14231" y="8409"/>
                  </a:lnTo>
                  <a:cubicBezTo>
                    <a:pt x="14108" y="8409"/>
                    <a:pt x="13997" y="8349"/>
                    <a:pt x="13897" y="8227"/>
                  </a:cubicBezTo>
                  <a:cubicBezTo>
                    <a:pt x="13797" y="8105"/>
                    <a:pt x="13748" y="7959"/>
                    <a:pt x="13748" y="7791"/>
                  </a:cubicBezTo>
                  <a:lnTo>
                    <a:pt x="13748" y="6609"/>
                  </a:lnTo>
                  <a:cubicBezTo>
                    <a:pt x="13748" y="6441"/>
                    <a:pt x="13797" y="6296"/>
                    <a:pt x="13897" y="6173"/>
                  </a:cubicBezTo>
                  <a:cubicBezTo>
                    <a:pt x="13997" y="6052"/>
                    <a:pt x="14108" y="5991"/>
                    <a:pt x="14231" y="5991"/>
                  </a:cubicBezTo>
                  <a:lnTo>
                    <a:pt x="15221" y="5991"/>
                  </a:lnTo>
                  <a:lnTo>
                    <a:pt x="15221" y="5991"/>
                  </a:lnTo>
                  <a:lnTo>
                    <a:pt x="15221" y="5991"/>
                  </a:lnTo>
                  <a:close/>
                  <a:moveTo>
                    <a:pt x="18169" y="5991"/>
                  </a:moveTo>
                  <a:cubicBezTo>
                    <a:pt x="18307" y="5991"/>
                    <a:pt x="18422" y="6052"/>
                    <a:pt x="18514" y="6173"/>
                  </a:cubicBezTo>
                  <a:cubicBezTo>
                    <a:pt x="18606" y="6296"/>
                    <a:pt x="18652" y="6441"/>
                    <a:pt x="18652" y="6609"/>
                  </a:cubicBezTo>
                  <a:lnTo>
                    <a:pt x="18652" y="7791"/>
                  </a:lnTo>
                  <a:cubicBezTo>
                    <a:pt x="18652" y="7959"/>
                    <a:pt x="18606" y="8105"/>
                    <a:pt x="18514" y="8227"/>
                  </a:cubicBezTo>
                  <a:cubicBezTo>
                    <a:pt x="18422" y="8349"/>
                    <a:pt x="18307" y="8409"/>
                    <a:pt x="18169" y="8409"/>
                  </a:cubicBezTo>
                  <a:lnTo>
                    <a:pt x="17179" y="8409"/>
                  </a:lnTo>
                  <a:cubicBezTo>
                    <a:pt x="17056" y="8409"/>
                    <a:pt x="16944" y="8349"/>
                    <a:pt x="16845" y="8227"/>
                  </a:cubicBezTo>
                  <a:cubicBezTo>
                    <a:pt x="16745" y="8105"/>
                    <a:pt x="16695" y="7959"/>
                    <a:pt x="16695" y="7791"/>
                  </a:cubicBezTo>
                  <a:lnTo>
                    <a:pt x="16695" y="6609"/>
                  </a:lnTo>
                  <a:cubicBezTo>
                    <a:pt x="16695" y="6441"/>
                    <a:pt x="16745" y="6296"/>
                    <a:pt x="16845" y="6173"/>
                  </a:cubicBezTo>
                  <a:cubicBezTo>
                    <a:pt x="16944" y="6052"/>
                    <a:pt x="17056" y="5991"/>
                    <a:pt x="17179" y="5991"/>
                  </a:cubicBezTo>
                  <a:lnTo>
                    <a:pt x="18169" y="5991"/>
                  </a:lnTo>
                  <a:lnTo>
                    <a:pt x="18169" y="5991"/>
                  </a:lnTo>
                  <a:lnTo>
                    <a:pt x="18169" y="5991"/>
                  </a:lnTo>
                  <a:close/>
                  <a:moveTo>
                    <a:pt x="18169" y="9591"/>
                  </a:moveTo>
                  <a:cubicBezTo>
                    <a:pt x="18307" y="9591"/>
                    <a:pt x="18422" y="9652"/>
                    <a:pt x="18514" y="9773"/>
                  </a:cubicBezTo>
                  <a:cubicBezTo>
                    <a:pt x="18606" y="9896"/>
                    <a:pt x="18652" y="10041"/>
                    <a:pt x="18652" y="10209"/>
                  </a:cubicBezTo>
                  <a:lnTo>
                    <a:pt x="18652" y="11391"/>
                  </a:lnTo>
                  <a:cubicBezTo>
                    <a:pt x="18652" y="11559"/>
                    <a:pt x="18606" y="11705"/>
                    <a:pt x="18514" y="11827"/>
                  </a:cubicBezTo>
                  <a:cubicBezTo>
                    <a:pt x="18422" y="11949"/>
                    <a:pt x="18307" y="12009"/>
                    <a:pt x="18169" y="12009"/>
                  </a:cubicBezTo>
                  <a:lnTo>
                    <a:pt x="17179" y="12009"/>
                  </a:lnTo>
                  <a:cubicBezTo>
                    <a:pt x="17056" y="12009"/>
                    <a:pt x="16944" y="11949"/>
                    <a:pt x="16845" y="11827"/>
                  </a:cubicBezTo>
                  <a:cubicBezTo>
                    <a:pt x="16745" y="11705"/>
                    <a:pt x="16695" y="11559"/>
                    <a:pt x="16695" y="11391"/>
                  </a:cubicBezTo>
                  <a:lnTo>
                    <a:pt x="16695" y="10209"/>
                  </a:lnTo>
                  <a:cubicBezTo>
                    <a:pt x="16695" y="10041"/>
                    <a:pt x="16745" y="9896"/>
                    <a:pt x="16845" y="9773"/>
                  </a:cubicBezTo>
                  <a:cubicBezTo>
                    <a:pt x="16944" y="9652"/>
                    <a:pt x="17056" y="9591"/>
                    <a:pt x="17179" y="9591"/>
                  </a:cubicBezTo>
                  <a:lnTo>
                    <a:pt x="18169" y="9591"/>
                  </a:lnTo>
                  <a:lnTo>
                    <a:pt x="18169" y="9591"/>
                  </a:lnTo>
                  <a:lnTo>
                    <a:pt x="18169" y="9591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miter lim="400000"/>
            </a:ln>
          </p:spPr>
          <p:txBody>
            <a:bodyPr lIns="27428" tIns="27428" rIns="27428" bIns="27428" anchor="ctr"/>
            <a:lstStyle/>
            <a:p>
              <a:pPr marL="0" marR="0" lvl="0" indent="0" algn="l" defTabSz="3291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b="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lang="pt-BR" sz="1296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sym typeface="Gill Sans"/>
              </a:endParaRPr>
            </a:p>
          </p:txBody>
        </p:sp>
      </p:grpSp>
      <p:grpSp>
        <p:nvGrpSpPr>
          <p:cNvPr id="60" name="Agrupar 59">
            <a:extLst>
              <a:ext uri="{FF2B5EF4-FFF2-40B4-BE49-F238E27FC236}">
                <a16:creationId xmlns:a16="http://schemas.microsoft.com/office/drawing/2014/main" id="{F35904C4-56BE-D6CC-3DF0-02EA6C90AA76}"/>
              </a:ext>
            </a:extLst>
          </p:cNvPr>
          <p:cNvGrpSpPr/>
          <p:nvPr/>
        </p:nvGrpSpPr>
        <p:grpSpPr>
          <a:xfrm>
            <a:off x="10185676" y="3611748"/>
            <a:ext cx="631908" cy="463049"/>
            <a:chOff x="1794065" y="3269051"/>
            <a:chExt cx="631907" cy="463049"/>
          </a:xfrm>
        </p:grpSpPr>
        <p:sp>
          <p:nvSpPr>
            <p:cNvPr id="61" name="CaixaDeTexto 60">
              <a:extLst>
                <a:ext uri="{FF2B5EF4-FFF2-40B4-BE49-F238E27FC236}">
                  <a16:creationId xmlns:a16="http://schemas.microsoft.com/office/drawing/2014/main" id="{C13AC4D7-02E5-EE97-723E-53A491144254}"/>
                </a:ext>
              </a:extLst>
            </p:cNvPr>
            <p:cNvSpPr txBox="1"/>
            <p:nvPr/>
          </p:nvSpPr>
          <p:spPr>
            <a:xfrm>
              <a:off x="1794065" y="3501268"/>
              <a:ext cx="63190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3165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PUC</a:t>
              </a:r>
            </a:p>
          </p:txBody>
        </p:sp>
        <p:sp>
          <p:nvSpPr>
            <p:cNvPr id="62" name="Forma">
              <a:extLst>
                <a:ext uri="{FF2B5EF4-FFF2-40B4-BE49-F238E27FC236}">
                  <a16:creationId xmlns:a16="http://schemas.microsoft.com/office/drawing/2014/main" id="{2C088FC6-8F37-6CFE-7C46-E83FFC791EC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56127" y="3269051"/>
              <a:ext cx="307782" cy="252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62" y="21417"/>
                  </a:moveTo>
                  <a:cubicBezTo>
                    <a:pt x="21554" y="21295"/>
                    <a:pt x="21600" y="21160"/>
                    <a:pt x="21600" y="21009"/>
                  </a:cubicBezTo>
                  <a:cubicBezTo>
                    <a:pt x="21600" y="20841"/>
                    <a:pt x="21554" y="20696"/>
                    <a:pt x="21462" y="20573"/>
                  </a:cubicBezTo>
                  <a:cubicBezTo>
                    <a:pt x="21370" y="20452"/>
                    <a:pt x="21255" y="20391"/>
                    <a:pt x="21116" y="20391"/>
                  </a:cubicBezTo>
                  <a:lnTo>
                    <a:pt x="484" y="20391"/>
                  </a:lnTo>
                  <a:cubicBezTo>
                    <a:pt x="345" y="20391"/>
                    <a:pt x="230" y="20452"/>
                    <a:pt x="138" y="20573"/>
                  </a:cubicBezTo>
                  <a:cubicBezTo>
                    <a:pt x="46" y="20696"/>
                    <a:pt x="0" y="20841"/>
                    <a:pt x="0" y="21009"/>
                  </a:cubicBezTo>
                  <a:cubicBezTo>
                    <a:pt x="0" y="21160"/>
                    <a:pt x="46" y="21295"/>
                    <a:pt x="138" y="21417"/>
                  </a:cubicBezTo>
                  <a:cubicBezTo>
                    <a:pt x="230" y="21539"/>
                    <a:pt x="345" y="21600"/>
                    <a:pt x="484" y="21600"/>
                  </a:cubicBezTo>
                  <a:lnTo>
                    <a:pt x="21116" y="21600"/>
                  </a:lnTo>
                  <a:lnTo>
                    <a:pt x="21116" y="21600"/>
                  </a:lnTo>
                  <a:lnTo>
                    <a:pt x="21116" y="21600"/>
                  </a:lnTo>
                  <a:cubicBezTo>
                    <a:pt x="21255" y="21600"/>
                    <a:pt x="21370" y="21539"/>
                    <a:pt x="21462" y="21417"/>
                  </a:cubicBezTo>
                  <a:lnTo>
                    <a:pt x="21462" y="21417"/>
                  </a:lnTo>
                  <a:close/>
                  <a:moveTo>
                    <a:pt x="19643" y="15609"/>
                  </a:moveTo>
                  <a:lnTo>
                    <a:pt x="1957" y="15609"/>
                  </a:lnTo>
                  <a:lnTo>
                    <a:pt x="1957" y="1209"/>
                  </a:lnTo>
                  <a:lnTo>
                    <a:pt x="19643" y="1209"/>
                  </a:lnTo>
                  <a:lnTo>
                    <a:pt x="19643" y="15609"/>
                  </a:lnTo>
                  <a:lnTo>
                    <a:pt x="19643" y="15609"/>
                  </a:lnTo>
                  <a:close/>
                  <a:moveTo>
                    <a:pt x="1957" y="0"/>
                  </a:moveTo>
                  <a:cubicBezTo>
                    <a:pt x="1681" y="0"/>
                    <a:pt x="1447" y="117"/>
                    <a:pt x="1255" y="352"/>
                  </a:cubicBezTo>
                  <a:cubicBezTo>
                    <a:pt x="1063" y="586"/>
                    <a:pt x="967" y="872"/>
                    <a:pt x="967" y="1209"/>
                  </a:cubicBezTo>
                  <a:lnTo>
                    <a:pt x="967" y="15609"/>
                  </a:lnTo>
                  <a:cubicBezTo>
                    <a:pt x="967" y="15928"/>
                    <a:pt x="1063" y="16205"/>
                    <a:pt x="1255" y="16439"/>
                  </a:cubicBezTo>
                  <a:cubicBezTo>
                    <a:pt x="1447" y="16674"/>
                    <a:pt x="1681" y="16791"/>
                    <a:pt x="1957" y="16791"/>
                  </a:cubicBezTo>
                  <a:lnTo>
                    <a:pt x="19643" y="16791"/>
                  </a:lnTo>
                  <a:cubicBezTo>
                    <a:pt x="19919" y="16791"/>
                    <a:pt x="20153" y="16674"/>
                    <a:pt x="20345" y="16439"/>
                  </a:cubicBezTo>
                  <a:cubicBezTo>
                    <a:pt x="20537" y="16205"/>
                    <a:pt x="20633" y="15928"/>
                    <a:pt x="20633" y="15609"/>
                  </a:cubicBezTo>
                  <a:lnTo>
                    <a:pt x="20633" y="1209"/>
                  </a:lnTo>
                  <a:cubicBezTo>
                    <a:pt x="20633" y="872"/>
                    <a:pt x="20537" y="586"/>
                    <a:pt x="20345" y="352"/>
                  </a:cubicBezTo>
                  <a:cubicBezTo>
                    <a:pt x="20153" y="117"/>
                    <a:pt x="19919" y="0"/>
                    <a:pt x="19643" y="0"/>
                  </a:cubicBezTo>
                  <a:lnTo>
                    <a:pt x="1957" y="0"/>
                  </a:lnTo>
                  <a:lnTo>
                    <a:pt x="1957" y="0"/>
                  </a:lnTo>
                  <a:close/>
                  <a:moveTo>
                    <a:pt x="15221" y="2391"/>
                  </a:moveTo>
                  <a:cubicBezTo>
                    <a:pt x="15359" y="2391"/>
                    <a:pt x="15475" y="2452"/>
                    <a:pt x="15567" y="2573"/>
                  </a:cubicBezTo>
                  <a:cubicBezTo>
                    <a:pt x="15659" y="2696"/>
                    <a:pt x="15705" y="2841"/>
                    <a:pt x="15705" y="3009"/>
                  </a:cubicBezTo>
                  <a:lnTo>
                    <a:pt x="15705" y="4191"/>
                  </a:lnTo>
                  <a:cubicBezTo>
                    <a:pt x="15705" y="4359"/>
                    <a:pt x="15659" y="4505"/>
                    <a:pt x="15567" y="4627"/>
                  </a:cubicBezTo>
                  <a:cubicBezTo>
                    <a:pt x="15475" y="4749"/>
                    <a:pt x="15359" y="4809"/>
                    <a:pt x="15221" y="4809"/>
                  </a:cubicBezTo>
                  <a:lnTo>
                    <a:pt x="14231" y="4809"/>
                  </a:lnTo>
                  <a:cubicBezTo>
                    <a:pt x="14108" y="4809"/>
                    <a:pt x="13997" y="4749"/>
                    <a:pt x="13897" y="4627"/>
                  </a:cubicBezTo>
                  <a:cubicBezTo>
                    <a:pt x="13797" y="4505"/>
                    <a:pt x="13748" y="4359"/>
                    <a:pt x="13748" y="4191"/>
                  </a:cubicBezTo>
                  <a:lnTo>
                    <a:pt x="13748" y="3009"/>
                  </a:lnTo>
                  <a:cubicBezTo>
                    <a:pt x="13748" y="2841"/>
                    <a:pt x="13797" y="2696"/>
                    <a:pt x="13897" y="2573"/>
                  </a:cubicBezTo>
                  <a:cubicBezTo>
                    <a:pt x="13997" y="2452"/>
                    <a:pt x="14108" y="2391"/>
                    <a:pt x="14231" y="2391"/>
                  </a:cubicBezTo>
                  <a:lnTo>
                    <a:pt x="15221" y="2391"/>
                  </a:lnTo>
                  <a:lnTo>
                    <a:pt x="15221" y="2391"/>
                  </a:lnTo>
                  <a:lnTo>
                    <a:pt x="15221" y="2391"/>
                  </a:lnTo>
                  <a:close/>
                  <a:moveTo>
                    <a:pt x="18169" y="2391"/>
                  </a:moveTo>
                  <a:cubicBezTo>
                    <a:pt x="18307" y="2391"/>
                    <a:pt x="18422" y="2452"/>
                    <a:pt x="18514" y="2573"/>
                  </a:cubicBezTo>
                  <a:cubicBezTo>
                    <a:pt x="18606" y="2696"/>
                    <a:pt x="18652" y="2841"/>
                    <a:pt x="18652" y="3009"/>
                  </a:cubicBezTo>
                  <a:lnTo>
                    <a:pt x="18652" y="4191"/>
                  </a:lnTo>
                  <a:cubicBezTo>
                    <a:pt x="18652" y="4359"/>
                    <a:pt x="18606" y="4505"/>
                    <a:pt x="18514" y="4627"/>
                  </a:cubicBezTo>
                  <a:cubicBezTo>
                    <a:pt x="18422" y="4749"/>
                    <a:pt x="18307" y="4809"/>
                    <a:pt x="18169" y="4809"/>
                  </a:cubicBezTo>
                  <a:lnTo>
                    <a:pt x="17179" y="4809"/>
                  </a:lnTo>
                  <a:cubicBezTo>
                    <a:pt x="17056" y="4809"/>
                    <a:pt x="16944" y="4749"/>
                    <a:pt x="16845" y="4627"/>
                  </a:cubicBezTo>
                  <a:cubicBezTo>
                    <a:pt x="16745" y="4505"/>
                    <a:pt x="16695" y="4359"/>
                    <a:pt x="16695" y="4191"/>
                  </a:cubicBezTo>
                  <a:lnTo>
                    <a:pt x="16695" y="3009"/>
                  </a:lnTo>
                  <a:cubicBezTo>
                    <a:pt x="16695" y="2841"/>
                    <a:pt x="16745" y="2696"/>
                    <a:pt x="16845" y="2573"/>
                  </a:cubicBezTo>
                  <a:cubicBezTo>
                    <a:pt x="16944" y="2452"/>
                    <a:pt x="17056" y="2391"/>
                    <a:pt x="17179" y="2391"/>
                  </a:cubicBezTo>
                  <a:lnTo>
                    <a:pt x="18169" y="2391"/>
                  </a:lnTo>
                  <a:lnTo>
                    <a:pt x="18169" y="2391"/>
                  </a:lnTo>
                  <a:lnTo>
                    <a:pt x="18169" y="2391"/>
                  </a:lnTo>
                  <a:close/>
                  <a:moveTo>
                    <a:pt x="15221" y="5991"/>
                  </a:moveTo>
                  <a:cubicBezTo>
                    <a:pt x="15359" y="5991"/>
                    <a:pt x="15475" y="6052"/>
                    <a:pt x="15567" y="6173"/>
                  </a:cubicBezTo>
                  <a:cubicBezTo>
                    <a:pt x="15659" y="6296"/>
                    <a:pt x="15705" y="6441"/>
                    <a:pt x="15705" y="6609"/>
                  </a:cubicBezTo>
                  <a:lnTo>
                    <a:pt x="15705" y="7791"/>
                  </a:lnTo>
                  <a:cubicBezTo>
                    <a:pt x="15705" y="7959"/>
                    <a:pt x="15659" y="8105"/>
                    <a:pt x="15567" y="8227"/>
                  </a:cubicBezTo>
                  <a:cubicBezTo>
                    <a:pt x="15475" y="8349"/>
                    <a:pt x="15359" y="8409"/>
                    <a:pt x="15221" y="8409"/>
                  </a:cubicBezTo>
                  <a:lnTo>
                    <a:pt x="14231" y="8409"/>
                  </a:lnTo>
                  <a:cubicBezTo>
                    <a:pt x="14108" y="8409"/>
                    <a:pt x="13997" y="8349"/>
                    <a:pt x="13897" y="8227"/>
                  </a:cubicBezTo>
                  <a:cubicBezTo>
                    <a:pt x="13797" y="8105"/>
                    <a:pt x="13748" y="7959"/>
                    <a:pt x="13748" y="7791"/>
                  </a:cubicBezTo>
                  <a:lnTo>
                    <a:pt x="13748" y="6609"/>
                  </a:lnTo>
                  <a:cubicBezTo>
                    <a:pt x="13748" y="6441"/>
                    <a:pt x="13797" y="6296"/>
                    <a:pt x="13897" y="6173"/>
                  </a:cubicBezTo>
                  <a:cubicBezTo>
                    <a:pt x="13997" y="6052"/>
                    <a:pt x="14108" y="5991"/>
                    <a:pt x="14231" y="5991"/>
                  </a:cubicBezTo>
                  <a:lnTo>
                    <a:pt x="15221" y="5991"/>
                  </a:lnTo>
                  <a:lnTo>
                    <a:pt x="15221" y="5991"/>
                  </a:lnTo>
                  <a:lnTo>
                    <a:pt x="15221" y="5991"/>
                  </a:lnTo>
                  <a:close/>
                  <a:moveTo>
                    <a:pt x="18169" y="5991"/>
                  </a:moveTo>
                  <a:cubicBezTo>
                    <a:pt x="18307" y="5991"/>
                    <a:pt x="18422" y="6052"/>
                    <a:pt x="18514" y="6173"/>
                  </a:cubicBezTo>
                  <a:cubicBezTo>
                    <a:pt x="18606" y="6296"/>
                    <a:pt x="18652" y="6441"/>
                    <a:pt x="18652" y="6609"/>
                  </a:cubicBezTo>
                  <a:lnTo>
                    <a:pt x="18652" y="7791"/>
                  </a:lnTo>
                  <a:cubicBezTo>
                    <a:pt x="18652" y="7959"/>
                    <a:pt x="18606" y="8105"/>
                    <a:pt x="18514" y="8227"/>
                  </a:cubicBezTo>
                  <a:cubicBezTo>
                    <a:pt x="18422" y="8349"/>
                    <a:pt x="18307" y="8409"/>
                    <a:pt x="18169" y="8409"/>
                  </a:cubicBezTo>
                  <a:lnTo>
                    <a:pt x="17179" y="8409"/>
                  </a:lnTo>
                  <a:cubicBezTo>
                    <a:pt x="17056" y="8409"/>
                    <a:pt x="16944" y="8349"/>
                    <a:pt x="16845" y="8227"/>
                  </a:cubicBezTo>
                  <a:cubicBezTo>
                    <a:pt x="16745" y="8105"/>
                    <a:pt x="16695" y="7959"/>
                    <a:pt x="16695" y="7791"/>
                  </a:cubicBezTo>
                  <a:lnTo>
                    <a:pt x="16695" y="6609"/>
                  </a:lnTo>
                  <a:cubicBezTo>
                    <a:pt x="16695" y="6441"/>
                    <a:pt x="16745" y="6296"/>
                    <a:pt x="16845" y="6173"/>
                  </a:cubicBezTo>
                  <a:cubicBezTo>
                    <a:pt x="16944" y="6052"/>
                    <a:pt x="17056" y="5991"/>
                    <a:pt x="17179" y="5991"/>
                  </a:cubicBezTo>
                  <a:lnTo>
                    <a:pt x="18169" y="5991"/>
                  </a:lnTo>
                  <a:lnTo>
                    <a:pt x="18169" y="5991"/>
                  </a:lnTo>
                  <a:lnTo>
                    <a:pt x="18169" y="5991"/>
                  </a:lnTo>
                  <a:close/>
                  <a:moveTo>
                    <a:pt x="18169" y="9591"/>
                  </a:moveTo>
                  <a:cubicBezTo>
                    <a:pt x="18307" y="9591"/>
                    <a:pt x="18422" y="9652"/>
                    <a:pt x="18514" y="9773"/>
                  </a:cubicBezTo>
                  <a:cubicBezTo>
                    <a:pt x="18606" y="9896"/>
                    <a:pt x="18652" y="10041"/>
                    <a:pt x="18652" y="10209"/>
                  </a:cubicBezTo>
                  <a:lnTo>
                    <a:pt x="18652" y="11391"/>
                  </a:lnTo>
                  <a:cubicBezTo>
                    <a:pt x="18652" y="11559"/>
                    <a:pt x="18606" y="11705"/>
                    <a:pt x="18514" y="11827"/>
                  </a:cubicBezTo>
                  <a:cubicBezTo>
                    <a:pt x="18422" y="11949"/>
                    <a:pt x="18307" y="12009"/>
                    <a:pt x="18169" y="12009"/>
                  </a:cubicBezTo>
                  <a:lnTo>
                    <a:pt x="17179" y="12009"/>
                  </a:lnTo>
                  <a:cubicBezTo>
                    <a:pt x="17056" y="12009"/>
                    <a:pt x="16944" y="11949"/>
                    <a:pt x="16845" y="11827"/>
                  </a:cubicBezTo>
                  <a:cubicBezTo>
                    <a:pt x="16745" y="11705"/>
                    <a:pt x="16695" y="11559"/>
                    <a:pt x="16695" y="11391"/>
                  </a:cubicBezTo>
                  <a:lnTo>
                    <a:pt x="16695" y="10209"/>
                  </a:lnTo>
                  <a:cubicBezTo>
                    <a:pt x="16695" y="10041"/>
                    <a:pt x="16745" y="9896"/>
                    <a:pt x="16845" y="9773"/>
                  </a:cubicBezTo>
                  <a:cubicBezTo>
                    <a:pt x="16944" y="9652"/>
                    <a:pt x="17056" y="9591"/>
                    <a:pt x="17179" y="9591"/>
                  </a:cubicBezTo>
                  <a:lnTo>
                    <a:pt x="18169" y="9591"/>
                  </a:lnTo>
                  <a:lnTo>
                    <a:pt x="18169" y="9591"/>
                  </a:lnTo>
                  <a:lnTo>
                    <a:pt x="18169" y="9591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miter lim="400000"/>
            </a:ln>
          </p:spPr>
          <p:txBody>
            <a:bodyPr lIns="27428" tIns="27428" rIns="27428" bIns="27428" anchor="ctr"/>
            <a:lstStyle/>
            <a:p>
              <a:pPr marL="0" marR="0" lvl="0" indent="0" algn="l" defTabSz="3291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b="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lang="pt-BR" sz="1296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sym typeface="Gill Sans"/>
              </a:endParaRPr>
            </a:p>
          </p:txBody>
        </p:sp>
      </p:grpSp>
      <p:grpSp>
        <p:nvGrpSpPr>
          <p:cNvPr id="63" name="Agrupar 62">
            <a:extLst>
              <a:ext uri="{FF2B5EF4-FFF2-40B4-BE49-F238E27FC236}">
                <a16:creationId xmlns:a16="http://schemas.microsoft.com/office/drawing/2014/main" id="{41F8A547-ECA9-7A90-BE9B-B8BB4F15E8AD}"/>
              </a:ext>
            </a:extLst>
          </p:cNvPr>
          <p:cNvGrpSpPr/>
          <p:nvPr/>
        </p:nvGrpSpPr>
        <p:grpSpPr>
          <a:xfrm>
            <a:off x="10185676" y="2479623"/>
            <a:ext cx="631908" cy="601549"/>
            <a:chOff x="1794065" y="3076543"/>
            <a:chExt cx="631907" cy="601549"/>
          </a:xfrm>
        </p:grpSpPr>
        <p:sp>
          <p:nvSpPr>
            <p:cNvPr id="1344" name="CaixaDeTexto 1343">
              <a:extLst>
                <a:ext uri="{FF2B5EF4-FFF2-40B4-BE49-F238E27FC236}">
                  <a16:creationId xmlns:a16="http://schemas.microsoft.com/office/drawing/2014/main" id="{E4D198E9-7EB5-37E7-3687-6084B1EEB545}"/>
                </a:ext>
              </a:extLst>
            </p:cNvPr>
            <p:cNvSpPr txBox="1"/>
            <p:nvPr/>
          </p:nvSpPr>
          <p:spPr>
            <a:xfrm>
              <a:off x="1794065" y="3308760"/>
              <a:ext cx="63190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3165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Sites terceiros</a:t>
              </a:r>
            </a:p>
          </p:txBody>
        </p:sp>
        <p:sp>
          <p:nvSpPr>
            <p:cNvPr id="1345" name="Forma">
              <a:extLst>
                <a:ext uri="{FF2B5EF4-FFF2-40B4-BE49-F238E27FC236}">
                  <a16:creationId xmlns:a16="http://schemas.microsoft.com/office/drawing/2014/main" id="{A97221F0-1C1D-08ED-2190-1E4FDDC5E60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56127" y="3076543"/>
              <a:ext cx="307782" cy="252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62" y="21417"/>
                  </a:moveTo>
                  <a:cubicBezTo>
                    <a:pt x="21554" y="21295"/>
                    <a:pt x="21600" y="21160"/>
                    <a:pt x="21600" y="21009"/>
                  </a:cubicBezTo>
                  <a:cubicBezTo>
                    <a:pt x="21600" y="20841"/>
                    <a:pt x="21554" y="20696"/>
                    <a:pt x="21462" y="20573"/>
                  </a:cubicBezTo>
                  <a:cubicBezTo>
                    <a:pt x="21370" y="20452"/>
                    <a:pt x="21255" y="20391"/>
                    <a:pt x="21116" y="20391"/>
                  </a:cubicBezTo>
                  <a:lnTo>
                    <a:pt x="484" y="20391"/>
                  </a:lnTo>
                  <a:cubicBezTo>
                    <a:pt x="345" y="20391"/>
                    <a:pt x="230" y="20452"/>
                    <a:pt x="138" y="20573"/>
                  </a:cubicBezTo>
                  <a:cubicBezTo>
                    <a:pt x="46" y="20696"/>
                    <a:pt x="0" y="20841"/>
                    <a:pt x="0" y="21009"/>
                  </a:cubicBezTo>
                  <a:cubicBezTo>
                    <a:pt x="0" y="21160"/>
                    <a:pt x="46" y="21295"/>
                    <a:pt x="138" y="21417"/>
                  </a:cubicBezTo>
                  <a:cubicBezTo>
                    <a:pt x="230" y="21539"/>
                    <a:pt x="345" y="21600"/>
                    <a:pt x="484" y="21600"/>
                  </a:cubicBezTo>
                  <a:lnTo>
                    <a:pt x="21116" y="21600"/>
                  </a:lnTo>
                  <a:lnTo>
                    <a:pt x="21116" y="21600"/>
                  </a:lnTo>
                  <a:lnTo>
                    <a:pt x="21116" y="21600"/>
                  </a:lnTo>
                  <a:cubicBezTo>
                    <a:pt x="21255" y="21600"/>
                    <a:pt x="21370" y="21539"/>
                    <a:pt x="21462" y="21417"/>
                  </a:cubicBezTo>
                  <a:lnTo>
                    <a:pt x="21462" y="21417"/>
                  </a:lnTo>
                  <a:close/>
                  <a:moveTo>
                    <a:pt x="19643" y="15609"/>
                  </a:moveTo>
                  <a:lnTo>
                    <a:pt x="1957" y="15609"/>
                  </a:lnTo>
                  <a:lnTo>
                    <a:pt x="1957" y="1209"/>
                  </a:lnTo>
                  <a:lnTo>
                    <a:pt x="19643" y="1209"/>
                  </a:lnTo>
                  <a:lnTo>
                    <a:pt x="19643" y="15609"/>
                  </a:lnTo>
                  <a:lnTo>
                    <a:pt x="19643" y="15609"/>
                  </a:lnTo>
                  <a:close/>
                  <a:moveTo>
                    <a:pt x="1957" y="0"/>
                  </a:moveTo>
                  <a:cubicBezTo>
                    <a:pt x="1681" y="0"/>
                    <a:pt x="1447" y="117"/>
                    <a:pt x="1255" y="352"/>
                  </a:cubicBezTo>
                  <a:cubicBezTo>
                    <a:pt x="1063" y="586"/>
                    <a:pt x="967" y="872"/>
                    <a:pt x="967" y="1209"/>
                  </a:cubicBezTo>
                  <a:lnTo>
                    <a:pt x="967" y="15609"/>
                  </a:lnTo>
                  <a:cubicBezTo>
                    <a:pt x="967" y="15928"/>
                    <a:pt x="1063" y="16205"/>
                    <a:pt x="1255" y="16439"/>
                  </a:cubicBezTo>
                  <a:cubicBezTo>
                    <a:pt x="1447" y="16674"/>
                    <a:pt x="1681" y="16791"/>
                    <a:pt x="1957" y="16791"/>
                  </a:cubicBezTo>
                  <a:lnTo>
                    <a:pt x="19643" y="16791"/>
                  </a:lnTo>
                  <a:cubicBezTo>
                    <a:pt x="19919" y="16791"/>
                    <a:pt x="20153" y="16674"/>
                    <a:pt x="20345" y="16439"/>
                  </a:cubicBezTo>
                  <a:cubicBezTo>
                    <a:pt x="20537" y="16205"/>
                    <a:pt x="20633" y="15928"/>
                    <a:pt x="20633" y="15609"/>
                  </a:cubicBezTo>
                  <a:lnTo>
                    <a:pt x="20633" y="1209"/>
                  </a:lnTo>
                  <a:cubicBezTo>
                    <a:pt x="20633" y="872"/>
                    <a:pt x="20537" y="586"/>
                    <a:pt x="20345" y="352"/>
                  </a:cubicBezTo>
                  <a:cubicBezTo>
                    <a:pt x="20153" y="117"/>
                    <a:pt x="19919" y="0"/>
                    <a:pt x="19643" y="0"/>
                  </a:cubicBezTo>
                  <a:lnTo>
                    <a:pt x="1957" y="0"/>
                  </a:lnTo>
                  <a:lnTo>
                    <a:pt x="1957" y="0"/>
                  </a:lnTo>
                  <a:close/>
                  <a:moveTo>
                    <a:pt x="15221" y="2391"/>
                  </a:moveTo>
                  <a:cubicBezTo>
                    <a:pt x="15359" y="2391"/>
                    <a:pt x="15475" y="2452"/>
                    <a:pt x="15567" y="2573"/>
                  </a:cubicBezTo>
                  <a:cubicBezTo>
                    <a:pt x="15659" y="2696"/>
                    <a:pt x="15705" y="2841"/>
                    <a:pt x="15705" y="3009"/>
                  </a:cubicBezTo>
                  <a:lnTo>
                    <a:pt x="15705" y="4191"/>
                  </a:lnTo>
                  <a:cubicBezTo>
                    <a:pt x="15705" y="4359"/>
                    <a:pt x="15659" y="4505"/>
                    <a:pt x="15567" y="4627"/>
                  </a:cubicBezTo>
                  <a:cubicBezTo>
                    <a:pt x="15475" y="4749"/>
                    <a:pt x="15359" y="4809"/>
                    <a:pt x="15221" y="4809"/>
                  </a:cubicBezTo>
                  <a:lnTo>
                    <a:pt x="14231" y="4809"/>
                  </a:lnTo>
                  <a:cubicBezTo>
                    <a:pt x="14108" y="4809"/>
                    <a:pt x="13997" y="4749"/>
                    <a:pt x="13897" y="4627"/>
                  </a:cubicBezTo>
                  <a:cubicBezTo>
                    <a:pt x="13797" y="4505"/>
                    <a:pt x="13748" y="4359"/>
                    <a:pt x="13748" y="4191"/>
                  </a:cubicBezTo>
                  <a:lnTo>
                    <a:pt x="13748" y="3009"/>
                  </a:lnTo>
                  <a:cubicBezTo>
                    <a:pt x="13748" y="2841"/>
                    <a:pt x="13797" y="2696"/>
                    <a:pt x="13897" y="2573"/>
                  </a:cubicBezTo>
                  <a:cubicBezTo>
                    <a:pt x="13997" y="2452"/>
                    <a:pt x="14108" y="2391"/>
                    <a:pt x="14231" y="2391"/>
                  </a:cubicBezTo>
                  <a:lnTo>
                    <a:pt x="15221" y="2391"/>
                  </a:lnTo>
                  <a:lnTo>
                    <a:pt x="15221" y="2391"/>
                  </a:lnTo>
                  <a:lnTo>
                    <a:pt x="15221" y="2391"/>
                  </a:lnTo>
                  <a:close/>
                  <a:moveTo>
                    <a:pt x="18169" y="2391"/>
                  </a:moveTo>
                  <a:cubicBezTo>
                    <a:pt x="18307" y="2391"/>
                    <a:pt x="18422" y="2452"/>
                    <a:pt x="18514" y="2573"/>
                  </a:cubicBezTo>
                  <a:cubicBezTo>
                    <a:pt x="18606" y="2696"/>
                    <a:pt x="18652" y="2841"/>
                    <a:pt x="18652" y="3009"/>
                  </a:cubicBezTo>
                  <a:lnTo>
                    <a:pt x="18652" y="4191"/>
                  </a:lnTo>
                  <a:cubicBezTo>
                    <a:pt x="18652" y="4359"/>
                    <a:pt x="18606" y="4505"/>
                    <a:pt x="18514" y="4627"/>
                  </a:cubicBezTo>
                  <a:cubicBezTo>
                    <a:pt x="18422" y="4749"/>
                    <a:pt x="18307" y="4809"/>
                    <a:pt x="18169" y="4809"/>
                  </a:cubicBezTo>
                  <a:lnTo>
                    <a:pt x="17179" y="4809"/>
                  </a:lnTo>
                  <a:cubicBezTo>
                    <a:pt x="17056" y="4809"/>
                    <a:pt x="16944" y="4749"/>
                    <a:pt x="16845" y="4627"/>
                  </a:cubicBezTo>
                  <a:cubicBezTo>
                    <a:pt x="16745" y="4505"/>
                    <a:pt x="16695" y="4359"/>
                    <a:pt x="16695" y="4191"/>
                  </a:cubicBezTo>
                  <a:lnTo>
                    <a:pt x="16695" y="3009"/>
                  </a:lnTo>
                  <a:cubicBezTo>
                    <a:pt x="16695" y="2841"/>
                    <a:pt x="16745" y="2696"/>
                    <a:pt x="16845" y="2573"/>
                  </a:cubicBezTo>
                  <a:cubicBezTo>
                    <a:pt x="16944" y="2452"/>
                    <a:pt x="17056" y="2391"/>
                    <a:pt x="17179" y="2391"/>
                  </a:cubicBezTo>
                  <a:lnTo>
                    <a:pt x="18169" y="2391"/>
                  </a:lnTo>
                  <a:lnTo>
                    <a:pt x="18169" y="2391"/>
                  </a:lnTo>
                  <a:lnTo>
                    <a:pt x="18169" y="2391"/>
                  </a:lnTo>
                  <a:close/>
                  <a:moveTo>
                    <a:pt x="15221" y="5991"/>
                  </a:moveTo>
                  <a:cubicBezTo>
                    <a:pt x="15359" y="5991"/>
                    <a:pt x="15475" y="6052"/>
                    <a:pt x="15567" y="6173"/>
                  </a:cubicBezTo>
                  <a:cubicBezTo>
                    <a:pt x="15659" y="6296"/>
                    <a:pt x="15705" y="6441"/>
                    <a:pt x="15705" y="6609"/>
                  </a:cubicBezTo>
                  <a:lnTo>
                    <a:pt x="15705" y="7791"/>
                  </a:lnTo>
                  <a:cubicBezTo>
                    <a:pt x="15705" y="7959"/>
                    <a:pt x="15659" y="8105"/>
                    <a:pt x="15567" y="8227"/>
                  </a:cubicBezTo>
                  <a:cubicBezTo>
                    <a:pt x="15475" y="8349"/>
                    <a:pt x="15359" y="8409"/>
                    <a:pt x="15221" y="8409"/>
                  </a:cubicBezTo>
                  <a:lnTo>
                    <a:pt x="14231" y="8409"/>
                  </a:lnTo>
                  <a:cubicBezTo>
                    <a:pt x="14108" y="8409"/>
                    <a:pt x="13997" y="8349"/>
                    <a:pt x="13897" y="8227"/>
                  </a:cubicBezTo>
                  <a:cubicBezTo>
                    <a:pt x="13797" y="8105"/>
                    <a:pt x="13748" y="7959"/>
                    <a:pt x="13748" y="7791"/>
                  </a:cubicBezTo>
                  <a:lnTo>
                    <a:pt x="13748" y="6609"/>
                  </a:lnTo>
                  <a:cubicBezTo>
                    <a:pt x="13748" y="6441"/>
                    <a:pt x="13797" y="6296"/>
                    <a:pt x="13897" y="6173"/>
                  </a:cubicBezTo>
                  <a:cubicBezTo>
                    <a:pt x="13997" y="6052"/>
                    <a:pt x="14108" y="5991"/>
                    <a:pt x="14231" y="5991"/>
                  </a:cubicBezTo>
                  <a:lnTo>
                    <a:pt x="15221" y="5991"/>
                  </a:lnTo>
                  <a:lnTo>
                    <a:pt x="15221" y="5991"/>
                  </a:lnTo>
                  <a:lnTo>
                    <a:pt x="15221" y="5991"/>
                  </a:lnTo>
                  <a:close/>
                  <a:moveTo>
                    <a:pt x="18169" y="5991"/>
                  </a:moveTo>
                  <a:cubicBezTo>
                    <a:pt x="18307" y="5991"/>
                    <a:pt x="18422" y="6052"/>
                    <a:pt x="18514" y="6173"/>
                  </a:cubicBezTo>
                  <a:cubicBezTo>
                    <a:pt x="18606" y="6296"/>
                    <a:pt x="18652" y="6441"/>
                    <a:pt x="18652" y="6609"/>
                  </a:cubicBezTo>
                  <a:lnTo>
                    <a:pt x="18652" y="7791"/>
                  </a:lnTo>
                  <a:cubicBezTo>
                    <a:pt x="18652" y="7959"/>
                    <a:pt x="18606" y="8105"/>
                    <a:pt x="18514" y="8227"/>
                  </a:cubicBezTo>
                  <a:cubicBezTo>
                    <a:pt x="18422" y="8349"/>
                    <a:pt x="18307" y="8409"/>
                    <a:pt x="18169" y="8409"/>
                  </a:cubicBezTo>
                  <a:lnTo>
                    <a:pt x="17179" y="8409"/>
                  </a:lnTo>
                  <a:cubicBezTo>
                    <a:pt x="17056" y="8409"/>
                    <a:pt x="16944" y="8349"/>
                    <a:pt x="16845" y="8227"/>
                  </a:cubicBezTo>
                  <a:cubicBezTo>
                    <a:pt x="16745" y="8105"/>
                    <a:pt x="16695" y="7959"/>
                    <a:pt x="16695" y="7791"/>
                  </a:cubicBezTo>
                  <a:lnTo>
                    <a:pt x="16695" y="6609"/>
                  </a:lnTo>
                  <a:cubicBezTo>
                    <a:pt x="16695" y="6441"/>
                    <a:pt x="16745" y="6296"/>
                    <a:pt x="16845" y="6173"/>
                  </a:cubicBezTo>
                  <a:cubicBezTo>
                    <a:pt x="16944" y="6052"/>
                    <a:pt x="17056" y="5991"/>
                    <a:pt x="17179" y="5991"/>
                  </a:cubicBezTo>
                  <a:lnTo>
                    <a:pt x="18169" y="5991"/>
                  </a:lnTo>
                  <a:lnTo>
                    <a:pt x="18169" y="5991"/>
                  </a:lnTo>
                  <a:lnTo>
                    <a:pt x="18169" y="5991"/>
                  </a:lnTo>
                  <a:close/>
                  <a:moveTo>
                    <a:pt x="18169" y="9591"/>
                  </a:moveTo>
                  <a:cubicBezTo>
                    <a:pt x="18307" y="9591"/>
                    <a:pt x="18422" y="9652"/>
                    <a:pt x="18514" y="9773"/>
                  </a:cubicBezTo>
                  <a:cubicBezTo>
                    <a:pt x="18606" y="9896"/>
                    <a:pt x="18652" y="10041"/>
                    <a:pt x="18652" y="10209"/>
                  </a:cubicBezTo>
                  <a:lnTo>
                    <a:pt x="18652" y="11391"/>
                  </a:lnTo>
                  <a:cubicBezTo>
                    <a:pt x="18652" y="11559"/>
                    <a:pt x="18606" y="11705"/>
                    <a:pt x="18514" y="11827"/>
                  </a:cubicBezTo>
                  <a:cubicBezTo>
                    <a:pt x="18422" y="11949"/>
                    <a:pt x="18307" y="12009"/>
                    <a:pt x="18169" y="12009"/>
                  </a:cubicBezTo>
                  <a:lnTo>
                    <a:pt x="17179" y="12009"/>
                  </a:lnTo>
                  <a:cubicBezTo>
                    <a:pt x="17056" y="12009"/>
                    <a:pt x="16944" y="11949"/>
                    <a:pt x="16845" y="11827"/>
                  </a:cubicBezTo>
                  <a:cubicBezTo>
                    <a:pt x="16745" y="11705"/>
                    <a:pt x="16695" y="11559"/>
                    <a:pt x="16695" y="11391"/>
                  </a:cubicBezTo>
                  <a:lnTo>
                    <a:pt x="16695" y="10209"/>
                  </a:lnTo>
                  <a:cubicBezTo>
                    <a:pt x="16695" y="10041"/>
                    <a:pt x="16745" y="9896"/>
                    <a:pt x="16845" y="9773"/>
                  </a:cubicBezTo>
                  <a:cubicBezTo>
                    <a:pt x="16944" y="9652"/>
                    <a:pt x="17056" y="9591"/>
                    <a:pt x="17179" y="9591"/>
                  </a:cubicBezTo>
                  <a:lnTo>
                    <a:pt x="18169" y="9591"/>
                  </a:lnTo>
                  <a:lnTo>
                    <a:pt x="18169" y="9591"/>
                  </a:lnTo>
                  <a:lnTo>
                    <a:pt x="18169" y="9591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miter lim="400000"/>
            </a:ln>
          </p:spPr>
          <p:txBody>
            <a:bodyPr lIns="27428" tIns="27428" rIns="27428" bIns="27428" anchor="ctr"/>
            <a:lstStyle/>
            <a:p>
              <a:pPr marL="0" marR="0" lvl="0" indent="0" algn="l" defTabSz="3291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b="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lang="pt-BR" sz="1296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sym typeface="Gill Sans"/>
              </a:endParaRPr>
            </a:p>
          </p:txBody>
        </p:sp>
      </p:grpSp>
      <p:cxnSp>
        <p:nvCxnSpPr>
          <p:cNvPr id="1347" name="Conector reto 1346">
            <a:extLst>
              <a:ext uri="{FF2B5EF4-FFF2-40B4-BE49-F238E27FC236}">
                <a16:creationId xmlns:a16="http://schemas.microsoft.com/office/drawing/2014/main" id="{1D956F98-886D-A294-0CFF-D865E22365CE}"/>
              </a:ext>
            </a:extLst>
          </p:cNvPr>
          <p:cNvCxnSpPr>
            <a:cxnSpLocks/>
          </p:cNvCxnSpPr>
          <p:nvPr/>
        </p:nvCxnSpPr>
        <p:spPr>
          <a:xfrm>
            <a:off x="2482161" y="3796643"/>
            <a:ext cx="1012580" cy="0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9" name="Conector reto 1348">
            <a:extLst>
              <a:ext uri="{FF2B5EF4-FFF2-40B4-BE49-F238E27FC236}">
                <a16:creationId xmlns:a16="http://schemas.microsoft.com/office/drawing/2014/main" id="{88B8D2CF-0BAD-92CD-D608-6FD5E22BB8AA}"/>
              </a:ext>
            </a:extLst>
          </p:cNvPr>
          <p:cNvCxnSpPr>
            <a:cxnSpLocks/>
          </p:cNvCxnSpPr>
          <p:nvPr/>
        </p:nvCxnSpPr>
        <p:spPr>
          <a:xfrm>
            <a:off x="2466067" y="2079977"/>
            <a:ext cx="1053664" cy="0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4" name="Conector reto 1353">
            <a:extLst>
              <a:ext uri="{FF2B5EF4-FFF2-40B4-BE49-F238E27FC236}">
                <a16:creationId xmlns:a16="http://schemas.microsoft.com/office/drawing/2014/main" id="{271E3210-B1F2-B2B1-FA13-6AA147D2BF33}"/>
              </a:ext>
            </a:extLst>
          </p:cNvPr>
          <p:cNvCxnSpPr>
            <a:cxnSpLocks/>
          </p:cNvCxnSpPr>
          <p:nvPr/>
        </p:nvCxnSpPr>
        <p:spPr>
          <a:xfrm>
            <a:off x="10149486" y="2144633"/>
            <a:ext cx="0" cy="2040210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7" name="Conector: Angulado 1356">
            <a:extLst>
              <a:ext uri="{FF2B5EF4-FFF2-40B4-BE49-F238E27FC236}">
                <a16:creationId xmlns:a16="http://schemas.microsoft.com/office/drawing/2014/main" id="{7135C25A-C0D8-72E3-C370-EDA6C8FAE2F5}"/>
              </a:ext>
            </a:extLst>
          </p:cNvPr>
          <p:cNvCxnSpPr>
            <a:stCxn id="1541" idx="2"/>
          </p:cNvCxnSpPr>
          <p:nvPr/>
        </p:nvCxnSpPr>
        <p:spPr>
          <a:xfrm rot="16200000" flipH="1">
            <a:off x="9371253" y="3412070"/>
            <a:ext cx="120472" cy="1435994"/>
          </a:xfrm>
          <a:prstGeom prst="bentConnector2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8" name="Conector de Seta Reta 1357">
            <a:extLst>
              <a:ext uri="{FF2B5EF4-FFF2-40B4-BE49-F238E27FC236}">
                <a16:creationId xmlns:a16="http://schemas.microsoft.com/office/drawing/2014/main" id="{175E21CD-5FDC-360B-C386-D51721286ECC}"/>
              </a:ext>
            </a:extLst>
          </p:cNvPr>
          <p:cNvCxnSpPr>
            <a:cxnSpLocks/>
          </p:cNvCxnSpPr>
          <p:nvPr/>
        </p:nvCxnSpPr>
        <p:spPr>
          <a:xfrm>
            <a:off x="10149486" y="3123091"/>
            <a:ext cx="182425" cy="0"/>
          </a:xfrm>
          <a:prstGeom prst="straightConnector1">
            <a:avLst/>
          </a:prstGeom>
          <a:ln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0" name="Conector de Seta Reta 1359">
            <a:extLst>
              <a:ext uri="{FF2B5EF4-FFF2-40B4-BE49-F238E27FC236}">
                <a16:creationId xmlns:a16="http://schemas.microsoft.com/office/drawing/2014/main" id="{7DB9D9FB-C335-6392-6705-54608238BA2C}"/>
              </a:ext>
            </a:extLst>
          </p:cNvPr>
          <p:cNvCxnSpPr>
            <a:cxnSpLocks/>
          </p:cNvCxnSpPr>
          <p:nvPr/>
        </p:nvCxnSpPr>
        <p:spPr>
          <a:xfrm>
            <a:off x="10149486" y="3734028"/>
            <a:ext cx="182425" cy="0"/>
          </a:xfrm>
          <a:prstGeom prst="straightConnector1">
            <a:avLst/>
          </a:prstGeom>
          <a:ln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1" name="Conector de Seta Reta 1360">
            <a:extLst>
              <a:ext uri="{FF2B5EF4-FFF2-40B4-BE49-F238E27FC236}">
                <a16:creationId xmlns:a16="http://schemas.microsoft.com/office/drawing/2014/main" id="{D5523ED7-F87A-4233-5B51-D34683237E32}"/>
              </a:ext>
            </a:extLst>
          </p:cNvPr>
          <p:cNvCxnSpPr>
            <a:cxnSpLocks/>
          </p:cNvCxnSpPr>
          <p:nvPr/>
        </p:nvCxnSpPr>
        <p:spPr>
          <a:xfrm>
            <a:off x="10149486" y="4035483"/>
            <a:ext cx="182425" cy="0"/>
          </a:xfrm>
          <a:prstGeom prst="straightConnector1">
            <a:avLst/>
          </a:prstGeom>
          <a:ln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2" name="Conector reto 1361">
            <a:extLst>
              <a:ext uri="{FF2B5EF4-FFF2-40B4-BE49-F238E27FC236}">
                <a16:creationId xmlns:a16="http://schemas.microsoft.com/office/drawing/2014/main" id="{93661307-433F-FF33-E572-DF84C6C86830}"/>
              </a:ext>
            </a:extLst>
          </p:cNvPr>
          <p:cNvCxnSpPr>
            <a:cxnSpLocks/>
          </p:cNvCxnSpPr>
          <p:nvPr/>
        </p:nvCxnSpPr>
        <p:spPr>
          <a:xfrm>
            <a:off x="9970697" y="3756665"/>
            <a:ext cx="178789" cy="0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0" name="Forma">
            <a:extLst>
              <a:ext uri="{FF2B5EF4-FFF2-40B4-BE49-F238E27FC236}">
                <a16:creationId xmlns:a16="http://schemas.microsoft.com/office/drawing/2014/main" id="{F800C9B3-8B15-8E31-9C5E-7EA2D6B0712F}"/>
              </a:ext>
            </a:extLst>
          </p:cNvPr>
          <p:cNvSpPr>
            <a:spLocks noChangeAspect="1"/>
          </p:cNvSpPr>
          <p:nvPr/>
        </p:nvSpPr>
        <p:spPr>
          <a:xfrm>
            <a:off x="11298939" y="3453873"/>
            <a:ext cx="339740" cy="216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05" h="21600" extrusionOk="0">
                <a:moveTo>
                  <a:pt x="20523" y="6151"/>
                </a:moveTo>
                <a:lnTo>
                  <a:pt x="20523" y="20044"/>
                </a:lnTo>
                <a:lnTo>
                  <a:pt x="507" y="20044"/>
                </a:lnTo>
                <a:cubicBezTo>
                  <a:pt x="370" y="20044"/>
                  <a:pt x="251" y="20117"/>
                  <a:pt x="152" y="20261"/>
                </a:cubicBezTo>
                <a:cubicBezTo>
                  <a:pt x="53" y="20406"/>
                  <a:pt x="3" y="20587"/>
                  <a:pt x="3" y="20804"/>
                </a:cubicBezTo>
                <a:cubicBezTo>
                  <a:pt x="-12" y="21021"/>
                  <a:pt x="30" y="21208"/>
                  <a:pt x="129" y="21365"/>
                </a:cubicBezTo>
                <a:cubicBezTo>
                  <a:pt x="228" y="21522"/>
                  <a:pt x="347" y="21600"/>
                  <a:pt x="484" y="21600"/>
                </a:cubicBezTo>
                <a:lnTo>
                  <a:pt x="20523" y="21600"/>
                </a:lnTo>
                <a:cubicBezTo>
                  <a:pt x="20783" y="21600"/>
                  <a:pt x="21008" y="21450"/>
                  <a:pt x="21199" y="21148"/>
                </a:cubicBezTo>
                <a:cubicBezTo>
                  <a:pt x="21389" y="20846"/>
                  <a:pt x="21485" y="20478"/>
                  <a:pt x="21485" y="20044"/>
                </a:cubicBezTo>
                <a:lnTo>
                  <a:pt x="21485" y="4631"/>
                </a:lnTo>
                <a:lnTo>
                  <a:pt x="20523" y="6151"/>
                </a:lnTo>
                <a:lnTo>
                  <a:pt x="20523" y="6151"/>
                </a:lnTo>
                <a:close/>
                <a:moveTo>
                  <a:pt x="4881" y="0"/>
                </a:moveTo>
                <a:cubicBezTo>
                  <a:pt x="4438" y="0"/>
                  <a:pt x="4137" y="326"/>
                  <a:pt x="3977" y="977"/>
                </a:cubicBezTo>
                <a:cubicBezTo>
                  <a:pt x="3816" y="1628"/>
                  <a:pt x="3904" y="2195"/>
                  <a:pt x="4240" y="2677"/>
                </a:cubicBezTo>
                <a:lnTo>
                  <a:pt x="12050" y="13495"/>
                </a:lnTo>
                <a:cubicBezTo>
                  <a:pt x="12233" y="13761"/>
                  <a:pt x="12450" y="13893"/>
                  <a:pt x="12702" y="13893"/>
                </a:cubicBezTo>
                <a:cubicBezTo>
                  <a:pt x="12954" y="13893"/>
                  <a:pt x="13172" y="13761"/>
                  <a:pt x="13355" y="13495"/>
                </a:cubicBezTo>
                <a:lnTo>
                  <a:pt x="21164" y="2677"/>
                </a:lnTo>
                <a:cubicBezTo>
                  <a:pt x="21500" y="2195"/>
                  <a:pt x="21588" y="1628"/>
                  <a:pt x="21428" y="977"/>
                </a:cubicBezTo>
                <a:cubicBezTo>
                  <a:pt x="21267" y="326"/>
                  <a:pt x="20966" y="0"/>
                  <a:pt x="20523" y="0"/>
                </a:cubicBezTo>
                <a:lnTo>
                  <a:pt x="4881" y="0"/>
                </a:lnTo>
                <a:lnTo>
                  <a:pt x="4881" y="0"/>
                </a:lnTo>
                <a:lnTo>
                  <a:pt x="4881" y="0"/>
                </a:lnTo>
                <a:close/>
                <a:moveTo>
                  <a:pt x="12691" y="12084"/>
                </a:moveTo>
                <a:lnTo>
                  <a:pt x="4790" y="1520"/>
                </a:lnTo>
                <a:lnTo>
                  <a:pt x="20615" y="1520"/>
                </a:lnTo>
                <a:lnTo>
                  <a:pt x="12691" y="12084"/>
                </a:lnTo>
                <a:lnTo>
                  <a:pt x="12691" y="12084"/>
                </a:lnTo>
                <a:lnTo>
                  <a:pt x="12691" y="12084"/>
                </a:lnTo>
                <a:close/>
                <a:moveTo>
                  <a:pt x="2099" y="12103"/>
                </a:moveTo>
                <a:cubicBezTo>
                  <a:pt x="1999" y="11946"/>
                  <a:pt x="1950" y="11771"/>
                  <a:pt x="1950" y="11578"/>
                </a:cubicBezTo>
                <a:cubicBezTo>
                  <a:pt x="1950" y="11361"/>
                  <a:pt x="1999" y="11174"/>
                  <a:pt x="2099" y="11017"/>
                </a:cubicBezTo>
                <a:cubicBezTo>
                  <a:pt x="2198" y="10860"/>
                  <a:pt x="2309" y="10782"/>
                  <a:pt x="2431" y="10782"/>
                </a:cubicBezTo>
                <a:lnTo>
                  <a:pt x="4400" y="10782"/>
                </a:lnTo>
                <a:cubicBezTo>
                  <a:pt x="4522" y="10782"/>
                  <a:pt x="4633" y="10860"/>
                  <a:pt x="4733" y="11017"/>
                </a:cubicBezTo>
                <a:cubicBezTo>
                  <a:pt x="4832" y="11174"/>
                  <a:pt x="4881" y="11361"/>
                  <a:pt x="4881" y="11578"/>
                </a:cubicBezTo>
                <a:cubicBezTo>
                  <a:pt x="4881" y="11771"/>
                  <a:pt x="4832" y="11946"/>
                  <a:pt x="4733" y="12103"/>
                </a:cubicBezTo>
                <a:cubicBezTo>
                  <a:pt x="4633" y="12260"/>
                  <a:pt x="4522" y="12338"/>
                  <a:pt x="4400" y="12338"/>
                </a:cubicBezTo>
                <a:lnTo>
                  <a:pt x="2431" y="12338"/>
                </a:lnTo>
                <a:lnTo>
                  <a:pt x="2431" y="12338"/>
                </a:lnTo>
                <a:lnTo>
                  <a:pt x="2431" y="12338"/>
                </a:lnTo>
                <a:cubicBezTo>
                  <a:pt x="2309" y="12338"/>
                  <a:pt x="2198" y="12260"/>
                  <a:pt x="2099" y="12103"/>
                </a:cubicBezTo>
                <a:lnTo>
                  <a:pt x="2099" y="12103"/>
                </a:lnTo>
                <a:close/>
                <a:moveTo>
                  <a:pt x="1469" y="16969"/>
                </a:moveTo>
                <a:cubicBezTo>
                  <a:pt x="1332" y="16969"/>
                  <a:pt x="1213" y="16891"/>
                  <a:pt x="1114" y="16734"/>
                </a:cubicBezTo>
                <a:cubicBezTo>
                  <a:pt x="1015" y="16577"/>
                  <a:pt x="965" y="16402"/>
                  <a:pt x="965" y="16209"/>
                </a:cubicBezTo>
                <a:cubicBezTo>
                  <a:pt x="965" y="15992"/>
                  <a:pt x="1015" y="15805"/>
                  <a:pt x="1114" y="15648"/>
                </a:cubicBezTo>
                <a:cubicBezTo>
                  <a:pt x="1213" y="15491"/>
                  <a:pt x="1332" y="15413"/>
                  <a:pt x="1469" y="15413"/>
                </a:cubicBezTo>
                <a:lnTo>
                  <a:pt x="5362" y="15413"/>
                </a:lnTo>
                <a:cubicBezTo>
                  <a:pt x="5500" y="15413"/>
                  <a:pt x="5618" y="15491"/>
                  <a:pt x="5717" y="15648"/>
                </a:cubicBezTo>
                <a:cubicBezTo>
                  <a:pt x="5816" y="15805"/>
                  <a:pt x="5866" y="15992"/>
                  <a:pt x="5866" y="16209"/>
                </a:cubicBezTo>
                <a:cubicBezTo>
                  <a:pt x="5866" y="16402"/>
                  <a:pt x="5816" y="16577"/>
                  <a:pt x="5717" y="16734"/>
                </a:cubicBezTo>
                <a:cubicBezTo>
                  <a:pt x="5618" y="16891"/>
                  <a:pt x="5500" y="16969"/>
                  <a:pt x="5362" y="16969"/>
                </a:cubicBezTo>
                <a:lnTo>
                  <a:pt x="1469" y="16969"/>
                </a:lnTo>
                <a:lnTo>
                  <a:pt x="1469" y="16969"/>
                </a:lnTo>
                <a:lnTo>
                  <a:pt x="1469" y="16969"/>
                </a:lnTo>
                <a:lnTo>
                  <a:pt x="1469" y="16969"/>
                </a:lnTo>
                <a:lnTo>
                  <a:pt x="1469" y="16969"/>
                </a:lnTo>
                <a:close/>
                <a:moveTo>
                  <a:pt x="2935" y="7707"/>
                </a:moveTo>
                <a:lnTo>
                  <a:pt x="2935" y="6151"/>
                </a:lnTo>
                <a:lnTo>
                  <a:pt x="3897" y="6151"/>
                </a:lnTo>
                <a:lnTo>
                  <a:pt x="3897" y="7707"/>
                </a:lnTo>
                <a:lnTo>
                  <a:pt x="2935" y="7707"/>
                </a:lnTo>
                <a:lnTo>
                  <a:pt x="2935" y="7707"/>
                </a:lnTo>
                <a:lnTo>
                  <a:pt x="2935" y="7707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>
            <a:miter lim="400000"/>
          </a:ln>
        </p:spPr>
        <p:txBody>
          <a:bodyPr lIns="27428" tIns="27428" rIns="27428" bIns="27428" anchor="ctr"/>
          <a:lstStyle/>
          <a:p>
            <a:pPr marL="0" marR="0" lvl="0" indent="0" algn="l" defTabSz="3291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lang="pt-BR" sz="129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381" name="CaixaDeTexto 1380">
            <a:extLst>
              <a:ext uri="{FF2B5EF4-FFF2-40B4-BE49-F238E27FC236}">
                <a16:creationId xmlns:a16="http://schemas.microsoft.com/office/drawing/2014/main" id="{6820D38A-05AE-232C-C9A7-DA1B931B7837}"/>
              </a:ext>
            </a:extLst>
          </p:cNvPr>
          <p:cNvSpPr txBox="1"/>
          <p:nvPr/>
        </p:nvSpPr>
        <p:spPr>
          <a:xfrm>
            <a:off x="11071631" y="3651505"/>
            <a:ext cx="84811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165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E-mail</a:t>
            </a:r>
          </a:p>
        </p:txBody>
      </p:sp>
      <p:cxnSp>
        <p:nvCxnSpPr>
          <p:cNvPr id="1383" name="Conector reto 1382">
            <a:extLst>
              <a:ext uri="{FF2B5EF4-FFF2-40B4-BE49-F238E27FC236}">
                <a16:creationId xmlns:a16="http://schemas.microsoft.com/office/drawing/2014/main" id="{7A4DAA6A-0C13-E525-A4E4-2AF62D5A0813}"/>
              </a:ext>
            </a:extLst>
          </p:cNvPr>
          <p:cNvCxnSpPr>
            <a:cxnSpLocks/>
          </p:cNvCxnSpPr>
          <p:nvPr/>
        </p:nvCxnSpPr>
        <p:spPr>
          <a:xfrm>
            <a:off x="10849296" y="2589682"/>
            <a:ext cx="20857" cy="1475226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7" name="Conector reto 1386">
            <a:extLst>
              <a:ext uri="{FF2B5EF4-FFF2-40B4-BE49-F238E27FC236}">
                <a16:creationId xmlns:a16="http://schemas.microsoft.com/office/drawing/2014/main" id="{D2284C4F-64A5-5D75-3C86-6EEBF4D6CC8B}"/>
              </a:ext>
            </a:extLst>
          </p:cNvPr>
          <p:cNvCxnSpPr>
            <a:cxnSpLocks/>
          </p:cNvCxnSpPr>
          <p:nvPr/>
        </p:nvCxnSpPr>
        <p:spPr>
          <a:xfrm>
            <a:off x="10696313" y="4045545"/>
            <a:ext cx="178789" cy="0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9" name="Conector reto 1388">
            <a:extLst>
              <a:ext uri="{FF2B5EF4-FFF2-40B4-BE49-F238E27FC236}">
                <a16:creationId xmlns:a16="http://schemas.microsoft.com/office/drawing/2014/main" id="{B2CBA384-0074-8033-8271-B1344CFAE364}"/>
              </a:ext>
            </a:extLst>
          </p:cNvPr>
          <p:cNvCxnSpPr>
            <a:cxnSpLocks/>
          </p:cNvCxnSpPr>
          <p:nvPr/>
        </p:nvCxnSpPr>
        <p:spPr>
          <a:xfrm>
            <a:off x="10698585" y="3570139"/>
            <a:ext cx="178789" cy="0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0" name="Conector reto 1389">
            <a:extLst>
              <a:ext uri="{FF2B5EF4-FFF2-40B4-BE49-F238E27FC236}">
                <a16:creationId xmlns:a16="http://schemas.microsoft.com/office/drawing/2014/main" id="{C8A8CAC8-FFD0-FB4C-11AB-F8DEC211AE5F}"/>
              </a:ext>
            </a:extLst>
          </p:cNvPr>
          <p:cNvCxnSpPr>
            <a:cxnSpLocks/>
          </p:cNvCxnSpPr>
          <p:nvPr/>
        </p:nvCxnSpPr>
        <p:spPr>
          <a:xfrm>
            <a:off x="10698585" y="2915053"/>
            <a:ext cx="178789" cy="0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1" name="Conector de Seta Reta 1390">
            <a:extLst>
              <a:ext uri="{FF2B5EF4-FFF2-40B4-BE49-F238E27FC236}">
                <a16:creationId xmlns:a16="http://schemas.microsoft.com/office/drawing/2014/main" id="{8709F39A-46D8-8165-82F7-BFFAF82AACF5}"/>
              </a:ext>
            </a:extLst>
          </p:cNvPr>
          <p:cNvCxnSpPr>
            <a:cxnSpLocks/>
          </p:cNvCxnSpPr>
          <p:nvPr/>
        </p:nvCxnSpPr>
        <p:spPr>
          <a:xfrm>
            <a:off x="10877240" y="3579231"/>
            <a:ext cx="433536" cy="0"/>
          </a:xfrm>
          <a:prstGeom prst="straightConnector1">
            <a:avLst/>
          </a:prstGeom>
          <a:ln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92" name="Agrupar 1391">
            <a:extLst>
              <a:ext uri="{FF2B5EF4-FFF2-40B4-BE49-F238E27FC236}">
                <a16:creationId xmlns:a16="http://schemas.microsoft.com/office/drawing/2014/main" id="{CFA971A3-25BA-FBA1-7FA5-787262D54CCF}"/>
              </a:ext>
            </a:extLst>
          </p:cNvPr>
          <p:cNvGrpSpPr>
            <a:grpSpLocks noChangeAspect="1"/>
          </p:cNvGrpSpPr>
          <p:nvPr/>
        </p:nvGrpSpPr>
        <p:grpSpPr>
          <a:xfrm>
            <a:off x="10391140" y="1910099"/>
            <a:ext cx="169714" cy="284165"/>
            <a:chOff x="2116817" y="2794455"/>
            <a:chExt cx="314325" cy="400050"/>
          </a:xfrm>
        </p:grpSpPr>
        <p:sp>
          <p:nvSpPr>
            <p:cNvPr id="1393" name="Forma Livre: Forma 1392">
              <a:extLst>
                <a:ext uri="{FF2B5EF4-FFF2-40B4-BE49-F238E27FC236}">
                  <a16:creationId xmlns:a16="http://schemas.microsoft.com/office/drawing/2014/main" id="{C0CB82D1-AD32-82FD-B6F3-08B0434DE29F}"/>
                </a:ext>
              </a:extLst>
            </p:cNvPr>
            <p:cNvSpPr/>
            <p:nvPr/>
          </p:nvSpPr>
          <p:spPr>
            <a:xfrm>
              <a:off x="2116817" y="2794455"/>
              <a:ext cx="314325" cy="133350"/>
            </a:xfrm>
            <a:custGeom>
              <a:avLst/>
              <a:gdLst>
                <a:gd name="connsiteX0" fmla="*/ 0 w 314325"/>
                <a:gd name="connsiteY0" fmla="*/ 0 h 133350"/>
                <a:gd name="connsiteX1" fmla="*/ 314325 w 314325"/>
                <a:gd name="connsiteY1" fmla="*/ 0 h 133350"/>
                <a:gd name="connsiteX2" fmla="*/ 314325 w 314325"/>
                <a:gd name="connsiteY2" fmla="*/ 133350 h 133350"/>
                <a:gd name="connsiteX3" fmla="*/ 0 w 314325"/>
                <a:gd name="connsiteY3" fmla="*/ 13335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133350">
                  <a:moveTo>
                    <a:pt x="0" y="0"/>
                  </a:moveTo>
                  <a:lnTo>
                    <a:pt x="314325" y="0"/>
                  </a:lnTo>
                  <a:lnTo>
                    <a:pt x="314325" y="133350"/>
                  </a:lnTo>
                  <a:lnTo>
                    <a:pt x="0" y="133350"/>
                  </a:lnTo>
                  <a:close/>
                </a:path>
              </a:pathLst>
            </a:custGeom>
            <a:noFill/>
            <a:ln w="1270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4" name="Forma Livre: Forma 1393">
              <a:extLst>
                <a:ext uri="{FF2B5EF4-FFF2-40B4-BE49-F238E27FC236}">
                  <a16:creationId xmlns:a16="http://schemas.microsoft.com/office/drawing/2014/main" id="{B1BDCA54-4069-B2F3-3BCE-B72A896429B4}"/>
                </a:ext>
              </a:extLst>
            </p:cNvPr>
            <p:cNvSpPr/>
            <p:nvPr/>
          </p:nvSpPr>
          <p:spPr>
            <a:xfrm>
              <a:off x="2240642" y="2861130"/>
              <a:ext cx="66675" cy="19050"/>
            </a:xfrm>
            <a:custGeom>
              <a:avLst/>
              <a:gdLst>
                <a:gd name="connsiteX0" fmla="*/ 0 w 66675"/>
                <a:gd name="connsiteY0" fmla="*/ 0 h 19050"/>
                <a:gd name="connsiteX1" fmla="*/ 0 w 66675"/>
                <a:gd name="connsiteY1" fmla="*/ 19050 h 19050"/>
                <a:gd name="connsiteX2" fmla="*/ 66675 w 66675"/>
                <a:gd name="connsiteY2" fmla="*/ 19050 h 19050"/>
                <a:gd name="connsiteX3" fmla="*/ 66675 w 66675"/>
                <a:gd name="connsiteY3" fmla="*/ 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5" h="19050">
                  <a:moveTo>
                    <a:pt x="0" y="0"/>
                  </a:moveTo>
                  <a:lnTo>
                    <a:pt x="0" y="19050"/>
                  </a:lnTo>
                  <a:lnTo>
                    <a:pt x="66675" y="19050"/>
                  </a:lnTo>
                  <a:lnTo>
                    <a:pt x="66675" y="0"/>
                  </a:lnTo>
                </a:path>
              </a:pathLst>
            </a:custGeom>
            <a:noFill/>
            <a:ln w="1270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5" name="Forma Livre: Forma 1394">
              <a:extLst>
                <a:ext uri="{FF2B5EF4-FFF2-40B4-BE49-F238E27FC236}">
                  <a16:creationId xmlns:a16="http://schemas.microsoft.com/office/drawing/2014/main" id="{1CDBCD6C-83CA-88E7-DB38-058E0DD6F9C7}"/>
                </a:ext>
              </a:extLst>
            </p:cNvPr>
            <p:cNvSpPr/>
            <p:nvPr/>
          </p:nvSpPr>
          <p:spPr>
            <a:xfrm>
              <a:off x="2116817" y="2927805"/>
              <a:ext cx="314325" cy="133350"/>
            </a:xfrm>
            <a:custGeom>
              <a:avLst/>
              <a:gdLst>
                <a:gd name="connsiteX0" fmla="*/ 0 w 314325"/>
                <a:gd name="connsiteY0" fmla="*/ 0 h 133350"/>
                <a:gd name="connsiteX1" fmla="*/ 314325 w 314325"/>
                <a:gd name="connsiteY1" fmla="*/ 0 h 133350"/>
                <a:gd name="connsiteX2" fmla="*/ 314325 w 314325"/>
                <a:gd name="connsiteY2" fmla="*/ 133350 h 133350"/>
                <a:gd name="connsiteX3" fmla="*/ 0 w 314325"/>
                <a:gd name="connsiteY3" fmla="*/ 13335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133350">
                  <a:moveTo>
                    <a:pt x="0" y="0"/>
                  </a:moveTo>
                  <a:lnTo>
                    <a:pt x="314325" y="0"/>
                  </a:lnTo>
                  <a:lnTo>
                    <a:pt x="314325" y="133350"/>
                  </a:lnTo>
                  <a:lnTo>
                    <a:pt x="0" y="133350"/>
                  </a:lnTo>
                  <a:close/>
                </a:path>
              </a:pathLst>
            </a:custGeom>
            <a:noFill/>
            <a:ln w="1270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6" name="Forma Livre: Forma 1395">
              <a:extLst>
                <a:ext uri="{FF2B5EF4-FFF2-40B4-BE49-F238E27FC236}">
                  <a16:creationId xmlns:a16="http://schemas.microsoft.com/office/drawing/2014/main" id="{C730B06B-DFCE-3624-B8A3-DF8C01FF464D}"/>
                </a:ext>
              </a:extLst>
            </p:cNvPr>
            <p:cNvSpPr/>
            <p:nvPr/>
          </p:nvSpPr>
          <p:spPr>
            <a:xfrm>
              <a:off x="2240642" y="2994480"/>
              <a:ext cx="66675" cy="19050"/>
            </a:xfrm>
            <a:custGeom>
              <a:avLst/>
              <a:gdLst>
                <a:gd name="connsiteX0" fmla="*/ 0 w 66675"/>
                <a:gd name="connsiteY0" fmla="*/ 0 h 19050"/>
                <a:gd name="connsiteX1" fmla="*/ 0 w 66675"/>
                <a:gd name="connsiteY1" fmla="*/ 19050 h 19050"/>
                <a:gd name="connsiteX2" fmla="*/ 66675 w 66675"/>
                <a:gd name="connsiteY2" fmla="*/ 19050 h 19050"/>
                <a:gd name="connsiteX3" fmla="*/ 66675 w 66675"/>
                <a:gd name="connsiteY3" fmla="*/ 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5" h="19050">
                  <a:moveTo>
                    <a:pt x="0" y="0"/>
                  </a:moveTo>
                  <a:lnTo>
                    <a:pt x="0" y="19050"/>
                  </a:lnTo>
                  <a:lnTo>
                    <a:pt x="66675" y="19050"/>
                  </a:lnTo>
                  <a:lnTo>
                    <a:pt x="66675" y="0"/>
                  </a:lnTo>
                </a:path>
              </a:pathLst>
            </a:custGeom>
            <a:noFill/>
            <a:ln w="1270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7" name="Forma Livre: Forma 1396">
              <a:extLst>
                <a:ext uri="{FF2B5EF4-FFF2-40B4-BE49-F238E27FC236}">
                  <a16:creationId xmlns:a16="http://schemas.microsoft.com/office/drawing/2014/main" id="{A1958BD2-4CB9-A537-5C1F-E8E76386D3F4}"/>
                </a:ext>
              </a:extLst>
            </p:cNvPr>
            <p:cNvSpPr/>
            <p:nvPr/>
          </p:nvSpPr>
          <p:spPr>
            <a:xfrm>
              <a:off x="2116817" y="3061155"/>
              <a:ext cx="314325" cy="133350"/>
            </a:xfrm>
            <a:custGeom>
              <a:avLst/>
              <a:gdLst>
                <a:gd name="connsiteX0" fmla="*/ 0 w 314325"/>
                <a:gd name="connsiteY0" fmla="*/ 0 h 133350"/>
                <a:gd name="connsiteX1" fmla="*/ 314325 w 314325"/>
                <a:gd name="connsiteY1" fmla="*/ 0 h 133350"/>
                <a:gd name="connsiteX2" fmla="*/ 314325 w 314325"/>
                <a:gd name="connsiteY2" fmla="*/ 133350 h 133350"/>
                <a:gd name="connsiteX3" fmla="*/ 0 w 314325"/>
                <a:gd name="connsiteY3" fmla="*/ 13335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133350">
                  <a:moveTo>
                    <a:pt x="0" y="0"/>
                  </a:moveTo>
                  <a:lnTo>
                    <a:pt x="314325" y="0"/>
                  </a:lnTo>
                  <a:lnTo>
                    <a:pt x="314325" y="133350"/>
                  </a:lnTo>
                  <a:lnTo>
                    <a:pt x="0" y="133350"/>
                  </a:lnTo>
                  <a:close/>
                </a:path>
              </a:pathLst>
            </a:custGeom>
            <a:noFill/>
            <a:ln w="1270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9" name="Forma Livre: Forma 1398">
              <a:extLst>
                <a:ext uri="{FF2B5EF4-FFF2-40B4-BE49-F238E27FC236}">
                  <a16:creationId xmlns:a16="http://schemas.microsoft.com/office/drawing/2014/main" id="{D3846017-7141-46E5-B62E-1CF77D604B10}"/>
                </a:ext>
              </a:extLst>
            </p:cNvPr>
            <p:cNvSpPr/>
            <p:nvPr/>
          </p:nvSpPr>
          <p:spPr>
            <a:xfrm>
              <a:off x="2240642" y="3127830"/>
              <a:ext cx="66675" cy="19050"/>
            </a:xfrm>
            <a:custGeom>
              <a:avLst/>
              <a:gdLst>
                <a:gd name="connsiteX0" fmla="*/ 0 w 66675"/>
                <a:gd name="connsiteY0" fmla="*/ 0 h 19050"/>
                <a:gd name="connsiteX1" fmla="*/ 0 w 66675"/>
                <a:gd name="connsiteY1" fmla="*/ 19050 h 19050"/>
                <a:gd name="connsiteX2" fmla="*/ 66675 w 66675"/>
                <a:gd name="connsiteY2" fmla="*/ 19050 h 19050"/>
                <a:gd name="connsiteX3" fmla="*/ 66675 w 66675"/>
                <a:gd name="connsiteY3" fmla="*/ 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5" h="19050">
                  <a:moveTo>
                    <a:pt x="0" y="0"/>
                  </a:moveTo>
                  <a:lnTo>
                    <a:pt x="0" y="19050"/>
                  </a:lnTo>
                  <a:lnTo>
                    <a:pt x="66675" y="19050"/>
                  </a:lnTo>
                  <a:lnTo>
                    <a:pt x="66675" y="0"/>
                  </a:lnTo>
                </a:path>
              </a:pathLst>
            </a:custGeom>
            <a:noFill/>
            <a:ln w="1270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00" name="CaixaDeTexto 1399">
            <a:extLst>
              <a:ext uri="{FF2B5EF4-FFF2-40B4-BE49-F238E27FC236}">
                <a16:creationId xmlns:a16="http://schemas.microsoft.com/office/drawing/2014/main" id="{66A97713-B0A1-C6A4-5AE6-68813060BBF2}"/>
              </a:ext>
            </a:extLst>
          </p:cNvPr>
          <p:cNvSpPr txBox="1"/>
          <p:nvPr/>
        </p:nvSpPr>
        <p:spPr>
          <a:xfrm>
            <a:off x="10060525" y="2127750"/>
            <a:ext cx="8481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165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Acervos físicos</a:t>
            </a:r>
          </a:p>
        </p:txBody>
      </p:sp>
      <p:grpSp>
        <p:nvGrpSpPr>
          <p:cNvPr id="1401" name="Agrupar 1400">
            <a:extLst>
              <a:ext uri="{FF2B5EF4-FFF2-40B4-BE49-F238E27FC236}">
                <a16:creationId xmlns:a16="http://schemas.microsoft.com/office/drawing/2014/main" id="{F72E2E0F-C9AF-118B-7E8C-011CF0A9F75F}"/>
              </a:ext>
            </a:extLst>
          </p:cNvPr>
          <p:cNvGrpSpPr>
            <a:grpSpLocks noChangeAspect="1"/>
          </p:cNvGrpSpPr>
          <p:nvPr/>
        </p:nvGrpSpPr>
        <p:grpSpPr>
          <a:xfrm>
            <a:off x="11287810" y="1992287"/>
            <a:ext cx="246331" cy="252000"/>
            <a:chOff x="3593573" y="5931938"/>
            <a:chExt cx="409670" cy="419100"/>
          </a:xfrm>
        </p:grpSpPr>
        <p:sp>
          <p:nvSpPr>
            <p:cNvPr id="1402" name="Forma Livre: Forma 1401">
              <a:extLst>
                <a:ext uri="{FF2B5EF4-FFF2-40B4-BE49-F238E27FC236}">
                  <a16:creationId xmlns:a16="http://schemas.microsoft.com/office/drawing/2014/main" id="{77D3A1E0-AB71-B1D1-1395-4E1CA54C35A2}"/>
                </a:ext>
              </a:extLst>
            </p:cNvPr>
            <p:cNvSpPr/>
            <p:nvPr/>
          </p:nvSpPr>
          <p:spPr>
            <a:xfrm>
              <a:off x="3593573" y="6122438"/>
              <a:ext cx="400050" cy="228600"/>
            </a:xfrm>
            <a:custGeom>
              <a:avLst/>
              <a:gdLst>
                <a:gd name="connsiteX0" fmla="*/ 263176 w 400050"/>
                <a:gd name="connsiteY0" fmla="*/ 95345 h 228600"/>
                <a:gd name="connsiteX1" fmla="*/ 200025 w 400050"/>
                <a:gd name="connsiteY1" fmla="*/ 114300 h 228600"/>
                <a:gd name="connsiteX2" fmla="*/ 136874 w 400050"/>
                <a:gd name="connsiteY2" fmla="*/ 95250 h 228600"/>
                <a:gd name="connsiteX3" fmla="*/ 0 w 400050"/>
                <a:gd name="connsiteY3" fmla="*/ 0 h 228600"/>
                <a:gd name="connsiteX4" fmla="*/ 0 w 400050"/>
                <a:gd name="connsiteY4" fmla="*/ 200025 h 228600"/>
                <a:gd name="connsiteX5" fmla="*/ 28575 w 400050"/>
                <a:gd name="connsiteY5" fmla="*/ 228600 h 228600"/>
                <a:gd name="connsiteX6" fmla="*/ 371475 w 400050"/>
                <a:gd name="connsiteY6" fmla="*/ 228600 h 228600"/>
                <a:gd name="connsiteX7" fmla="*/ 400050 w 400050"/>
                <a:gd name="connsiteY7" fmla="*/ 200025 h 228600"/>
                <a:gd name="connsiteX8" fmla="*/ 400050 w 400050"/>
                <a:gd name="connsiteY8" fmla="*/ 0 h 228600"/>
                <a:gd name="connsiteX9" fmla="*/ 263176 w 400050"/>
                <a:gd name="connsiteY9" fmla="*/ 95345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0050" h="228600">
                  <a:moveTo>
                    <a:pt x="263176" y="95345"/>
                  </a:moveTo>
                  <a:cubicBezTo>
                    <a:pt x="251650" y="102108"/>
                    <a:pt x="227552" y="114300"/>
                    <a:pt x="200025" y="114300"/>
                  </a:cubicBezTo>
                  <a:cubicBezTo>
                    <a:pt x="172498" y="114300"/>
                    <a:pt x="148400" y="102013"/>
                    <a:pt x="136874" y="95250"/>
                  </a:cubicBezTo>
                  <a:cubicBezTo>
                    <a:pt x="126301" y="89059"/>
                    <a:pt x="0" y="0"/>
                    <a:pt x="0" y="0"/>
                  </a:cubicBezTo>
                  <a:lnTo>
                    <a:pt x="0" y="200025"/>
                  </a:lnTo>
                  <a:cubicBezTo>
                    <a:pt x="0" y="215837"/>
                    <a:pt x="12764" y="228600"/>
                    <a:pt x="28575" y="228600"/>
                  </a:cubicBezTo>
                  <a:lnTo>
                    <a:pt x="371475" y="228600"/>
                  </a:lnTo>
                  <a:cubicBezTo>
                    <a:pt x="387287" y="228600"/>
                    <a:pt x="400050" y="215837"/>
                    <a:pt x="400050" y="200025"/>
                  </a:cubicBezTo>
                  <a:lnTo>
                    <a:pt x="400050" y="0"/>
                  </a:lnTo>
                  <a:cubicBezTo>
                    <a:pt x="400145" y="0"/>
                    <a:pt x="273749" y="89154"/>
                    <a:pt x="263176" y="95345"/>
                  </a:cubicBezTo>
                  <a:close/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3" name="Forma Livre: Forma 1402">
              <a:extLst>
                <a:ext uri="{FF2B5EF4-FFF2-40B4-BE49-F238E27FC236}">
                  <a16:creationId xmlns:a16="http://schemas.microsoft.com/office/drawing/2014/main" id="{F4288E37-875A-82C7-3968-BCAD29FD3926}"/>
                </a:ext>
              </a:extLst>
            </p:cNvPr>
            <p:cNvSpPr/>
            <p:nvPr/>
          </p:nvSpPr>
          <p:spPr>
            <a:xfrm>
              <a:off x="3860368" y="6217688"/>
              <a:ext cx="95250" cy="95250"/>
            </a:xfrm>
            <a:custGeom>
              <a:avLst/>
              <a:gdLst>
                <a:gd name="connsiteX0" fmla="*/ 0 w 95250"/>
                <a:gd name="connsiteY0" fmla="*/ 0 h 95250"/>
                <a:gd name="connsiteX1" fmla="*/ 95250 w 95250"/>
                <a:gd name="connsiteY1" fmla="*/ 95250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0" h="95250">
                  <a:moveTo>
                    <a:pt x="0" y="0"/>
                  </a:moveTo>
                  <a:lnTo>
                    <a:pt x="95250" y="95250"/>
                  </a:lnTo>
                </a:path>
              </a:pathLst>
            </a:custGeom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4" name="Forma Livre: Forma 1403">
              <a:extLst>
                <a:ext uri="{FF2B5EF4-FFF2-40B4-BE49-F238E27FC236}">
                  <a16:creationId xmlns:a16="http://schemas.microsoft.com/office/drawing/2014/main" id="{A6371FDB-B651-D472-25A0-AD13424F259B}"/>
                </a:ext>
              </a:extLst>
            </p:cNvPr>
            <p:cNvSpPr/>
            <p:nvPr/>
          </p:nvSpPr>
          <p:spPr>
            <a:xfrm>
              <a:off x="3631768" y="6217688"/>
              <a:ext cx="95250" cy="95250"/>
            </a:xfrm>
            <a:custGeom>
              <a:avLst/>
              <a:gdLst>
                <a:gd name="connsiteX0" fmla="*/ 95250 w 95250"/>
                <a:gd name="connsiteY0" fmla="*/ 0 h 95250"/>
                <a:gd name="connsiteX1" fmla="*/ 0 w 95250"/>
                <a:gd name="connsiteY1" fmla="*/ 95250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0" h="95250">
                  <a:moveTo>
                    <a:pt x="95250" y="0"/>
                  </a:moveTo>
                  <a:lnTo>
                    <a:pt x="0" y="95250"/>
                  </a:lnTo>
                </a:path>
              </a:pathLst>
            </a:custGeom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5" name="Forma Livre: Forma 1404">
              <a:extLst>
                <a:ext uri="{FF2B5EF4-FFF2-40B4-BE49-F238E27FC236}">
                  <a16:creationId xmlns:a16="http://schemas.microsoft.com/office/drawing/2014/main" id="{C1707301-DE73-D8A5-48D4-5845C4E9EC56}"/>
                </a:ext>
              </a:extLst>
            </p:cNvPr>
            <p:cNvSpPr/>
            <p:nvPr/>
          </p:nvSpPr>
          <p:spPr>
            <a:xfrm>
              <a:off x="3927138" y="6041856"/>
              <a:ext cx="57150" cy="76200"/>
            </a:xfrm>
            <a:custGeom>
              <a:avLst/>
              <a:gdLst>
                <a:gd name="connsiteX0" fmla="*/ 66580 w 57150"/>
                <a:gd name="connsiteY0" fmla="*/ 80582 h 76200"/>
                <a:gd name="connsiteX1" fmla="*/ 66580 w 57150"/>
                <a:gd name="connsiteY1" fmla="*/ 71057 h 76200"/>
                <a:gd name="connsiteX2" fmla="*/ 52769 w 57150"/>
                <a:gd name="connsiteY2" fmla="*/ 45339 h 76200"/>
                <a:gd name="connsiteX3" fmla="*/ 0 w 57150"/>
                <a:gd name="connsiteY3" fmla="*/ 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" h="76200">
                  <a:moveTo>
                    <a:pt x="66580" y="80582"/>
                  </a:moveTo>
                  <a:lnTo>
                    <a:pt x="66580" y="71057"/>
                  </a:lnTo>
                  <a:cubicBezTo>
                    <a:pt x="66580" y="60103"/>
                    <a:pt x="60865" y="51816"/>
                    <a:pt x="52769" y="45339"/>
                  </a:cubicBezTo>
                  <a:lnTo>
                    <a:pt x="0" y="0"/>
                  </a:lnTo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6" name="Forma Livre: Forma 1405">
              <a:extLst>
                <a:ext uri="{FF2B5EF4-FFF2-40B4-BE49-F238E27FC236}">
                  <a16:creationId xmlns:a16="http://schemas.microsoft.com/office/drawing/2014/main" id="{14CC9225-3F69-39CB-558A-87AE4A0A2173}"/>
                </a:ext>
              </a:extLst>
            </p:cNvPr>
            <p:cNvSpPr/>
            <p:nvPr/>
          </p:nvSpPr>
          <p:spPr>
            <a:xfrm>
              <a:off x="3593668" y="6041761"/>
              <a:ext cx="66675" cy="76200"/>
            </a:xfrm>
            <a:custGeom>
              <a:avLst/>
              <a:gdLst>
                <a:gd name="connsiteX0" fmla="*/ 0 w 66675"/>
                <a:gd name="connsiteY0" fmla="*/ 80677 h 76200"/>
                <a:gd name="connsiteX1" fmla="*/ 0 w 66675"/>
                <a:gd name="connsiteY1" fmla="*/ 71152 h 76200"/>
                <a:gd name="connsiteX2" fmla="*/ 13811 w 66675"/>
                <a:gd name="connsiteY2" fmla="*/ 45434 h 76200"/>
                <a:gd name="connsiteX3" fmla="*/ 66675 w 66675"/>
                <a:gd name="connsiteY3" fmla="*/ 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5" h="76200">
                  <a:moveTo>
                    <a:pt x="0" y="80677"/>
                  </a:moveTo>
                  <a:lnTo>
                    <a:pt x="0" y="71152"/>
                  </a:lnTo>
                  <a:cubicBezTo>
                    <a:pt x="0" y="60198"/>
                    <a:pt x="5715" y="51911"/>
                    <a:pt x="13811" y="45434"/>
                  </a:cubicBezTo>
                  <a:lnTo>
                    <a:pt x="66675" y="0"/>
                  </a:lnTo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orma Livre: Forma 63">
              <a:extLst>
                <a:ext uri="{FF2B5EF4-FFF2-40B4-BE49-F238E27FC236}">
                  <a16:creationId xmlns:a16="http://schemas.microsoft.com/office/drawing/2014/main" id="{41ECBE18-8D55-4C06-FA7F-4A24EB51F0D3}"/>
                </a:ext>
              </a:extLst>
            </p:cNvPr>
            <p:cNvSpPr/>
            <p:nvPr/>
          </p:nvSpPr>
          <p:spPr>
            <a:xfrm>
              <a:off x="3927043" y="5931938"/>
              <a:ext cx="76200" cy="47625"/>
            </a:xfrm>
            <a:custGeom>
              <a:avLst/>
              <a:gdLst>
                <a:gd name="connsiteX0" fmla="*/ 28575 w 76200"/>
                <a:gd name="connsiteY0" fmla="*/ 47625 h 47625"/>
                <a:gd name="connsiteX1" fmla="*/ 76200 w 76200"/>
                <a:gd name="connsiteY1" fmla="*/ 47625 h 47625"/>
                <a:gd name="connsiteX2" fmla="*/ 76200 w 76200"/>
                <a:gd name="connsiteY2" fmla="*/ 38100 h 47625"/>
                <a:gd name="connsiteX3" fmla="*/ 38100 w 76200"/>
                <a:gd name="connsiteY3" fmla="*/ 0 h 47625"/>
                <a:gd name="connsiteX4" fmla="*/ 0 w 76200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7625">
                  <a:moveTo>
                    <a:pt x="28575" y="47625"/>
                  </a:moveTo>
                  <a:lnTo>
                    <a:pt x="76200" y="47625"/>
                  </a:lnTo>
                  <a:lnTo>
                    <a:pt x="76200" y="38100"/>
                  </a:lnTo>
                  <a:cubicBezTo>
                    <a:pt x="76200" y="16193"/>
                    <a:pt x="59150" y="0"/>
                    <a:pt x="38100" y="0"/>
                  </a:cubicBezTo>
                  <a:lnTo>
                    <a:pt x="0" y="0"/>
                  </a:lnTo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orma Livre: Forma 64">
              <a:extLst>
                <a:ext uri="{FF2B5EF4-FFF2-40B4-BE49-F238E27FC236}">
                  <a16:creationId xmlns:a16="http://schemas.microsoft.com/office/drawing/2014/main" id="{08EA2C6D-26C1-582D-E57D-A1B8CD675426}"/>
                </a:ext>
              </a:extLst>
            </p:cNvPr>
            <p:cNvSpPr/>
            <p:nvPr/>
          </p:nvSpPr>
          <p:spPr>
            <a:xfrm>
              <a:off x="3660343" y="5931938"/>
              <a:ext cx="304800" cy="238125"/>
            </a:xfrm>
            <a:custGeom>
              <a:avLst/>
              <a:gdLst>
                <a:gd name="connsiteX0" fmla="*/ 0 w 304800"/>
                <a:gd name="connsiteY0" fmla="*/ 238125 h 238125"/>
                <a:gd name="connsiteX1" fmla="*/ 0 w 304800"/>
                <a:gd name="connsiteY1" fmla="*/ 47625 h 238125"/>
                <a:gd name="connsiteX2" fmla="*/ 47625 w 304800"/>
                <a:gd name="connsiteY2" fmla="*/ 0 h 238125"/>
                <a:gd name="connsiteX3" fmla="*/ 314325 w 304800"/>
                <a:gd name="connsiteY3" fmla="*/ 0 h 238125"/>
                <a:gd name="connsiteX4" fmla="*/ 266700 w 304800"/>
                <a:gd name="connsiteY4" fmla="*/ 47625 h 238125"/>
                <a:gd name="connsiteX5" fmla="*/ 266700 w 304800"/>
                <a:gd name="connsiteY5" fmla="*/ 238125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4800" h="238125">
                  <a:moveTo>
                    <a:pt x="0" y="238125"/>
                  </a:moveTo>
                  <a:lnTo>
                    <a:pt x="0" y="47625"/>
                  </a:lnTo>
                  <a:cubicBezTo>
                    <a:pt x="0" y="21336"/>
                    <a:pt x="21336" y="0"/>
                    <a:pt x="47625" y="0"/>
                  </a:cubicBezTo>
                  <a:lnTo>
                    <a:pt x="314325" y="0"/>
                  </a:lnTo>
                  <a:cubicBezTo>
                    <a:pt x="288036" y="0"/>
                    <a:pt x="266700" y="21336"/>
                    <a:pt x="266700" y="47625"/>
                  </a:cubicBezTo>
                  <a:lnTo>
                    <a:pt x="266700" y="238125"/>
                  </a:lnTo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orma Livre: Forma 65">
              <a:extLst>
                <a:ext uri="{FF2B5EF4-FFF2-40B4-BE49-F238E27FC236}">
                  <a16:creationId xmlns:a16="http://schemas.microsoft.com/office/drawing/2014/main" id="{1B465980-0040-E6BA-D0B4-78F59FB7B8ED}"/>
                </a:ext>
              </a:extLst>
            </p:cNvPr>
            <p:cNvSpPr/>
            <p:nvPr/>
          </p:nvSpPr>
          <p:spPr>
            <a:xfrm>
              <a:off x="3717493" y="6017663"/>
              <a:ext cx="152400" cy="9525"/>
            </a:xfrm>
            <a:custGeom>
              <a:avLst/>
              <a:gdLst>
                <a:gd name="connsiteX0" fmla="*/ 0 w 152400"/>
                <a:gd name="connsiteY0" fmla="*/ 0 h 0"/>
                <a:gd name="connsiteX1" fmla="*/ 152400 w 1524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2400">
                  <a:moveTo>
                    <a:pt x="0" y="0"/>
                  </a:moveTo>
                  <a:lnTo>
                    <a:pt x="152400" y="0"/>
                  </a:lnTo>
                </a:path>
              </a:pathLst>
            </a:custGeom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orma Livre: Forma 66">
              <a:extLst>
                <a:ext uri="{FF2B5EF4-FFF2-40B4-BE49-F238E27FC236}">
                  <a16:creationId xmlns:a16="http://schemas.microsoft.com/office/drawing/2014/main" id="{88740389-C884-E68C-5DA2-C4F07B7F5643}"/>
                </a:ext>
              </a:extLst>
            </p:cNvPr>
            <p:cNvSpPr/>
            <p:nvPr/>
          </p:nvSpPr>
          <p:spPr>
            <a:xfrm>
              <a:off x="3717493" y="6065288"/>
              <a:ext cx="152400" cy="9525"/>
            </a:xfrm>
            <a:custGeom>
              <a:avLst/>
              <a:gdLst>
                <a:gd name="connsiteX0" fmla="*/ 0 w 152400"/>
                <a:gd name="connsiteY0" fmla="*/ 0 h 0"/>
                <a:gd name="connsiteX1" fmla="*/ 152400 w 1524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2400">
                  <a:moveTo>
                    <a:pt x="0" y="0"/>
                  </a:moveTo>
                  <a:lnTo>
                    <a:pt x="152400" y="0"/>
                  </a:lnTo>
                </a:path>
              </a:pathLst>
            </a:custGeom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orma Livre: Forma 67">
              <a:extLst>
                <a:ext uri="{FF2B5EF4-FFF2-40B4-BE49-F238E27FC236}">
                  <a16:creationId xmlns:a16="http://schemas.microsoft.com/office/drawing/2014/main" id="{EB8D6195-816E-F08D-2CDB-6DE284A2F7D7}"/>
                </a:ext>
              </a:extLst>
            </p:cNvPr>
            <p:cNvSpPr/>
            <p:nvPr/>
          </p:nvSpPr>
          <p:spPr>
            <a:xfrm>
              <a:off x="3717493" y="6112913"/>
              <a:ext cx="85725" cy="9525"/>
            </a:xfrm>
            <a:custGeom>
              <a:avLst/>
              <a:gdLst>
                <a:gd name="connsiteX0" fmla="*/ 0 w 85725"/>
                <a:gd name="connsiteY0" fmla="*/ 0 h 0"/>
                <a:gd name="connsiteX1" fmla="*/ 93059 w 8572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25">
                  <a:moveTo>
                    <a:pt x="0" y="0"/>
                  </a:moveTo>
                  <a:lnTo>
                    <a:pt x="93059" y="0"/>
                  </a:lnTo>
                </a:path>
              </a:pathLst>
            </a:custGeom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69" name="CaixaDeTexto 68">
            <a:extLst>
              <a:ext uri="{FF2B5EF4-FFF2-40B4-BE49-F238E27FC236}">
                <a16:creationId xmlns:a16="http://schemas.microsoft.com/office/drawing/2014/main" id="{EA5E95F6-277A-B19C-F866-4A5CD885F062}"/>
              </a:ext>
            </a:extLst>
          </p:cNvPr>
          <p:cNvSpPr txBox="1"/>
          <p:nvPr/>
        </p:nvSpPr>
        <p:spPr>
          <a:xfrm>
            <a:off x="10920967" y="2202428"/>
            <a:ext cx="102904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165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Correspondência</a:t>
            </a:r>
          </a:p>
        </p:txBody>
      </p:sp>
      <p:sp>
        <p:nvSpPr>
          <p:cNvPr id="70" name="Forma">
            <a:extLst>
              <a:ext uri="{FF2B5EF4-FFF2-40B4-BE49-F238E27FC236}">
                <a16:creationId xmlns:a16="http://schemas.microsoft.com/office/drawing/2014/main" id="{86FF4F3B-F2B6-54F6-D562-018A21145DD9}"/>
              </a:ext>
            </a:extLst>
          </p:cNvPr>
          <p:cNvSpPr>
            <a:spLocks noChangeAspect="1"/>
          </p:cNvSpPr>
          <p:nvPr/>
        </p:nvSpPr>
        <p:spPr>
          <a:xfrm>
            <a:off x="11317976" y="2589824"/>
            <a:ext cx="288340" cy="288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25" y="5394"/>
                </a:moveTo>
                <a:cubicBezTo>
                  <a:pt x="20032" y="5394"/>
                  <a:pt x="20546" y="5605"/>
                  <a:pt x="20968" y="6027"/>
                </a:cubicBezTo>
                <a:cubicBezTo>
                  <a:pt x="21389" y="6449"/>
                  <a:pt x="21600" y="6955"/>
                  <a:pt x="21600" y="7546"/>
                </a:cubicBezTo>
                <a:lnTo>
                  <a:pt x="21600" y="15117"/>
                </a:lnTo>
                <a:cubicBezTo>
                  <a:pt x="21600" y="15709"/>
                  <a:pt x="21389" y="16215"/>
                  <a:pt x="20968" y="16637"/>
                </a:cubicBezTo>
                <a:cubicBezTo>
                  <a:pt x="20546" y="17059"/>
                  <a:pt x="20032" y="17270"/>
                  <a:pt x="19425" y="17270"/>
                </a:cubicBezTo>
                <a:lnTo>
                  <a:pt x="16187" y="17270"/>
                </a:lnTo>
                <a:lnTo>
                  <a:pt x="16187" y="19448"/>
                </a:lnTo>
                <a:cubicBezTo>
                  <a:pt x="16187" y="20039"/>
                  <a:pt x="15976" y="20545"/>
                  <a:pt x="15555" y="20967"/>
                </a:cubicBezTo>
                <a:cubicBezTo>
                  <a:pt x="15133" y="21389"/>
                  <a:pt x="14628" y="21600"/>
                  <a:pt x="14037" y="21600"/>
                </a:cubicBezTo>
                <a:lnTo>
                  <a:pt x="7563" y="21600"/>
                </a:lnTo>
                <a:cubicBezTo>
                  <a:pt x="6972" y="21600"/>
                  <a:pt x="6466" y="21389"/>
                  <a:pt x="6045" y="20967"/>
                </a:cubicBezTo>
                <a:cubicBezTo>
                  <a:pt x="5623" y="20545"/>
                  <a:pt x="5413" y="20039"/>
                  <a:pt x="5413" y="19448"/>
                </a:cubicBezTo>
                <a:lnTo>
                  <a:pt x="5413" y="17270"/>
                </a:lnTo>
                <a:lnTo>
                  <a:pt x="2175" y="17270"/>
                </a:lnTo>
                <a:cubicBezTo>
                  <a:pt x="1568" y="17270"/>
                  <a:pt x="1054" y="17059"/>
                  <a:pt x="632" y="16637"/>
                </a:cubicBezTo>
                <a:cubicBezTo>
                  <a:pt x="211" y="16215"/>
                  <a:pt x="0" y="15709"/>
                  <a:pt x="0" y="15117"/>
                </a:cubicBezTo>
                <a:lnTo>
                  <a:pt x="0" y="7546"/>
                </a:lnTo>
                <a:cubicBezTo>
                  <a:pt x="0" y="6955"/>
                  <a:pt x="211" y="6449"/>
                  <a:pt x="632" y="6027"/>
                </a:cubicBezTo>
                <a:cubicBezTo>
                  <a:pt x="1054" y="5605"/>
                  <a:pt x="1568" y="5394"/>
                  <a:pt x="2175" y="5394"/>
                </a:cubicBezTo>
                <a:lnTo>
                  <a:pt x="5413" y="5394"/>
                </a:lnTo>
                <a:lnTo>
                  <a:pt x="5413" y="2152"/>
                </a:lnTo>
                <a:cubicBezTo>
                  <a:pt x="5413" y="1562"/>
                  <a:pt x="5623" y="1055"/>
                  <a:pt x="6045" y="633"/>
                </a:cubicBezTo>
                <a:cubicBezTo>
                  <a:pt x="6466" y="211"/>
                  <a:pt x="6972" y="0"/>
                  <a:pt x="7563" y="0"/>
                </a:cubicBezTo>
                <a:lnTo>
                  <a:pt x="14037" y="0"/>
                </a:lnTo>
                <a:cubicBezTo>
                  <a:pt x="14628" y="0"/>
                  <a:pt x="15133" y="211"/>
                  <a:pt x="15555" y="633"/>
                </a:cubicBezTo>
                <a:cubicBezTo>
                  <a:pt x="15976" y="1055"/>
                  <a:pt x="16187" y="1562"/>
                  <a:pt x="16187" y="2152"/>
                </a:cubicBezTo>
                <a:lnTo>
                  <a:pt x="16187" y="5394"/>
                </a:lnTo>
                <a:lnTo>
                  <a:pt x="19425" y="5394"/>
                </a:lnTo>
                <a:lnTo>
                  <a:pt x="19425" y="5394"/>
                </a:lnTo>
                <a:lnTo>
                  <a:pt x="19425" y="5394"/>
                </a:lnTo>
                <a:close/>
                <a:moveTo>
                  <a:pt x="6475" y="2152"/>
                </a:moveTo>
                <a:lnTo>
                  <a:pt x="6475" y="5394"/>
                </a:lnTo>
                <a:lnTo>
                  <a:pt x="15125" y="5394"/>
                </a:lnTo>
                <a:lnTo>
                  <a:pt x="15125" y="2152"/>
                </a:lnTo>
                <a:cubicBezTo>
                  <a:pt x="15125" y="1849"/>
                  <a:pt x="15020" y="1591"/>
                  <a:pt x="14809" y="1380"/>
                </a:cubicBezTo>
                <a:cubicBezTo>
                  <a:pt x="14598" y="1169"/>
                  <a:pt x="14341" y="1064"/>
                  <a:pt x="14037" y="1064"/>
                </a:cubicBezTo>
                <a:lnTo>
                  <a:pt x="7563" y="1064"/>
                </a:lnTo>
                <a:cubicBezTo>
                  <a:pt x="7259" y="1064"/>
                  <a:pt x="7002" y="1169"/>
                  <a:pt x="6791" y="1380"/>
                </a:cubicBezTo>
                <a:cubicBezTo>
                  <a:pt x="6580" y="1591"/>
                  <a:pt x="6475" y="1849"/>
                  <a:pt x="6475" y="2152"/>
                </a:cubicBezTo>
                <a:lnTo>
                  <a:pt x="6475" y="2152"/>
                </a:lnTo>
                <a:lnTo>
                  <a:pt x="6475" y="2152"/>
                </a:lnTo>
                <a:close/>
                <a:moveTo>
                  <a:pt x="15125" y="19448"/>
                </a:moveTo>
                <a:lnTo>
                  <a:pt x="15125" y="12965"/>
                </a:lnTo>
                <a:lnTo>
                  <a:pt x="6475" y="12965"/>
                </a:lnTo>
                <a:lnTo>
                  <a:pt x="6475" y="19448"/>
                </a:lnTo>
                <a:cubicBezTo>
                  <a:pt x="6475" y="19735"/>
                  <a:pt x="6580" y="19984"/>
                  <a:pt x="6791" y="20195"/>
                </a:cubicBezTo>
                <a:cubicBezTo>
                  <a:pt x="7002" y="20406"/>
                  <a:pt x="7259" y="20511"/>
                  <a:pt x="7563" y="20511"/>
                </a:cubicBezTo>
                <a:lnTo>
                  <a:pt x="14037" y="20511"/>
                </a:lnTo>
                <a:cubicBezTo>
                  <a:pt x="14341" y="20511"/>
                  <a:pt x="14598" y="20406"/>
                  <a:pt x="14809" y="20195"/>
                </a:cubicBezTo>
                <a:cubicBezTo>
                  <a:pt x="15020" y="19984"/>
                  <a:pt x="15125" y="19735"/>
                  <a:pt x="15125" y="19448"/>
                </a:cubicBezTo>
                <a:lnTo>
                  <a:pt x="15125" y="19448"/>
                </a:lnTo>
                <a:lnTo>
                  <a:pt x="15125" y="19448"/>
                </a:lnTo>
                <a:close/>
                <a:moveTo>
                  <a:pt x="20512" y="15117"/>
                </a:moveTo>
                <a:lnTo>
                  <a:pt x="20512" y="7546"/>
                </a:lnTo>
                <a:cubicBezTo>
                  <a:pt x="20512" y="7259"/>
                  <a:pt x="20407" y="7010"/>
                  <a:pt x="20196" y="6799"/>
                </a:cubicBezTo>
                <a:cubicBezTo>
                  <a:pt x="19985" y="6588"/>
                  <a:pt x="19728" y="6483"/>
                  <a:pt x="19425" y="6483"/>
                </a:cubicBezTo>
                <a:lnTo>
                  <a:pt x="2175" y="6483"/>
                </a:lnTo>
                <a:cubicBezTo>
                  <a:pt x="1872" y="6483"/>
                  <a:pt x="1615" y="6588"/>
                  <a:pt x="1404" y="6799"/>
                </a:cubicBezTo>
                <a:cubicBezTo>
                  <a:pt x="1193" y="7010"/>
                  <a:pt x="1088" y="7259"/>
                  <a:pt x="1088" y="7546"/>
                </a:cubicBezTo>
                <a:lnTo>
                  <a:pt x="1088" y="15117"/>
                </a:lnTo>
                <a:cubicBezTo>
                  <a:pt x="1088" y="15421"/>
                  <a:pt x="1193" y="15679"/>
                  <a:pt x="1404" y="15890"/>
                </a:cubicBezTo>
                <a:cubicBezTo>
                  <a:pt x="1615" y="16101"/>
                  <a:pt x="1872" y="16206"/>
                  <a:pt x="2175" y="16206"/>
                </a:cubicBezTo>
                <a:lnTo>
                  <a:pt x="5413" y="16206"/>
                </a:lnTo>
                <a:lnTo>
                  <a:pt x="5413" y="11876"/>
                </a:lnTo>
                <a:lnTo>
                  <a:pt x="16187" y="11876"/>
                </a:lnTo>
                <a:lnTo>
                  <a:pt x="16187" y="16206"/>
                </a:lnTo>
                <a:lnTo>
                  <a:pt x="19425" y="16206"/>
                </a:lnTo>
                <a:cubicBezTo>
                  <a:pt x="19728" y="16206"/>
                  <a:pt x="19985" y="16101"/>
                  <a:pt x="20196" y="15890"/>
                </a:cubicBezTo>
                <a:cubicBezTo>
                  <a:pt x="20407" y="15679"/>
                  <a:pt x="20512" y="15421"/>
                  <a:pt x="20512" y="15117"/>
                </a:cubicBezTo>
                <a:lnTo>
                  <a:pt x="20512" y="15117"/>
                </a:lnTo>
                <a:lnTo>
                  <a:pt x="20512" y="15117"/>
                </a:lnTo>
                <a:close/>
                <a:moveTo>
                  <a:pt x="8094" y="16206"/>
                </a:moveTo>
                <a:cubicBezTo>
                  <a:pt x="7959" y="16206"/>
                  <a:pt x="7837" y="16152"/>
                  <a:pt x="7727" y="16042"/>
                </a:cubicBezTo>
                <a:cubicBezTo>
                  <a:pt x="7617" y="15932"/>
                  <a:pt x="7563" y="15801"/>
                  <a:pt x="7563" y="15649"/>
                </a:cubicBezTo>
                <a:cubicBezTo>
                  <a:pt x="7563" y="15514"/>
                  <a:pt x="7617" y="15392"/>
                  <a:pt x="7727" y="15282"/>
                </a:cubicBezTo>
                <a:cubicBezTo>
                  <a:pt x="7837" y="15172"/>
                  <a:pt x="7959" y="15117"/>
                  <a:pt x="8094" y="15117"/>
                </a:cubicBezTo>
                <a:lnTo>
                  <a:pt x="13506" y="15117"/>
                </a:lnTo>
                <a:cubicBezTo>
                  <a:pt x="13658" y="15117"/>
                  <a:pt x="13785" y="15172"/>
                  <a:pt x="13886" y="15282"/>
                </a:cubicBezTo>
                <a:cubicBezTo>
                  <a:pt x="13987" y="15392"/>
                  <a:pt x="14037" y="15514"/>
                  <a:pt x="14037" y="15649"/>
                </a:cubicBezTo>
                <a:cubicBezTo>
                  <a:pt x="14037" y="15801"/>
                  <a:pt x="13987" y="15932"/>
                  <a:pt x="13886" y="16042"/>
                </a:cubicBezTo>
                <a:cubicBezTo>
                  <a:pt x="13785" y="16152"/>
                  <a:pt x="13658" y="16206"/>
                  <a:pt x="13506" y="16206"/>
                </a:cubicBezTo>
                <a:lnTo>
                  <a:pt x="8094" y="16206"/>
                </a:lnTo>
                <a:lnTo>
                  <a:pt x="8094" y="16206"/>
                </a:lnTo>
                <a:lnTo>
                  <a:pt x="8094" y="16206"/>
                </a:lnTo>
                <a:close/>
                <a:moveTo>
                  <a:pt x="12798" y="17434"/>
                </a:moveTo>
                <a:cubicBezTo>
                  <a:pt x="12899" y="17544"/>
                  <a:pt x="12950" y="17675"/>
                  <a:pt x="12950" y="17827"/>
                </a:cubicBezTo>
                <a:cubicBezTo>
                  <a:pt x="12950" y="17962"/>
                  <a:pt x="12899" y="18085"/>
                  <a:pt x="12798" y="18194"/>
                </a:cubicBezTo>
                <a:cubicBezTo>
                  <a:pt x="12697" y="18304"/>
                  <a:pt x="12570" y="18359"/>
                  <a:pt x="12419" y="18359"/>
                </a:cubicBezTo>
                <a:lnTo>
                  <a:pt x="9181" y="18359"/>
                </a:lnTo>
                <a:cubicBezTo>
                  <a:pt x="9030" y="18359"/>
                  <a:pt x="8903" y="18304"/>
                  <a:pt x="8802" y="18194"/>
                </a:cubicBezTo>
                <a:cubicBezTo>
                  <a:pt x="8701" y="18085"/>
                  <a:pt x="8650" y="17962"/>
                  <a:pt x="8650" y="17827"/>
                </a:cubicBezTo>
                <a:cubicBezTo>
                  <a:pt x="8650" y="17675"/>
                  <a:pt x="8701" y="17544"/>
                  <a:pt x="8802" y="17434"/>
                </a:cubicBezTo>
                <a:cubicBezTo>
                  <a:pt x="8903" y="17325"/>
                  <a:pt x="9030" y="17270"/>
                  <a:pt x="9181" y="17270"/>
                </a:cubicBezTo>
                <a:lnTo>
                  <a:pt x="12419" y="17270"/>
                </a:lnTo>
                <a:cubicBezTo>
                  <a:pt x="12570" y="17270"/>
                  <a:pt x="12697" y="17325"/>
                  <a:pt x="12798" y="17434"/>
                </a:cubicBezTo>
                <a:lnTo>
                  <a:pt x="12798" y="17434"/>
                </a:lnTo>
                <a:close/>
                <a:moveTo>
                  <a:pt x="18198" y="8787"/>
                </a:moveTo>
                <a:cubicBezTo>
                  <a:pt x="18088" y="8686"/>
                  <a:pt x="17958" y="8635"/>
                  <a:pt x="17806" y="8635"/>
                </a:cubicBezTo>
                <a:cubicBezTo>
                  <a:pt x="17671" y="8635"/>
                  <a:pt x="17549" y="8686"/>
                  <a:pt x="17439" y="8787"/>
                </a:cubicBezTo>
                <a:cubicBezTo>
                  <a:pt x="17329" y="8888"/>
                  <a:pt x="17275" y="9015"/>
                  <a:pt x="17275" y="9167"/>
                </a:cubicBezTo>
                <a:cubicBezTo>
                  <a:pt x="17275" y="9319"/>
                  <a:pt x="17329" y="9450"/>
                  <a:pt x="17439" y="9559"/>
                </a:cubicBezTo>
                <a:cubicBezTo>
                  <a:pt x="17549" y="9669"/>
                  <a:pt x="17671" y="9724"/>
                  <a:pt x="17806" y="9724"/>
                </a:cubicBezTo>
                <a:cubicBezTo>
                  <a:pt x="17958" y="9724"/>
                  <a:pt x="18088" y="9669"/>
                  <a:pt x="18198" y="9559"/>
                </a:cubicBezTo>
                <a:cubicBezTo>
                  <a:pt x="18308" y="9450"/>
                  <a:pt x="18363" y="9319"/>
                  <a:pt x="18363" y="9167"/>
                </a:cubicBezTo>
                <a:cubicBezTo>
                  <a:pt x="18363" y="9015"/>
                  <a:pt x="18308" y="8888"/>
                  <a:pt x="18198" y="8787"/>
                </a:cubicBezTo>
                <a:lnTo>
                  <a:pt x="18198" y="8787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>
            <a:miter lim="400000"/>
          </a:ln>
        </p:spPr>
        <p:txBody>
          <a:bodyPr lIns="27428" tIns="27428" rIns="27428" bIns="27428" anchor="ctr"/>
          <a:lstStyle/>
          <a:p>
            <a:pPr marL="0" marR="0" lvl="0" indent="0" algn="l" defTabSz="3291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29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72" name="CaixaDeTexto 71">
            <a:extLst>
              <a:ext uri="{FF2B5EF4-FFF2-40B4-BE49-F238E27FC236}">
                <a16:creationId xmlns:a16="http://schemas.microsoft.com/office/drawing/2014/main" id="{C95D3D3D-824C-C8E3-675A-ACEC5546C14A}"/>
              </a:ext>
            </a:extLst>
          </p:cNvPr>
          <p:cNvSpPr txBox="1"/>
          <p:nvPr/>
        </p:nvSpPr>
        <p:spPr>
          <a:xfrm>
            <a:off x="10964963" y="2834188"/>
            <a:ext cx="102904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165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Digitalização</a:t>
            </a:r>
          </a:p>
        </p:txBody>
      </p:sp>
      <p:cxnSp>
        <p:nvCxnSpPr>
          <p:cNvPr id="73" name="Conector de Seta Reta 72">
            <a:extLst>
              <a:ext uri="{FF2B5EF4-FFF2-40B4-BE49-F238E27FC236}">
                <a16:creationId xmlns:a16="http://schemas.microsoft.com/office/drawing/2014/main" id="{7839F76D-100F-38EC-B102-940E96876687}"/>
              </a:ext>
            </a:extLst>
          </p:cNvPr>
          <p:cNvCxnSpPr>
            <a:cxnSpLocks/>
            <a:stCxn id="72" idx="2"/>
          </p:cNvCxnSpPr>
          <p:nvPr/>
        </p:nvCxnSpPr>
        <p:spPr>
          <a:xfrm flipH="1">
            <a:off x="11476433" y="3065020"/>
            <a:ext cx="3052" cy="331267"/>
          </a:xfrm>
          <a:prstGeom prst="straightConnector1">
            <a:avLst/>
          </a:prstGeom>
          <a:ln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ector de Seta Reta 75">
            <a:extLst>
              <a:ext uri="{FF2B5EF4-FFF2-40B4-BE49-F238E27FC236}">
                <a16:creationId xmlns:a16="http://schemas.microsoft.com/office/drawing/2014/main" id="{462B2CE6-E3AD-3F27-A946-6528A7CD5340}"/>
              </a:ext>
            </a:extLst>
          </p:cNvPr>
          <p:cNvCxnSpPr>
            <a:cxnSpLocks/>
          </p:cNvCxnSpPr>
          <p:nvPr/>
        </p:nvCxnSpPr>
        <p:spPr>
          <a:xfrm>
            <a:off x="10149486" y="2137906"/>
            <a:ext cx="182425" cy="0"/>
          </a:xfrm>
          <a:prstGeom prst="straightConnector1">
            <a:avLst/>
          </a:prstGeom>
          <a:ln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Conector: Angulado 77">
            <a:extLst>
              <a:ext uri="{FF2B5EF4-FFF2-40B4-BE49-F238E27FC236}">
                <a16:creationId xmlns:a16="http://schemas.microsoft.com/office/drawing/2014/main" id="{A62CFC35-E4FB-A391-6D8C-2918C11E193D}"/>
              </a:ext>
            </a:extLst>
          </p:cNvPr>
          <p:cNvCxnSpPr>
            <a:cxnSpLocks/>
          </p:cNvCxnSpPr>
          <p:nvPr/>
        </p:nvCxnSpPr>
        <p:spPr>
          <a:xfrm flipV="1">
            <a:off x="10600990" y="2139096"/>
            <a:ext cx="676992" cy="177733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Conector: Angulado 79">
            <a:extLst>
              <a:ext uri="{FF2B5EF4-FFF2-40B4-BE49-F238E27FC236}">
                <a16:creationId xmlns:a16="http://schemas.microsoft.com/office/drawing/2014/main" id="{586A064D-84E6-D84B-6DC9-A12B334DAD96}"/>
              </a:ext>
            </a:extLst>
          </p:cNvPr>
          <p:cNvCxnSpPr>
            <a:cxnSpLocks/>
          </p:cNvCxnSpPr>
          <p:nvPr/>
        </p:nvCxnSpPr>
        <p:spPr>
          <a:xfrm>
            <a:off x="10668343" y="2319393"/>
            <a:ext cx="584434" cy="436496"/>
          </a:xfrm>
          <a:prstGeom prst="bentConnector3">
            <a:avLst>
              <a:gd name="adj1" fmla="val 47665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: Angulado 15">
            <a:extLst>
              <a:ext uri="{FF2B5EF4-FFF2-40B4-BE49-F238E27FC236}">
                <a16:creationId xmlns:a16="http://schemas.microsoft.com/office/drawing/2014/main" id="{D0F3DEB1-A827-8AD4-5297-FF10901E7B43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6082553" y="2561746"/>
            <a:ext cx="1204749" cy="183325"/>
          </a:xfrm>
          <a:prstGeom prst="bentConnector3">
            <a:avLst>
              <a:gd name="adj1" fmla="val 99775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ector: Angulado 24">
            <a:extLst>
              <a:ext uri="{FF2B5EF4-FFF2-40B4-BE49-F238E27FC236}">
                <a16:creationId xmlns:a16="http://schemas.microsoft.com/office/drawing/2014/main" id="{D9F5CED9-8773-980C-C25B-F508374D413C}"/>
              </a:ext>
            </a:extLst>
          </p:cNvPr>
          <p:cNvCxnSpPr>
            <a:cxnSpLocks/>
          </p:cNvCxnSpPr>
          <p:nvPr/>
        </p:nvCxnSpPr>
        <p:spPr>
          <a:xfrm rot="16200000" flipH="1">
            <a:off x="8268425" y="3729057"/>
            <a:ext cx="34759" cy="879439"/>
          </a:xfrm>
          <a:prstGeom prst="bentConnector2">
            <a:avLst/>
          </a:prstGeom>
          <a:ln>
            <a:solidFill>
              <a:srgbClr val="99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Conector de Seta Reta 123">
            <a:extLst>
              <a:ext uri="{FF2B5EF4-FFF2-40B4-BE49-F238E27FC236}">
                <a16:creationId xmlns:a16="http://schemas.microsoft.com/office/drawing/2014/main" id="{B5BFBE06-33AA-6ED6-4CB3-0ACC680AEC4B}"/>
              </a:ext>
            </a:extLst>
          </p:cNvPr>
          <p:cNvCxnSpPr>
            <a:cxnSpLocks/>
          </p:cNvCxnSpPr>
          <p:nvPr/>
        </p:nvCxnSpPr>
        <p:spPr>
          <a:xfrm>
            <a:off x="10145474" y="2589682"/>
            <a:ext cx="182425" cy="0"/>
          </a:xfrm>
          <a:prstGeom prst="straightConnector1">
            <a:avLst/>
          </a:prstGeom>
          <a:ln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Conector reto 124">
            <a:extLst>
              <a:ext uri="{FF2B5EF4-FFF2-40B4-BE49-F238E27FC236}">
                <a16:creationId xmlns:a16="http://schemas.microsoft.com/office/drawing/2014/main" id="{A8A66A3F-3F78-E922-C9A9-0B3F942043E8}"/>
              </a:ext>
            </a:extLst>
          </p:cNvPr>
          <p:cNvCxnSpPr>
            <a:cxnSpLocks/>
          </p:cNvCxnSpPr>
          <p:nvPr/>
        </p:nvCxnSpPr>
        <p:spPr>
          <a:xfrm>
            <a:off x="10670507" y="2586189"/>
            <a:ext cx="178789" cy="0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Agrupar 17">
            <a:extLst>
              <a:ext uri="{FF2B5EF4-FFF2-40B4-BE49-F238E27FC236}">
                <a16:creationId xmlns:a16="http://schemas.microsoft.com/office/drawing/2014/main" id="{FB6B0CCB-C409-FB4E-E9A2-A61FF3ACCEE6}"/>
              </a:ext>
            </a:extLst>
          </p:cNvPr>
          <p:cNvGrpSpPr/>
          <p:nvPr/>
        </p:nvGrpSpPr>
        <p:grpSpPr>
          <a:xfrm>
            <a:off x="17223" y="4560047"/>
            <a:ext cx="12313176" cy="2292849"/>
            <a:chOff x="17223" y="4560047"/>
            <a:chExt cx="12313176" cy="2292849"/>
          </a:xfrm>
        </p:grpSpPr>
        <p:grpSp>
          <p:nvGrpSpPr>
            <p:cNvPr id="26" name="Agrupar 25">
              <a:extLst>
                <a:ext uri="{FF2B5EF4-FFF2-40B4-BE49-F238E27FC236}">
                  <a16:creationId xmlns:a16="http://schemas.microsoft.com/office/drawing/2014/main" id="{FC753962-C9A2-DAB0-205C-BD47F5A5FF00}"/>
                </a:ext>
              </a:extLst>
            </p:cNvPr>
            <p:cNvGrpSpPr>
              <a:grpSpLocks/>
            </p:cNvGrpSpPr>
            <p:nvPr/>
          </p:nvGrpSpPr>
          <p:grpSpPr>
            <a:xfrm>
              <a:off x="17223" y="4560047"/>
              <a:ext cx="12130409" cy="2055762"/>
              <a:chOff x="19861" y="4728435"/>
              <a:chExt cx="12130409" cy="2121211"/>
            </a:xfrm>
          </p:grpSpPr>
          <p:sp>
            <p:nvSpPr>
              <p:cNvPr id="1065" name="Retângulo: Cantos Arredondados 1064">
                <a:extLst>
                  <a:ext uri="{FF2B5EF4-FFF2-40B4-BE49-F238E27FC236}">
                    <a16:creationId xmlns:a16="http://schemas.microsoft.com/office/drawing/2014/main" id="{959217BA-8252-1761-575F-E1EF722735F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7926" y="4728436"/>
                <a:ext cx="668016" cy="2093916"/>
              </a:xfrm>
              <a:prstGeom prst="roundRect">
                <a:avLst>
                  <a:gd name="adj" fmla="val 13501"/>
                </a:avLst>
              </a:prstGeom>
              <a:solidFill>
                <a:srgbClr val="F8148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8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Display Black" panose="020B0903020204020204" pitchFamily="34" charset="0"/>
                  <a:ea typeface="+mn-ea"/>
                  <a:cs typeface="Itau Display Black" panose="020B0903020204020204" pitchFamily="34" charset="0"/>
                </a:endParaRPr>
              </a:p>
            </p:txBody>
          </p:sp>
          <p:sp>
            <p:nvSpPr>
              <p:cNvPr id="1067" name="Retângulo: Cantos Arredondados 1066">
                <a:extLst>
                  <a:ext uri="{FF2B5EF4-FFF2-40B4-BE49-F238E27FC236}">
                    <a16:creationId xmlns:a16="http://schemas.microsoft.com/office/drawing/2014/main" id="{FB8544D1-438D-691E-4821-C5538804C830}"/>
                  </a:ext>
                </a:extLst>
              </p:cNvPr>
              <p:cNvSpPr>
                <a:spLocks/>
              </p:cNvSpPr>
              <p:nvPr/>
            </p:nvSpPr>
            <p:spPr>
              <a:xfrm rot="16200000">
                <a:off x="-667098" y="5415394"/>
                <a:ext cx="2093917" cy="720000"/>
              </a:xfrm>
              <a:prstGeom prst="round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2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Itau Display Black" panose="020B0903020204020204" pitchFamily="34" charset="0"/>
                    <a:ea typeface="+mn-ea"/>
                    <a:cs typeface="Itau Display Black" panose="020B0903020204020204" pitchFamily="34" charset="0"/>
                  </a:rPr>
                  <a:t>Pain points</a:t>
                </a:r>
                <a:br>
                  <a:rPr kumimoji="0" lang="pt-BR" sz="12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Itau Display Black" panose="020B0903020204020204" pitchFamily="34" charset="0"/>
                    <a:ea typeface="+mn-ea"/>
                    <a:cs typeface="Itau Display Black" panose="020B0903020204020204" pitchFamily="34" charset="0"/>
                  </a:rPr>
                </a:br>
                <a:r>
                  <a:rPr kumimoji="0" lang="pt-BR" sz="12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Itau Display Light" panose="020B0403020204020204" pitchFamily="34" charset="0"/>
                    <a:ea typeface="+mn-ea"/>
                    <a:cs typeface="Itau Display Light" panose="020B0403020204020204" pitchFamily="34" charset="0"/>
                  </a:rPr>
                  <a:t>(</a:t>
                </a:r>
                <a:r>
                  <a:rPr kumimoji="0" lang="pt-BR" sz="11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Itau Display Light" panose="020B0403020204020204" pitchFamily="34" charset="0"/>
                    <a:ea typeface="+mn-ea"/>
                    <a:cs typeface="Itau Display Light" panose="020B0403020204020204" pitchFamily="34" charset="0"/>
                  </a:rPr>
                  <a:t>visão cliente</a:t>
                </a:r>
                <a:r>
                  <a:rPr kumimoji="0" lang="pt-BR" sz="12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Itau Display Light" panose="020B0403020204020204" pitchFamily="34" charset="0"/>
                    <a:ea typeface="+mn-ea"/>
                    <a:cs typeface="Itau Display Light" panose="020B0403020204020204" pitchFamily="34" charset="0"/>
                  </a:rPr>
                  <a:t>)</a:t>
                </a:r>
              </a:p>
            </p:txBody>
          </p:sp>
          <p:sp>
            <p:nvSpPr>
              <p:cNvPr id="1199" name="Retângulo 1198">
                <a:extLst>
                  <a:ext uri="{FF2B5EF4-FFF2-40B4-BE49-F238E27FC236}">
                    <a16:creationId xmlns:a16="http://schemas.microsoft.com/office/drawing/2014/main" id="{8DB3A380-2CFD-5D8C-FE15-7C008F3D933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24682" y="4728435"/>
                <a:ext cx="11325588" cy="2121211"/>
              </a:xfrm>
              <a:prstGeom prst="rect">
                <a:avLst/>
              </a:prstGeom>
              <a:noFill/>
              <a:ln w="12700" cap="flat" cmpd="sng" algn="ctr">
                <a:solidFill>
                  <a:schemeClr val="bg1">
                    <a:lumMod val="85000"/>
                  </a:schemeClr>
                </a:solidFill>
                <a:prstDash val="solid"/>
                <a:miter lim="800000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2000" b="1" i="0" u="sng" strike="noStrike" kern="0" cap="none" spc="0" normalizeH="0" baseline="0" noProof="0">
                  <a:ln>
                    <a:noFill/>
                  </a:ln>
                  <a:solidFill>
                    <a:srgbClr val="FF7800"/>
                  </a:solidFill>
                  <a:effectLst/>
                  <a:uLnTx/>
                  <a:uFillTx/>
                  <a:latin typeface="Itau Display Black" panose="020B0903020204020204" pitchFamily="34" charset="0"/>
                  <a:ea typeface="+mn-ea"/>
                  <a:cs typeface="Itau Display Black" panose="020B0903020204020204" pitchFamily="34" charset="0"/>
                </a:endParaRPr>
              </a:p>
            </p:txBody>
          </p:sp>
          <p:sp>
            <p:nvSpPr>
              <p:cNvPr id="17" name="CaixaDeTexto 16">
                <a:extLst>
                  <a:ext uri="{FF2B5EF4-FFF2-40B4-BE49-F238E27FC236}">
                    <a16:creationId xmlns:a16="http://schemas.microsoft.com/office/drawing/2014/main" id="{71A8316A-1B60-C83B-9D34-87C59D8B9E3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74200" y="4863611"/>
                <a:ext cx="2685545" cy="12048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pt-BR"/>
                </a:defPPr>
                <a:lvl1pPr marL="285750" indent="-285750">
                  <a:buFont typeface="Arial" panose="020B0604020202020204" pitchFamily="34" charset="0"/>
                  <a:buChar char="•"/>
                  <a:defRPr sz="1400">
                    <a:latin typeface="Itau Display Light" panose="020B0403020204020204" pitchFamily="34" charset="0"/>
                    <a:cs typeface="Itau Display Light" panose="020B0403020204020204" pitchFamily="34" charset="0"/>
                  </a:defRPr>
                </a:lvl1pPr>
              </a:lstStyle>
              <a:p>
                <a:pPr marL="285750" marR="0" lvl="0" indent="-285750" algn="l" defTabSz="914400" rtl="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pt-BR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Itau Display" panose="020B0503020204020204" pitchFamily="34" charset="0"/>
                    <a:ea typeface="+mn-ea"/>
                    <a:cs typeface="Itau Display" panose="020B0503020204020204" pitchFamily="34" charset="0"/>
                  </a:rPr>
                  <a:t>Falta de padrão nos canais.</a:t>
                </a:r>
              </a:p>
              <a:p>
                <a:pPr marL="285750" marR="0" lvl="0" indent="-285750" algn="l" defTabSz="914400" rtl="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pt-BR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Itau Display" panose="020B0503020204020204" pitchFamily="34" charset="0"/>
                    <a:ea typeface="+mn-ea"/>
                    <a:cs typeface="Itau Display" panose="020B0503020204020204" pitchFamily="34" charset="0"/>
                  </a:rPr>
                  <a:t>Experiência  não </a:t>
                </a:r>
                <a:r>
                  <a:rPr kumimoji="0" lang="pt-BR" sz="12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Itau Display" panose="020B0503020204020204" pitchFamily="34" charset="0"/>
                    <a:ea typeface="+mn-ea"/>
                    <a:cs typeface="Itau Display" panose="020B0503020204020204" pitchFamily="34" charset="0"/>
                  </a:rPr>
                  <a:t>omnichannel</a:t>
                </a:r>
                <a:r>
                  <a:rPr kumimoji="0" lang="pt-BR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Itau Display" panose="020B0503020204020204" pitchFamily="34" charset="0"/>
                    <a:ea typeface="+mn-ea"/>
                    <a:cs typeface="Itau Display" panose="020B0503020204020204" pitchFamily="34" charset="0"/>
                  </a:rPr>
                  <a:t>.</a:t>
                </a:r>
              </a:p>
              <a:p>
                <a:pPr marL="285750" marR="0" lvl="0" indent="-285750" algn="l" defTabSz="914400" rtl="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pt-BR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Itau Display" panose="020B0503020204020204" pitchFamily="34" charset="0"/>
                    <a:ea typeface="+mn-ea"/>
                    <a:cs typeface="Itau Display" panose="020B0503020204020204" pitchFamily="34" charset="0"/>
                  </a:rPr>
                  <a:t>Cliente não confia nos links que recebe.</a:t>
                </a:r>
              </a:p>
            </p:txBody>
          </p:sp>
          <p:sp>
            <p:nvSpPr>
              <p:cNvPr id="20" name="CaixaDeTexto 19">
                <a:extLst>
                  <a:ext uri="{FF2B5EF4-FFF2-40B4-BE49-F238E27FC236}">
                    <a16:creationId xmlns:a16="http://schemas.microsoft.com/office/drawing/2014/main" id="{A2A5E283-3CA1-B9F8-097E-C6241555B5A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793212" y="4741493"/>
                <a:ext cx="3504215" cy="200072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pt-BR"/>
                </a:defPPr>
                <a:lvl1pPr marL="285750" indent="-285750">
                  <a:buFont typeface="Arial" panose="020B0604020202020204" pitchFamily="34" charset="0"/>
                  <a:buChar char="•"/>
                  <a:defRPr sz="1400">
                    <a:latin typeface="Itau Display Light" panose="020B0403020204020204" pitchFamily="34" charset="0"/>
                    <a:cs typeface="Itau Display Light" panose="020B0403020204020204" pitchFamily="34" charset="0"/>
                  </a:defRPr>
                </a:lvl1pPr>
              </a:lstStyle>
              <a:p>
                <a:pPr marL="285750" marR="0" lvl="0" indent="-285750" algn="l" defTabSz="914400" rtl="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pt-BR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Itau Display" panose="020B0503020204020204" pitchFamily="34" charset="0"/>
                    <a:ea typeface="+mn-ea"/>
                    <a:cs typeface="Itau Display" panose="020B0503020204020204" pitchFamily="34" charset="0"/>
                  </a:rPr>
                  <a:t>Jornadas de captura de conteúdos físicos e digitais demoradas e pouco modernas</a:t>
                </a:r>
              </a:p>
              <a:p>
                <a:pPr marL="285750" marR="0" lvl="0" indent="-285750" algn="l" defTabSz="914400" rtl="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pt-BR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Itau Display" panose="020B0503020204020204" pitchFamily="34" charset="0"/>
                    <a:ea typeface="+mn-ea"/>
                    <a:cs typeface="Itau Display" panose="020B0503020204020204" pitchFamily="34" charset="0"/>
                  </a:rPr>
                  <a:t>Múltiplas solicitações de um mesmo conteúdo (sem reuso).</a:t>
                </a:r>
              </a:p>
              <a:p>
                <a:pPr marL="285750" marR="0" lvl="0" indent="-285750" algn="l" defTabSz="914400" rtl="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pt-BR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Itau Display" panose="020B0503020204020204" pitchFamily="34" charset="0"/>
                    <a:ea typeface="+mn-ea"/>
                    <a:cs typeface="Itau Display" panose="020B0503020204020204" pitchFamily="34" charset="0"/>
                  </a:rPr>
                  <a:t>Não existe uma comunicação com outros ambientes (Gov.br).</a:t>
                </a:r>
              </a:p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pt-BR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Itau Display Light" panose="020B0403020204020204" pitchFamily="34" charset="0"/>
                  <a:ea typeface="+mn-ea"/>
                </a:endParaRPr>
              </a:p>
            </p:txBody>
          </p:sp>
        </p:grpSp>
        <p:sp>
          <p:nvSpPr>
            <p:cNvPr id="40" name="CaixaDeTexto 39">
              <a:extLst>
                <a:ext uri="{FF2B5EF4-FFF2-40B4-BE49-F238E27FC236}">
                  <a16:creationId xmlns:a16="http://schemas.microsoft.com/office/drawing/2014/main" id="{E4FADBF0-75BB-3620-D674-303B0406297D}"/>
                </a:ext>
              </a:extLst>
            </p:cNvPr>
            <p:cNvSpPr txBox="1"/>
            <p:nvPr/>
          </p:nvSpPr>
          <p:spPr>
            <a:xfrm>
              <a:off x="7564210" y="4575349"/>
              <a:ext cx="4766189" cy="22775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marR="0" lvl="0" indent="-2857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sz="12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Cliente não confia nos links de direcionamento que recebe.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sz="12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Não encontra o que procura.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sz="12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Acha as informações confusas.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sz="12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Se sente inseguro ao acessar.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sz="12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Não sabe qual login usar. 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sz="12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Prefere outro canal ao invés do disponibilizado.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sz="12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Não sabe em qual central ligar.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pt-BR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0938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Conector reto 20">
            <a:extLst>
              <a:ext uri="{FF2B5EF4-FFF2-40B4-BE49-F238E27FC236}">
                <a16:creationId xmlns:a16="http://schemas.microsoft.com/office/drawing/2014/main" id="{F8F1F851-7DD5-3A60-85BE-17003178F139}"/>
              </a:ext>
            </a:extLst>
          </p:cNvPr>
          <p:cNvCxnSpPr/>
          <p:nvPr/>
        </p:nvCxnSpPr>
        <p:spPr>
          <a:xfrm>
            <a:off x="3739874" y="2207074"/>
            <a:ext cx="0" cy="4382786"/>
          </a:xfrm>
          <a:prstGeom prst="line">
            <a:avLst/>
          </a:prstGeom>
          <a:ln>
            <a:solidFill>
              <a:srgbClr val="02458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ctor reto 23">
            <a:extLst>
              <a:ext uri="{FF2B5EF4-FFF2-40B4-BE49-F238E27FC236}">
                <a16:creationId xmlns:a16="http://schemas.microsoft.com/office/drawing/2014/main" id="{A0A0B912-11F6-CEFE-3448-64035E6715A5}"/>
              </a:ext>
            </a:extLst>
          </p:cNvPr>
          <p:cNvCxnSpPr/>
          <p:nvPr/>
        </p:nvCxnSpPr>
        <p:spPr>
          <a:xfrm>
            <a:off x="7524371" y="2207074"/>
            <a:ext cx="0" cy="4382786"/>
          </a:xfrm>
          <a:prstGeom prst="line">
            <a:avLst/>
          </a:prstGeom>
          <a:ln>
            <a:solidFill>
              <a:srgbClr val="02458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9" name="Retângulo 1168">
            <a:extLst>
              <a:ext uri="{FF2B5EF4-FFF2-40B4-BE49-F238E27FC236}">
                <a16:creationId xmlns:a16="http://schemas.microsoft.com/office/drawing/2014/main" id="{60374896-4E90-6C9F-041B-F9611AFED7A9}"/>
              </a:ext>
            </a:extLst>
          </p:cNvPr>
          <p:cNvSpPr/>
          <p:nvPr/>
        </p:nvSpPr>
        <p:spPr>
          <a:xfrm>
            <a:off x="1440142" y="635622"/>
            <a:ext cx="638028" cy="334619"/>
          </a:xfrm>
          <a:prstGeom prst="rect">
            <a:avLst/>
          </a:prstGeom>
          <a:solidFill>
            <a:srgbClr val="FE9600"/>
          </a:solidFill>
          <a:ln w="12700" cap="flat" cmpd="sng" algn="ctr">
            <a:solidFill>
              <a:srgbClr val="FF993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Interesse</a:t>
            </a:r>
          </a:p>
        </p:txBody>
      </p:sp>
      <p:sp>
        <p:nvSpPr>
          <p:cNvPr id="1170" name="Retângulo 1169">
            <a:extLst>
              <a:ext uri="{FF2B5EF4-FFF2-40B4-BE49-F238E27FC236}">
                <a16:creationId xmlns:a16="http://schemas.microsoft.com/office/drawing/2014/main" id="{851ACAE1-B37B-26A7-8DDC-849365FBD1D1}"/>
              </a:ext>
            </a:extLst>
          </p:cNvPr>
          <p:cNvSpPr/>
          <p:nvPr/>
        </p:nvSpPr>
        <p:spPr>
          <a:xfrm>
            <a:off x="2132953" y="635622"/>
            <a:ext cx="832210" cy="334619"/>
          </a:xfrm>
          <a:prstGeom prst="rect">
            <a:avLst/>
          </a:prstGeom>
          <a:solidFill>
            <a:srgbClr val="FE9600"/>
          </a:solidFill>
          <a:ln w="12700" cap="flat" cmpd="sng" algn="ctr">
            <a:solidFill>
              <a:srgbClr val="FF993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Consideração</a:t>
            </a:r>
          </a:p>
        </p:txBody>
      </p:sp>
      <p:sp>
        <p:nvSpPr>
          <p:cNvPr id="1171" name="Retângulo 1170">
            <a:extLst>
              <a:ext uri="{FF2B5EF4-FFF2-40B4-BE49-F238E27FC236}">
                <a16:creationId xmlns:a16="http://schemas.microsoft.com/office/drawing/2014/main" id="{DA4885D1-3718-3B07-8C55-A5ED470A891A}"/>
              </a:ext>
            </a:extLst>
          </p:cNvPr>
          <p:cNvSpPr/>
          <p:nvPr/>
        </p:nvSpPr>
        <p:spPr>
          <a:xfrm>
            <a:off x="3029086" y="635622"/>
            <a:ext cx="703180" cy="334619"/>
          </a:xfrm>
          <a:prstGeom prst="rect">
            <a:avLst/>
          </a:prstGeom>
          <a:solidFill>
            <a:srgbClr val="FE9600"/>
          </a:solidFill>
          <a:ln w="12700" cap="flat" cmpd="sng" algn="ctr">
            <a:solidFill>
              <a:srgbClr val="FF993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Negociação</a:t>
            </a:r>
          </a:p>
        </p:txBody>
      </p:sp>
      <p:sp>
        <p:nvSpPr>
          <p:cNvPr id="1172" name="Retângulo 1171">
            <a:extLst>
              <a:ext uri="{FF2B5EF4-FFF2-40B4-BE49-F238E27FC236}">
                <a16:creationId xmlns:a16="http://schemas.microsoft.com/office/drawing/2014/main" id="{0BA348DC-062E-718D-11B7-3A7E42324A79}"/>
              </a:ext>
            </a:extLst>
          </p:cNvPr>
          <p:cNvSpPr/>
          <p:nvPr/>
        </p:nvSpPr>
        <p:spPr>
          <a:xfrm>
            <a:off x="3770366" y="635621"/>
            <a:ext cx="3719936" cy="324000"/>
          </a:xfrm>
          <a:prstGeom prst="rect">
            <a:avLst/>
          </a:prstGeom>
          <a:solidFill>
            <a:srgbClr val="FE9600"/>
          </a:solidFill>
          <a:ln w="12700" cap="flat" cmpd="sng" algn="ctr">
            <a:solidFill>
              <a:srgbClr val="FF993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Formalização</a:t>
            </a:r>
          </a:p>
        </p:txBody>
      </p:sp>
      <p:sp>
        <p:nvSpPr>
          <p:cNvPr id="1173" name="Retângulo 1172">
            <a:extLst>
              <a:ext uri="{FF2B5EF4-FFF2-40B4-BE49-F238E27FC236}">
                <a16:creationId xmlns:a16="http://schemas.microsoft.com/office/drawing/2014/main" id="{EA21A16C-F06C-3EFA-2A0E-8612E5CE53B2}"/>
              </a:ext>
            </a:extLst>
          </p:cNvPr>
          <p:cNvSpPr/>
          <p:nvPr/>
        </p:nvSpPr>
        <p:spPr>
          <a:xfrm>
            <a:off x="7548984" y="635621"/>
            <a:ext cx="4041477" cy="324000"/>
          </a:xfrm>
          <a:prstGeom prst="rect">
            <a:avLst/>
          </a:prstGeom>
          <a:solidFill>
            <a:srgbClr val="FE9600"/>
          </a:solidFill>
          <a:ln w="12700" cap="flat" cmpd="sng" algn="ctr">
            <a:solidFill>
              <a:srgbClr val="FF993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Pós-Venda</a:t>
            </a:r>
          </a:p>
        </p:txBody>
      </p:sp>
      <p:sp>
        <p:nvSpPr>
          <p:cNvPr id="1174" name="Retângulo 1173">
            <a:extLst>
              <a:ext uri="{FF2B5EF4-FFF2-40B4-BE49-F238E27FC236}">
                <a16:creationId xmlns:a16="http://schemas.microsoft.com/office/drawing/2014/main" id="{D1B050E7-9858-E4AB-BBB3-36A1A5FC5224}"/>
              </a:ext>
            </a:extLst>
          </p:cNvPr>
          <p:cNvSpPr/>
          <p:nvPr/>
        </p:nvSpPr>
        <p:spPr>
          <a:xfrm>
            <a:off x="84457" y="635621"/>
            <a:ext cx="1289287" cy="324000"/>
          </a:xfrm>
          <a:prstGeom prst="rect">
            <a:avLst/>
          </a:prstGeom>
          <a:noFill/>
          <a:ln w="12700" cap="flat" cmpd="sng" algn="ctr">
            <a:solidFill>
              <a:srgbClr val="FF9933"/>
            </a:solidFill>
            <a:prstDash val="solid"/>
            <a:miter lim="800000"/>
          </a:ln>
          <a:effectLst/>
        </p:spPr>
        <p:txBody>
          <a:bodyPr bIns="36000" rtlCol="0" anchor="ctr"/>
          <a:lstStyle/>
          <a:p>
            <a:pPr marL="177803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1" b="1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Itau Text Light" panose="020B0403020204020203" pitchFamily="34" charset="0"/>
                <a:ea typeface="+mn-ea"/>
                <a:cs typeface="Itau Text Light" panose="020B0403020204020203" pitchFamily="34" charset="0"/>
              </a:rPr>
              <a:t>Visão Cliente</a:t>
            </a:r>
            <a:endParaRPr kumimoji="0" lang="pt-BR" sz="1051" b="1" i="0" u="none" strike="noStrike" kern="0" cap="none" spc="0" normalizeH="0" baseline="0" noProof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Itau Text Light" panose="020B0403020204020203" pitchFamily="34" charset="0"/>
              <a:ea typeface="+mn-ea"/>
              <a:cs typeface="Itau Text Light" panose="020B0403020204020203" pitchFamily="34" charset="0"/>
            </a:endParaRPr>
          </a:p>
        </p:txBody>
      </p:sp>
      <p:pic>
        <p:nvPicPr>
          <p:cNvPr id="1175" name="Imagem 1174" descr="Logotipo&#10;&#10;Descrição gerada automaticamente">
            <a:extLst>
              <a:ext uri="{FF2B5EF4-FFF2-40B4-BE49-F238E27FC236}">
                <a16:creationId xmlns:a16="http://schemas.microsoft.com/office/drawing/2014/main" id="{37819DAD-FCA6-064C-3FEE-87D5237E166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321" y="671621"/>
            <a:ext cx="259385" cy="252000"/>
          </a:xfrm>
          <a:prstGeom prst="rect">
            <a:avLst/>
          </a:prstGeom>
        </p:spPr>
      </p:pic>
      <p:sp>
        <p:nvSpPr>
          <p:cNvPr id="1176" name="Retângulo 1175">
            <a:extLst>
              <a:ext uri="{FF2B5EF4-FFF2-40B4-BE49-F238E27FC236}">
                <a16:creationId xmlns:a16="http://schemas.microsoft.com/office/drawing/2014/main" id="{5D6DE9FB-05A6-C44B-40DE-75DB6C317E25}"/>
              </a:ext>
            </a:extLst>
          </p:cNvPr>
          <p:cNvSpPr/>
          <p:nvPr/>
        </p:nvSpPr>
        <p:spPr>
          <a:xfrm>
            <a:off x="1444265" y="1424948"/>
            <a:ext cx="2288000" cy="324000"/>
          </a:xfrm>
          <a:prstGeom prst="rect">
            <a:avLst/>
          </a:prstGeom>
          <a:solidFill>
            <a:srgbClr val="C4C4C4"/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Criação e Manutenção de </a:t>
            </a:r>
            <a:r>
              <a:rPr kumimoji="0" lang="pt-BR" sz="800" b="1" i="1" u="none" strike="noStrike" kern="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Templates</a:t>
            </a:r>
            <a:r>
              <a:rPr kumimoji="0" lang="pt-BR" sz="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 </a:t>
            </a:r>
          </a:p>
        </p:txBody>
      </p:sp>
      <p:sp>
        <p:nvSpPr>
          <p:cNvPr id="1177" name="Retângulo 1176">
            <a:extLst>
              <a:ext uri="{FF2B5EF4-FFF2-40B4-BE49-F238E27FC236}">
                <a16:creationId xmlns:a16="http://schemas.microsoft.com/office/drawing/2014/main" id="{5EDEEE4F-8BC0-D92D-3DED-103894A9AFED}"/>
              </a:ext>
            </a:extLst>
          </p:cNvPr>
          <p:cNvSpPr/>
          <p:nvPr/>
        </p:nvSpPr>
        <p:spPr>
          <a:xfrm>
            <a:off x="7548984" y="1411929"/>
            <a:ext cx="4041476" cy="329423"/>
          </a:xfrm>
          <a:prstGeom prst="rect">
            <a:avLst/>
          </a:prstGeom>
          <a:solidFill>
            <a:sysClr val="window" lastClr="FFFFFF">
              <a:lumMod val="7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Pesquisa e Recuperação</a:t>
            </a:r>
          </a:p>
        </p:txBody>
      </p:sp>
      <p:sp>
        <p:nvSpPr>
          <p:cNvPr id="1178" name="Retângulo 1177">
            <a:extLst>
              <a:ext uri="{FF2B5EF4-FFF2-40B4-BE49-F238E27FC236}">
                <a16:creationId xmlns:a16="http://schemas.microsoft.com/office/drawing/2014/main" id="{736F8E5E-21C0-F5F0-C9ED-1165063137B0}"/>
              </a:ext>
            </a:extLst>
          </p:cNvPr>
          <p:cNvSpPr/>
          <p:nvPr/>
        </p:nvSpPr>
        <p:spPr>
          <a:xfrm>
            <a:off x="3770368" y="1424948"/>
            <a:ext cx="1061112" cy="324000"/>
          </a:xfrm>
          <a:prstGeom prst="rect">
            <a:avLst/>
          </a:prstGeom>
          <a:solidFill>
            <a:sysClr val="window" lastClr="FFFFFF">
              <a:lumMod val="7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Digitalização e Captura</a:t>
            </a:r>
          </a:p>
        </p:txBody>
      </p:sp>
      <p:sp>
        <p:nvSpPr>
          <p:cNvPr id="1179" name="Retângulo 1178">
            <a:extLst>
              <a:ext uri="{FF2B5EF4-FFF2-40B4-BE49-F238E27FC236}">
                <a16:creationId xmlns:a16="http://schemas.microsoft.com/office/drawing/2014/main" id="{2A29187C-FA00-E4D4-6024-DC1066031FC3}"/>
              </a:ext>
            </a:extLst>
          </p:cNvPr>
          <p:cNvSpPr/>
          <p:nvPr/>
        </p:nvSpPr>
        <p:spPr>
          <a:xfrm>
            <a:off x="4896569" y="1413637"/>
            <a:ext cx="714926" cy="324000"/>
          </a:xfrm>
          <a:prstGeom prst="rect">
            <a:avLst/>
          </a:prstGeom>
          <a:solidFill>
            <a:sysClr val="window" lastClr="FFFFFF">
              <a:lumMod val="7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tau Display" panose="020B0503020204020204" pitchFamily="34" charset="0"/>
              <a:ea typeface="+mn-ea"/>
              <a:cs typeface="Itau Display" panose="020B0503020204020204" pitchFamily="34" charset="0"/>
            </a:endParaRPr>
          </a:p>
        </p:txBody>
      </p:sp>
      <p:sp>
        <p:nvSpPr>
          <p:cNvPr id="1180" name="Retângulo 1179">
            <a:extLst>
              <a:ext uri="{FF2B5EF4-FFF2-40B4-BE49-F238E27FC236}">
                <a16:creationId xmlns:a16="http://schemas.microsoft.com/office/drawing/2014/main" id="{9FDD4BA8-1EC0-CD8F-1BD7-8DF64C2851DB}"/>
              </a:ext>
            </a:extLst>
          </p:cNvPr>
          <p:cNvSpPr/>
          <p:nvPr/>
        </p:nvSpPr>
        <p:spPr>
          <a:xfrm>
            <a:off x="5676583" y="1406318"/>
            <a:ext cx="851119" cy="330696"/>
          </a:xfrm>
          <a:prstGeom prst="rect">
            <a:avLst/>
          </a:prstGeom>
          <a:solidFill>
            <a:sysClr val="window" lastClr="FFFFFF">
              <a:lumMod val="7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Armaz</a:t>
            </a:r>
            <a:r>
              <a:rPr kumimoji="0" lang="pt-BR" sz="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. &amp; Gerencia./</a:t>
            </a:r>
          </a:p>
        </p:txBody>
      </p:sp>
      <p:sp>
        <p:nvSpPr>
          <p:cNvPr id="1181" name="Retângulo 1180">
            <a:extLst>
              <a:ext uri="{FF2B5EF4-FFF2-40B4-BE49-F238E27FC236}">
                <a16:creationId xmlns:a16="http://schemas.microsoft.com/office/drawing/2014/main" id="{A5D7018B-96F4-89A0-39D2-CEC32CF055D9}"/>
              </a:ext>
            </a:extLst>
          </p:cNvPr>
          <p:cNvSpPr/>
          <p:nvPr/>
        </p:nvSpPr>
        <p:spPr>
          <a:xfrm>
            <a:off x="6577986" y="1411300"/>
            <a:ext cx="912316" cy="324000"/>
          </a:xfrm>
          <a:prstGeom prst="rect">
            <a:avLst/>
          </a:prstGeom>
          <a:solidFill>
            <a:sysClr val="window" lastClr="FFFFFF">
              <a:lumMod val="7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Distribuição e Comunicação</a:t>
            </a:r>
          </a:p>
        </p:txBody>
      </p:sp>
      <p:sp>
        <p:nvSpPr>
          <p:cNvPr id="1182" name="Retângulo 1181">
            <a:extLst>
              <a:ext uri="{FF2B5EF4-FFF2-40B4-BE49-F238E27FC236}">
                <a16:creationId xmlns:a16="http://schemas.microsoft.com/office/drawing/2014/main" id="{B016449C-4E28-14A7-0A18-6650A709A21C}"/>
              </a:ext>
            </a:extLst>
          </p:cNvPr>
          <p:cNvSpPr/>
          <p:nvPr/>
        </p:nvSpPr>
        <p:spPr>
          <a:xfrm>
            <a:off x="84457" y="1424948"/>
            <a:ext cx="1289287" cy="324000"/>
          </a:xfrm>
          <a:prstGeom prst="rect">
            <a:avLst/>
          </a:prstGeom>
          <a:noFill/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bIns="36000" rtlCol="0" anchor="ctr"/>
          <a:lstStyle/>
          <a:p>
            <a:pPr marL="177803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1" b="1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Itau Text Light" panose="020B0403020204020203" pitchFamily="34" charset="0"/>
                <a:ea typeface="+mn-ea"/>
                <a:cs typeface="Itau Text Light" panose="020B0403020204020203" pitchFamily="34" charset="0"/>
              </a:rPr>
              <a:t>Conteúdos</a:t>
            </a:r>
            <a:endParaRPr kumimoji="0" lang="pt-BR" sz="1051" b="1" i="0" u="none" strike="noStrike" kern="0" cap="none" spc="0" normalizeH="0" baseline="0" noProof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Itau Text Light" panose="020B0403020204020203" pitchFamily="34" charset="0"/>
              <a:ea typeface="+mn-ea"/>
              <a:cs typeface="Itau Text Light" panose="020B0403020204020203" pitchFamily="34" charset="0"/>
            </a:endParaRPr>
          </a:p>
        </p:txBody>
      </p:sp>
      <p:sp>
        <p:nvSpPr>
          <p:cNvPr id="1183" name="Retângulo 1182">
            <a:extLst>
              <a:ext uri="{FF2B5EF4-FFF2-40B4-BE49-F238E27FC236}">
                <a16:creationId xmlns:a16="http://schemas.microsoft.com/office/drawing/2014/main" id="{74396448-EEAA-3313-29DE-D59227A6E178}"/>
              </a:ext>
            </a:extLst>
          </p:cNvPr>
          <p:cNvSpPr/>
          <p:nvPr/>
        </p:nvSpPr>
        <p:spPr>
          <a:xfrm>
            <a:off x="11628560" y="1424948"/>
            <a:ext cx="504368" cy="306000"/>
          </a:xfrm>
          <a:prstGeom prst="rect">
            <a:avLst/>
          </a:prstGeom>
          <a:solidFill>
            <a:sysClr val="window" lastClr="FFFFFF">
              <a:lumMod val="7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tau Display" panose="020B0503020204020204" pitchFamily="34" charset="0"/>
              <a:ea typeface="+mn-ea"/>
              <a:cs typeface="Itau Display" panose="020B0503020204020204" pitchFamily="34" charset="0"/>
            </a:endParaRPr>
          </a:p>
        </p:txBody>
      </p:sp>
      <p:sp>
        <p:nvSpPr>
          <p:cNvPr id="1184" name="Retângulo 1183">
            <a:extLst>
              <a:ext uri="{FF2B5EF4-FFF2-40B4-BE49-F238E27FC236}">
                <a16:creationId xmlns:a16="http://schemas.microsoft.com/office/drawing/2014/main" id="{35A554E2-FB75-AC5E-D56D-3226AE385162}"/>
              </a:ext>
            </a:extLst>
          </p:cNvPr>
          <p:cNvSpPr/>
          <p:nvPr/>
        </p:nvSpPr>
        <p:spPr>
          <a:xfrm>
            <a:off x="1440141" y="1030284"/>
            <a:ext cx="2292124" cy="324000"/>
          </a:xfrm>
          <a:prstGeom prst="rect">
            <a:avLst/>
          </a:prstGeom>
          <a:solidFill>
            <a:srgbClr val="024584"/>
          </a:solidFill>
          <a:ln w="12700" cap="flat" cmpd="sng" algn="ctr">
            <a:solidFill>
              <a:srgbClr val="0E339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Oferta</a:t>
            </a:r>
          </a:p>
        </p:txBody>
      </p:sp>
      <p:sp>
        <p:nvSpPr>
          <p:cNvPr id="1185" name="Retângulo 1184">
            <a:extLst>
              <a:ext uri="{FF2B5EF4-FFF2-40B4-BE49-F238E27FC236}">
                <a16:creationId xmlns:a16="http://schemas.microsoft.com/office/drawing/2014/main" id="{F19A3E73-C333-1960-CF7E-CCD5195D68B1}"/>
              </a:ext>
            </a:extLst>
          </p:cNvPr>
          <p:cNvSpPr/>
          <p:nvPr/>
        </p:nvSpPr>
        <p:spPr>
          <a:xfrm>
            <a:off x="8378665" y="1030046"/>
            <a:ext cx="2629411" cy="335310"/>
          </a:xfrm>
          <a:prstGeom prst="rect">
            <a:avLst/>
          </a:prstGeom>
          <a:solidFill>
            <a:srgbClr val="024584"/>
          </a:solidFill>
          <a:ln w="12700" cap="flat" cmpd="sng" algn="ctr">
            <a:solidFill>
              <a:srgbClr val="0E339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Atendimento</a:t>
            </a:r>
          </a:p>
        </p:txBody>
      </p:sp>
      <p:sp>
        <p:nvSpPr>
          <p:cNvPr id="1186" name="Retângulo 1185">
            <a:extLst>
              <a:ext uri="{FF2B5EF4-FFF2-40B4-BE49-F238E27FC236}">
                <a16:creationId xmlns:a16="http://schemas.microsoft.com/office/drawing/2014/main" id="{B1A52FCD-7917-0426-B348-B2207BE1EE49}"/>
              </a:ext>
            </a:extLst>
          </p:cNvPr>
          <p:cNvSpPr/>
          <p:nvPr/>
        </p:nvSpPr>
        <p:spPr>
          <a:xfrm>
            <a:off x="11046176" y="1030046"/>
            <a:ext cx="544284" cy="335310"/>
          </a:xfrm>
          <a:prstGeom prst="rect">
            <a:avLst/>
          </a:prstGeom>
          <a:solidFill>
            <a:srgbClr val="024584"/>
          </a:solidFill>
          <a:ln w="12700" cap="flat" cmpd="sng" algn="ctr">
            <a:solidFill>
              <a:srgbClr val="0E339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Encerramento</a:t>
            </a:r>
          </a:p>
        </p:txBody>
      </p:sp>
      <p:sp>
        <p:nvSpPr>
          <p:cNvPr id="1187" name="Retângulo 1186">
            <a:extLst>
              <a:ext uri="{FF2B5EF4-FFF2-40B4-BE49-F238E27FC236}">
                <a16:creationId xmlns:a16="http://schemas.microsoft.com/office/drawing/2014/main" id="{88F8C98A-2B6D-6CBB-516A-8BD1DD9FEF90}"/>
              </a:ext>
            </a:extLst>
          </p:cNvPr>
          <p:cNvSpPr/>
          <p:nvPr/>
        </p:nvSpPr>
        <p:spPr>
          <a:xfrm>
            <a:off x="3770368" y="1030046"/>
            <a:ext cx="1086798" cy="324000"/>
          </a:xfrm>
          <a:prstGeom prst="rect">
            <a:avLst/>
          </a:prstGeom>
          <a:solidFill>
            <a:srgbClr val="024584"/>
          </a:solidFill>
          <a:ln w="12700" cap="flat" cmpd="sng" algn="ctr">
            <a:solidFill>
              <a:srgbClr val="0E339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Contratação de Produtos e Serviços</a:t>
            </a:r>
          </a:p>
        </p:txBody>
      </p:sp>
      <p:sp>
        <p:nvSpPr>
          <p:cNvPr id="1188" name="Retângulo 1187">
            <a:extLst>
              <a:ext uri="{FF2B5EF4-FFF2-40B4-BE49-F238E27FC236}">
                <a16:creationId xmlns:a16="http://schemas.microsoft.com/office/drawing/2014/main" id="{FB45DBAA-E714-B2FC-9B35-31BEBB73EDBF}"/>
              </a:ext>
            </a:extLst>
          </p:cNvPr>
          <p:cNvSpPr/>
          <p:nvPr/>
        </p:nvSpPr>
        <p:spPr>
          <a:xfrm>
            <a:off x="7567799" y="1030046"/>
            <a:ext cx="755744" cy="335310"/>
          </a:xfrm>
          <a:prstGeom prst="rect">
            <a:avLst/>
          </a:prstGeom>
          <a:solidFill>
            <a:srgbClr val="024584"/>
          </a:solidFill>
          <a:ln w="12700" cap="flat" cmpd="sng" algn="ctr">
            <a:solidFill>
              <a:srgbClr val="0E339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Manutenção / Uso  produtos</a:t>
            </a:r>
          </a:p>
        </p:txBody>
      </p:sp>
      <p:sp>
        <p:nvSpPr>
          <p:cNvPr id="1189" name="Retângulo 1188">
            <a:extLst>
              <a:ext uri="{FF2B5EF4-FFF2-40B4-BE49-F238E27FC236}">
                <a16:creationId xmlns:a16="http://schemas.microsoft.com/office/drawing/2014/main" id="{533BFBF0-FF60-AD9A-C643-A217A75758DD}"/>
              </a:ext>
            </a:extLst>
          </p:cNvPr>
          <p:cNvSpPr/>
          <p:nvPr/>
        </p:nvSpPr>
        <p:spPr>
          <a:xfrm>
            <a:off x="84457" y="1030284"/>
            <a:ext cx="1289287" cy="324000"/>
          </a:xfrm>
          <a:prstGeom prst="rect">
            <a:avLst/>
          </a:prstGeom>
          <a:noFill/>
          <a:ln w="12700" cap="flat" cmpd="sng" algn="ctr">
            <a:solidFill>
              <a:srgbClr val="6699FF"/>
            </a:solidFill>
            <a:prstDash val="solid"/>
            <a:miter lim="800000"/>
          </a:ln>
          <a:effectLst/>
        </p:spPr>
        <p:txBody>
          <a:bodyPr bIns="36000" rtlCol="0" anchor="ctr"/>
          <a:lstStyle/>
          <a:p>
            <a:pPr marL="177803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1" b="1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Itau Text Light" panose="020B0403020204020203" pitchFamily="34" charset="0"/>
                <a:ea typeface="+mn-ea"/>
                <a:cs typeface="Itau Text Light" panose="020B0403020204020203" pitchFamily="34" charset="0"/>
              </a:rPr>
              <a:t>Visão do Processo</a:t>
            </a:r>
            <a:endParaRPr kumimoji="0" lang="pt-BR" sz="1051" b="1" i="0" u="none" strike="noStrike" kern="0" cap="none" spc="0" normalizeH="0" baseline="0" noProof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Itau Text Light" panose="020B0403020204020203" pitchFamily="34" charset="0"/>
              <a:ea typeface="+mn-ea"/>
              <a:cs typeface="Itau Text Light" panose="020B0403020204020203" pitchFamily="34" charset="0"/>
            </a:endParaRPr>
          </a:p>
        </p:txBody>
      </p:sp>
      <p:pic>
        <p:nvPicPr>
          <p:cNvPr id="1190" name="Imagem 1189" descr="Ícone&#10;&#10;Descrição gerada automaticamente">
            <a:extLst>
              <a:ext uri="{FF2B5EF4-FFF2-40B4-BE49-F238E27FC236}">
                <a16:creationId xmlns:a16="http://schemas.microsoft.com/office/drawing/2014/main" id="{BEB9255B-B852-9952-BE39-F326A523556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541" y="1084284"/>
            <a:ext cx="212948" cy="216000"/>
          </a:xfrm>
          <a:prstGeom prst="rect">
            <a:avLst/>
          </a:prstGeom>
        </p:spPr>
      </p:pic>
      <p:pic>
        <p:nvPicPr>
          <p:cNvPr id="1191" name="Gráfico 1190" descr="Livros na prateleira com preenchimento sólido">
            <a:extLst>
              <a:ext uri="{FF2B5EF4-FFF2-40B4-BE49-F238E27FC236}">
                <a16:creationId xmlns:a16="http://schemas.microsoft.com/office/drawing/2014/main" id="{A5EF0636-8530-AD6F-288C-470C5F33D49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36111" y="1442948"/>
            <a:ext cx="288000" cy="288000"/>
          </a:xfrm>
          <a:prstGeom prst="rect">
            <a:avLst/>
          </a:prstGeom>
        </p:spPr>
      </p:pic>
      <p:sp>
        <p:nvSpPr>
          <p:cNvPr id="1192" name="Retângulo 1191">
            <a:extLst>
              <a:ext uri="{FF2B5EF4-FFF2-40B4-BE49-F238E27FC236}">
                <a16:creationId xmlns:a16="http://schemas.microsoft.com/office/drawing/2014/main" id="{1F23831A-9EDA-5661-0D69-738C53AF9212}"/>
              </a:ext>
            </a:extLst>
          </p:cNvPr>
          <p:cNvSpPr/>
          <p:nvPr/>
        </p:nvSpPr>
        <p:spPr>
          <a:xfrm>
            <a:off x="11628560" y="1030046"/>
            <a:ext cx="504368" cy="335310"/>
          </a:xfrm>
          <a:prstGeom prst="rect">
            <a:avLst/>
          </a:prstGeom>
          <a:solidFill>
            <a:srgbClr val="024584"/>
          </a:solidFill>
          <a:ln w="12700" cap="flat" cmpd="sng" algn="ctr">
            <a:solidFill>
              <a:srgbClr val="0E339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Gov.</a:t>
            </a:r>
          </a:p>
        </p:txBody>
      </p:sp>
      <p:sp>
        <p:nvSpPr>
          <p:cNvPr id="1193" name="Retângulo 1192">
            <a:extLst>
              <a:ext uri="{FF2B5EF4-FFF2-40B4-BE49-F238E27FC236}">
                <a16:creationId xmlns:a16="http://schemas.microsoft.com/office/drawing/2014/main" id="{8E2CACF6-8C55-6229-0A1B-A31658CEA984}"/>
              </a:ext>
            </a:extLst>
          </p:cNvPr>
          <p:cNvSpPr/>
          <p:nvPr/>
        </p:nvSpPr>
        <p:spPr>
          <a:xfrm>
            <a:off x="4883966" y="1030046"/>
            <a:ext cx="1643737" cy="324000"/>
          </a:xfrm>
          <a:prstGeom prst="rect">
            <a:avLst/>
          </a:prstGeom>
          <a:solidFill>
            <a:srgbClr val="024584"/>
          </a:solidFill>
          <a:ln w="12700" cap="flat" cmpd="sng" algn="ctr">
            <a:solidFill>
              <a:srgbClr val="0E339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Registro e Formalização</a:t>
            </a:r>
          </a:p>
        </p:txBody>
      </p:sp>
      <p:sp>
        <p:nvSpPr>
          <p:cNvPr id="1194" name="Retângulo 1193">
            <a:extLst>
              <a:ext uri="{FF2B5EF4-FFF2-40B4-BE49-F238E27FC236}">
                <a16:creationId xmlns:a16="http://schemas.microsoft.com/office/drawing/2014/main" id="{39AC86B3-1B07-A4CB-2867-9EE3E12138D8}"/>
              </a:ext>
            </a:extLst>
          </p:cNvPr>
          <p:cNvSpPr/>
          <p:nvPr/>
        </p:nvSpPr>
        <p:spPr>
          <a:xfrm>
            <a:off x="6577986" y="1030046"/>
            <a:ext cx="912316" cy="324000"/>
          </a:xfrm>
          <a:prstGeom prst="rect">
            <a:avLst/>
          </a:prstGeom>
          <a:solidFill>
            <a:srgbClr val="024584"/>
          </a:solidFill>
          <a:ln w="12700" cap="flat" cmpd="sng" algn="ctr">
            <a:solidFill>
              <a:srgbClr val="0E339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Liberação</a:t>
            </a:r>
          </a:p>
        </p:txBody>
      </p:sp>
      <p:sp>
        <p:nvSpPr>
          <p:cNvPr id="1195" name="CaixaDeTexto 1194">
            <a:extLst>
              <a:ext uri="{FF2B5EF4-FFF2-40B4-BE49-F238E27FC236}">
                <a16:creationId xmlns:a16="http://schemas.microsoft.com/office/drawing/2014/main" id="{4D985943-F06E-DF5B-07D1-218D185167C3}"/>
              </a:ext>
            </a:extLst>
          </p:cNvPr>
          <p:cNvSpPr txBox="1"/>
          <p:nvPr/>
        </p:nvSpPr>
        <p:spPr>
          <a:xfrm>
            <a:off x="11541743" y="1476007"/>
            <a:ext cx="72000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Expurgo</a:t>
            </a:r>
          </a:p>
        </p:txBody>
      </p:sp>
      <p:sp>
        <p:nvSpPr>
          <p:cNvPr id="1196" name="CaixaDeTexto 1195">
            <a:extLst>
              <a:ext uri="{FF2B5EF4-FFF2-40B4-BE49-F238E27FC236}">
                <a16:creationId xmlns:a16="http://schemas.microsoft.com/office/drawing/2014/main" id="{559AB535-1720-31B4-C870-CF15485C121C}"/>
              </a:ext>
            </a:extLst>
          </p:cNvPr>
          <p:cNvSpPr txBox="1"/>
          <p:nvPr/>
        </p:nvSpPr>
        <p:spPr>
          <a:xfrm>
            <a:off x="4890203" y="1419903"/>
            <a:ext cx="76966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Certif</a:t>
            </a:r>
            <a:r>
              <a:rPr kumimoji="0" lang="pt-BR" sz="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. &amp; Validação</a:t>
            </a:r>
          </a:p>
        </p:txBody>
      </p:sp>
      <p:sp>
        <p:nvSpPr>
          <p:cNvPr id="1198" name="Retângulo 1197">
            <a:extLst>
              <a:ext uri="{FF2B5EF4-FFF2-40B4-BE49-F238E27FC236}">
                <a16:creationId xmlns:a16="http://schemas.microsoft.com/office/drawing/2014/main" id="{E2E0581F-9361-ECB0-941F-90725A77DF78}"/>
              </a:ext>
            </a:extLst>
          </p:cNvPr>
          <p:cNvSpPr/>
          <p:nvPr/>
        </p:nvSpPr>
        <p:spPr>
          <a:xfrm>
            <a:off x="11628560" y="635621"/>
            <a:ext cx="504368" cy="324000"/>
          </a:xfrm>
          <a:prstGeom prst="rect">
            <a:avLst/>
          </a:prstGeom>
          <a:solidFill>
            <a:srgbClr val="FE9600"/>
          </a:solidFill>
          <a:ln w="12700" cap="flat" cmpd="sng" algn="ctr">
            <a:solidFill>
              <a:srgbClr val="FF993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-</a:t>
            </a:r>
          </a:p>
        </p:txBody>
      </p:sp>
      <p:sp>
        <p:nvSpPr>
          <p:cNvPr id="4" name="Retângulo: Cantos Arredondados 3">
            <a:extLst>
              <a:ext uri="{FF2B5EF4-FFF2-40B4-BE49-F238E27FC236}">
                <a16:creationId xmlns:a16="http://schemas.microsoft.com/office/drawing/2014/main" id="{F1C84DFF-F86A-FDD0-075E-C66D31CB3BA3}"/>
              </a:ext>
            </a:extLst>
          </p:cNvPr>
          <p:cNvSpPr/>
          <p:nvPr/>
        </p:nvSpPr>
        <p:spPr>
          <a:xfrm>
            <a:off x="78721" y="1822605"/>
            <a:ext cx="668016" cy="2585382"/>
          </a:xfrm>
          <a:prstGeom prst="roundRect">
            <a:avLst>
              <a:gd name="adj" fmla="val 9171"/>
            </a:avLst>
          </a:prstGeom>
          <a:solidFill>
            <a:srgbClr val="FE96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tau Display Black" panose="020B0903020204020204" pitchFamily="34" charset="0"/>
              <a:ea typeface="+mn-ea"/>
              <a:cs typeface="Itau Display Black" panose="020B0903020204020204" pitchFamily="34" charset="0"/>
            </a:endParaRP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E4162E33-4CDD-0BAF-9E40-12B4C22C28E3}"/>
              </a:ext>
            </a:extLst>
          </p:cNvPr>
          <p:cNvSpPr/>
          <p:nvPr/>
        </p:nvSpPr>
        <p:spPr>
          <a:xfrm>
            <a:off x="835477" y="1808540"/>
            <a:ext cx="11325588" cy="2589679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000" b="1" i="0" u="sng" strike="noStrike" kern="0" cap="none" spc="0" normalizeH="0" baseline="0" noProof="0">
              <a:ln>
                <a:noFill/>
              </a:ln>
              <a:solidFill>
                <a:srgbClr val="FF7800"/>
              </a:solidFill>
              <a:effectLst/>
              <a:uLnTx/>
              <a:uFillTx/>
              <a:latin typeface="Itau Display Black" panose="020B0903020204020204" pitchFamily="34" charset="0"/>
              <a:ea typeface="+mn-ea"/>
              <a:cs typeface="Itau Display Black" panose="020B0903020204020204" pitchFamily="34" charset="0"/>
            </a:endParaRPr>
          </a:p>
        </p:txBody>
      </p:sp>
      <p:grpSp>
        <p:nvGrpSpPr>
          <p:cNvPr id="7" name="Agrupar 6">
            <a:extLst>
              <a:ext uri="{FF2B5EF4-FFF2-40B4-BE49-F238E27FC236}">
                <a16:creationId xmlns:a16="http://schemas.microsoft.com/office/drawing/2014/main" id="{7F18CC91-2A11-1584-FEB4-5C55592C136F}"/>
              </a:ext>
            </a:extLst>
          </p:cNvPr>
          <p:cNvGrpSpPr/>
          <p:nvPr/>
        </p:nvGrpSpPr>
        <p:grpSpPr>
          <a:xfrm>
            <a:off x="1746311" y="2399980"/>
            <a:ext cx="720000" cy="467227"/>
            <a:chOff x="1735517" y="2703352"/>
            <a:chExt cx="720000" cy="467227"/>
          </a:xfrm>
        </p:grpSpPr>
        <p:sp>
          <p:nvSpPr>
            <p:cNvPr id="8" name="CaixaDeTexto 7">
              <a:extLst>
                <a:ext uri="{FF2B5EF4-FFF2-40B4-BE49-F238E27FC236}">
                  <a16:creationId xmlns:a16="http://schemas.microsoft.com/office/drawing/2014/main" id="{FFCC5C1C-DC3B-3F9C-1B9F-A3ADA61C89C8}"/>
                </a:ext>
              </a:extLst>
            </p:cNvPr>
            <p:cNvSpPr txBox="1"/>
            <p:nvPr/>
          </p:nvSpPr>
          <p:spPr>
            <a:xfrm>
              <a:off x="1735517" y="2939747"/>
              <a:ext cx="72000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3165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Aplicativos</a:t>
              </a:r>
            </a:p>
          </p:txBody>
        </p:sp>
        <p:sp>
          <p:nvSpPr>
            <p:cNvPr id="9" name="Forma">
              <a:extLst>
                <a:ext uri="{FF2B5EF4-FFF2-40B4-BE49-F238E27FC236}">
                  <a16:creationId xmlns:a16="http://schemas.microsoft.com/office/drawing/2014/main" id="{5ABA5067-C4BC-6B96-6CE6-4B7C051D526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19887" y="2703352"/>
              <a:ext cx="151261" cy="252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018" y="950"/>
                  </a:moveTo>
                  <a:cubicBezTo>
                    <a:pt x="21073" y="1583"/>
                    <a:pt x="21600" y="2347"/>
                    <a:pt x="21600" y="3241"/>
                  </a:cubicBezTo>
                  <a:lnTo>
                    <a:pt x="21600" y="18359"/>
                  </a:lnTo>
                  <a:cubicBezTo>
                    <a:pt x="21600" y="19254"/>
                    <a:pt x="21073" y="20017"/>
                    <a:pt x="20018" y="20650"/>
                  </a:cubicBezTo>
                  <a:cubicBezTo>
                    <a:pt x="18963" y="21283"/>
                    <a:pt x="17690" y="21600"/>
                    <a:pt x="16200" y="21600"/>
                  </a:cubicBezTo>
                  <a:lnTo>
                    <a:pt x="5400" y="21600"/>
                  </a:lnTo>
                  <a:cubicBezTo>
                    <a:pt x="3909" y="21600"/>
                    <a:pt x="2637" y="21283"/>
                    <a:pt x="1582" y="20650"/>
                  </a:cubicBezTo>
                  <a:cubicBezTo>
                    <a:pt x="527" y="20017"/>
                    <a:pt x="0" y="19254"/>
                    <a:pt x="0" y="18359"/>
                  </a:cubicBezTo>
                  <a:lnTo>
                    <a:pt x="0" y="3241"/>
                  </a:lnTo>
                  <a:cubicBezTo>
                    <a:pt x="0" y="2347"/>
                    <a:pt x="527" y="1583"/>
                    <a:pt x="1582" y="950"/>
                  </a:cubicBezTo>
                  <a:cubicBezTo>
                    <a:pt x="2637" y="317"/>
                    <a:pt x="3909" y="0"/>
                    <a:pt x="5400" y="0"/>
                  </a:cubicBezTo>
                  <a:lnTo>
                    <a:pt x="16200" y="0"/>
                  </a:lnTo>
                  <a:cubicBezTo>
                    <a:pt x="17690" y="0"/>
                    <a:pt x="18963" y="317"/>
                    <a:pt x="20018" y="950"/>
                  </a:cubicBezTo>
                  <a:lnTo>
                    <a:pt x="20018" y="950"/>
                  </a:lnTo>
                  <a:close/>
                  <a:moveTo>
                    <a:pt x="19786" y="18359"/>
                  </a:moveTo>
                  <a:lnTo>
                    <a:pt x="19786" y="16206"/>
                  </a:lnTo>
                  <a:lnTo>
                    <a:pt x="1814" y="16206"/>
                  </a:lnTo>
                  <a:lnTo>
                    <a:pt x="1814" y="18359"/>
                  </a:lnTo>
                  <a:cubicBezTo>
                    <a:pt x="1814" y="18950"/>
                    <a:pt x="2165" y="19456"/>
                    <a:pt x="2869" y="19878"/>
                  </a:cubicBezTo>
                  <a:cubicBezTo>
                    <a:pt x="3571" y="20300"/>
                    <a:pt x="4415" y="20511"/>
                    <a:pt x="5400" y="20511"/>
                  </a:cubicBezTo>
                  <a:lnTo>
                    <a:pt x="16200" y="20511"/>
                  </a:lnTo>
                  <a:cubicBezTo>
                    <a:pt x="17184" y="20511"/>
                    <a:pt x="18028" y="20300"/>
                    <a:pt x="18731" y="19878"/>
                  </a:cubicBezTo>
                  <a:cubicBezTo>
                    <a:pt x="19434" y="19456"/>
                    <a:pt x="19786" y="18950"/>
                    <a:pt x="19786" y="18359"/>
                  </a:cubicBezTo>
                  <a:lnTo>
                    <a:pt x="19786" y="18359"/>
                  </a:lnTo>
                  <a:lnTo>
                    <a:pt x="19786" y="18359"/>
                  </a:lnTo>
                  <a:close/>
                  <a:moveTo>
                    <a:pt x="19786" y="4305"/>
                  </a:moveTo>
                  <a:lnTo>
                    <a:pt x="1814" y="4305"/>
                  </a:lnTo>
                  <a:lnTo>
                    <a:pt x="1814" y="15117"/>
                  </a:lnTo>
                  <a:lnTo>
                    <a:pt x="19786" y="15117"/>
                  </a:lnTo>
                  <a:lnTo>
                    <a:pt x="19786" y="4305"/>
                  </a:lnTo>
                  <a:lnTo>
                    <a:pt x="19786" y="4305"/>
                  </a:lnTo>
                  <a:close/>
                  <a:moveTo>
                    <a:pt x="1814" y="3241"/>
                  </a:moveTo>
                  <a:lnTo>
                    <a:pt x="19786" y="3241"/>
                  </a:lnTo>
                  <a:cubicBezTo>
                    <a:pt x="19786" y="2634"/>
                    <a:pt x="19434" y="2119"/>
                    <a:pt x="18731" y="1697"/>
                  </a:cubicBezTo>
                  <a:cubicBezTo>
                    <a:pt x="18028" y="1275"/>
                    <a:pt x="17184" y="1064"/>
                    <a:pt x="16200" y="1064"/>
                  </a:cubicBezTo>
                  <a:lnTo>
                    <a:pt x="5400" y="1064"/>
                  </a:lnTo>
                  <a:cubicBezTo>
                    <a:pt x="4415" y="1064"/>
                    <a:pt x="3571" y="1275"/>
                    <a:pt x="2869" y="1697"/>
                  </a:cubicBezTo>
                  <a:cubicBezTo>
                    <a:pt x="2165" y="2119"/>
                    <a:pt x="1814" y="2634"/>
                    <a:pt x="1814" y="3241"/>
                  </a:cubicBezTo>
                  <a:lnTo>
                    <a:pt x="1814" y="3241"/>
                  </a:lnTo>
                  <a:lnTo>
                    <a:pt x="1814" y="3241"/>
                  </a:lnTo>
                  <a:close/>
                  <a:moveTo>
                    <a:pt x="8986" y="18359"/>
                  </a:moveTo>
                  <a:cubicBezTo>
                    <a:pt x="8986" y="18663"/>
                    <a:pt x="9161" y="18920"/>
                    <a:pt x="9513" y="19131"/>
                  </a:cubicBezTo>
                  <a:cubicBezTo>
                    <a:pt x="9865" y="19342"/>
                    <a:pt x="10294" y="19448"/>
                    <a:pt x="10800" y="19448"/>
                  </a:cubicBezTo>
                  <a:cubicBezTo>
                    <a:pt x="11306" y="19448"/>
                    <a:pt x="11735" y="19342"/>
                    <a:pt x="12087" y="19131"/>
                  </a:cubicBezTo>
                  <a:cubicBezTo>
                    <a:pt x="12438" y="18920"/>
                    <a:pt x="12614" y="18663"/>
                    <a:pt x="12614" y="18359"/>
                  </a:cubicBezTo>
                  <a:cubicBezTo>
                    <a:pt x="12614" y="18055"/>
                    <a:pt x="12438" y="17798"/>
                    <a:pt x="12087" y="17586"/>
                  </a:cubicBezTo>
                  <a:cubicBezTo>
                    <a:pt x="11735" y="17376"/>
                    <a:pt x="11306" y="17270"/>
                    <a:pt x="10800" y="17270"/>
                  </a:cubicBezTo>
                  <a:cubicBezTo>
                    <a:pt x="10294" y="17270"/>
                    <a:pt x="9865" y="17376"/>
                    <a:pt x="9513" y="17586"/>
                  </a:cubicBezTo>
                  <a:cubicBezTo>
                    <a:pt x="9161" y="17798"/>
                    <a:pt x="8986" y="18055"/>
                    <a:pt x="8986" y="18359"/>
                  </a:cubicBezTo>
                  <a:lnTo>
                    <a:pt x="8986" y="18359"/>
                  </a:lnTo>
                  <a:lnTo>
                    <a:pt x="8986" y="18359"/>
                  </a:lnTo>
                  <a:close/>
                  <a:moveTo>
                    <a:pt x="6286" y="7546"/>
                  </a:moveTo>
                  <a:cubicBezTo>
                    <a:pt x="6539" y="7546"/>
                    <a:pt x="6757" y="7495"/>
                    <a:pt x="6940" y="7394"/>
                  </a:cubicBezTo>
                  <a:cubicBezTo>
                    <a:pt x="7122" y="7293"/>
                    <a:pt x="7214" y="7166"/>
                    <a:pt x="7214" y="7014"/>
                  </a:cubicBezTo>
                  <a:lnTo>
                    <a:pt x="7214" y="5925"/>
                  </a:lnTo>
                  <a:cubicBezTo>
                    <a:pt x="7214" y="5791"/>
                    <a:pt x="7122" y="5668"/>
                    <a:pt x="6940" y="5558"/>
                  </a:cubicBezTo>
                  <a:cubicBezTo>
                    <a:pt x="6757" y="5449"/>
                    <a:pt x="6539" y="5394"/>
                    <a:pt x="6286" y="5394"/>
                  </a:cubicBezTo>
                  <a:lnTo>
                    <a:pt x="4514" y="5394"/>
                  </a:lnTo>
                  <a:cubicBezTo>
                    <a:pt x="4261" y="5394"/>
                    <a:pt x="4043" y="5449"/>
                    <a:pt x="3860" y="5558"/>
                  </a:cubicBezTo>
                  <a:cubicBezTo>
                    <a:pt x="3677" y="5668"/>
                    <a:pt x="3586" y="5791"/>
                    <a:pt x="3586" y="5925"/>
                  </a:cubicBezTo>
                  <a:lnTo>
                    <a:pt x="3586" y="7014"/>
                  </a:lnTo>
                  <a:cubicBezTo>
                    <a:pt x="3586" y="7166"/>
                    <a:pt x="3677" y="7293"/>
                    <a:pt x="3860" y="7394"/>
                  </a:cubicBezTo>
                  <a:cubicBezTo>
                    <a:pt x="4043" y="7495"/>
                    <a:pt x="4261" y="7546"/>
                    <a:pt x="4514" y="7546"/>
                  </a:cubicBezTo>
                  <a:lnTo>
                    <a:pt x="6286" y="7546"/>
                  </a:lnTo>
                  <a:lnTo>
                    <a:pt x="6286" y="7546"/>
                  </a:lnTo>
                  <a:lnTo>
                    <a:pt x="6286" y="7546"/>
                  </a:lnTo>
                  <a:close/>
                  <a:moveTo>
                    <a:pt x="12340" y="7394"/>
                  </a:moveTo>
                  <a:cubicBezTo>
                    <a:pt x="12522" y="7293"/>
                    <a:pt x="12614" y="7166"/>
                    <a:pt x="12614" y="7014"/>
                  </a:cubicBezTo>
                  <a:lnTo>
                    <a:pt x="12614" y="5925"/>
                  </a:lnTo>
                  <a:cubicBezTo>
                    <a:pt x="12614" y="5791"/>
                    <a:pt x="12522" y="5668"/>
                    <a:pt x="12340" y="5558"/>
                  </a:cubicBezTo>
                  <a:cubicBezTo>
                    <a:pt x="12157" y="5449"/>
                    <a:pt x="11939" y="5394"/>
                    <a:pt x="11686" y="5394"/>
                  </a:cubicBezTo>
                  <a:lnTo>
                    <a:pt x="9914" y="5394"/>
                  </a:lnTo>
                  <a:cubicBezTo>
                    <a:pt x="9661" y="5394"/>
                    <a:pt x="9443" y="5449"/>
                    <a:pt x="9260" y="5558"/>
                  </a:cubicBezTo>
                  <a:cubicBezTo>
                    <a:pt x="9077" y="5668"/>
                    <a:pt x="8986" y="5791"/>
                    <a:pt x="8986" y="5925"/>
                  </a:cubicBezTo>
                  <a:lnTo>
                    <a:pt x="8986" y="7014"/>
                  </a:lnTo>
                  <a:cubicBezTo>
                    <a:pt x="8986" y="7166"/>
                    <a:pt x="9077" y="7293"/>
                    <a:pt x="9260" y="7394"/>
                  </a:cubicBezTo>
                  <a:cubicBezTo>
                    <a:pt x="9443" y="7495"/>
                    <a:pt x="9661" y="7546"/>
                    <a:pt x="9914" y="7546"/>
                  </a:cubicBezTo>
                  <a:lnTo>
                    <a:pt x="11686" y="7546"/>
                  </a:lnTo>
                  <a:cubicBezTo>
                    <a:pt x="11939" y="7546"/>
                    <a:pt x="12157" y="7495"/>
                    <a:pt x="12340" y="7394"/>
                  </a:cubicBezTo>
                  <a:lnTo>
                    <a:pt x="12340" y="7394"/>
                  </a:lnTo>
                  <a:close/>
                  <a:moveTo>
                    <a:pt x="17740" y="7394"/>
                  </a:moveTo>
                  <a:cubicBezTo>
                    <a:pt x="17922" y="7293"/>
                    <a:pt x="18014" y="7166"/>
                    <a:pt x="18014" y="7014"/>
                  </a:cubicBezTo>
                  <a:lnTo>
                    <a:pt x="18014" y="5925"/>
                  </a:lnTo>
                  <a:cubicBezTo>
                    <a:pt x="18014" y="5791"/>
                    <a:pt x="17922" y="5668"/>
                    <a:pt x="17740" y="5558"/>
                  </a:cubicBezTo>
                  <a:cubicBezTo>
                    <a:pt x="17557" y="5449"/>
                    <a:pt x="17339" y="5394"/>
                    <a:pt x="17086" y="5394"/>
                  </a:cubicBezTo>
                  <a:lnTo>
                    <a:pt x="15314" y="5394"/>
                  </a:lnTo>
                  <a:cubicBezTo>
                    <a:pt x="15061" y="5394"/>
                    <a:pt x="14843" y="5449"/>
                    <a:pt x="14660" y="5558"/>
                  </a:cubicBezTo>
                  <a:cubicBezTo>
                    <a:pt x="14477" y="5668"/>
                    <a:pt x="14386" y="5791"/>
                    <a:pt x="14386" y="5925"/>
                  </a:cubicBezTo>
                  <a:lnTo>
                    <a:pt x="14386" y="7014"/>
                  </a:lnTo>
                  <a:cubicBezTo>
                    <a:pt x="14386" y="7166"/>
                    <a:pt x="14477" y="7293"/>
                    <a:pt x="14660" y="7394"/>
                  </a:cubicBezTo>
                  <a:cubicBezTo>
                    <a:pt x="14843" y="7495"/>
                    <a:pt x="15061" y="7546"/>
                    <a:pt x="15314" y="7546"/>
                  </a:cubicBezTo>
                  <a:lnTo>
                    <a:pt x="17086" y="7546"/>
                  </a:lnTo>
                  <a:cubicBezTo>
                    <a:pt x="17339" y="7546"/>
                    <a:pt x="17557" y="7495"/>
                    <a:pt x="17740" y="7394"/>
                  </a:cubicBezTo>
                  <a:lnTo>
                    <a:pt x="17740" y="7394"/>
                  </a:lnTo>
                  <a:close/>
                  <a:moveTo>
                    <a:pt x="6286" y="10787"/>
                  </a:moveTo>
                  <a:cubicBezTo>
                    <a:pt x="6539" y="10787"/>
                    <a:pt x="6757" y="10737"/>
                    <a:pt x="6940" y="10635"/>
                  </a:cubicBezTo>
                  <a:cubicBezTo>
                    <a:pt x="7122" y="10534"/>
                    <a:pt x="7214" y="10408"/>
                    <a:pt x="7214" y="10256"/>
                  </a:cubicBezTo>
                  <a:lnTo>
                    <a:pt x="7214" y="9167"/>
                  </a:lnTo>
                  <a:cubicBezTo>
                    <a:pt x="7214" y="9032"/>
                    <a:pt x="7122" y="8910"/>
                    <a:pt x="6940" y="8800"/>
                  </a:cubicBezTo>
                  <a:cubicBezTo>
                    <a:pt x="6757" y="8690"/>
                    <a:pt x="6539" y="8635"/>
                    <a:pt x="6286" y="8635"/>
                  </a:cubicBezTo>
                  <a:lnTo>
                    <a:pt x="4514" y="8635"/>
                  </a:lnTo>
                  <a:cubicBezTo>
                    <a:pt x="4261" y="8635"/>
                    <a:pt x="4043" y="8690"/>
                    <a:pt x="3860" y="8800"/>
                  </a:cubicBezTo>
                  <a:cubicBezTo>
                    <a:pt x="3677" y="8910"/>
                    <a:pt x="3586" y="9032"/>
                    <a:pt x="3586" y="9167"/>
                  </a:cubicBezTo>
                  <a:lnTo>
                    <a:pt x="3586" y="10256"/>
                  </a:lnTo>
                  <a:cubicBezTo>
                    <a:pt x="3586" y="10408"/>
                    <a:pt x="3677" y="10534"/>
                    <a:pt x="3860" y="10635"/>
                  </a:cubicBezTo>
                  <a:cubicBezTo>
                    <a:pt x="4043" y="10737"/>
                    <a:pt x="4261" y="10787"/>
                    <a:pt x="4514" y="10787"/>
                  </a:cubicBezTo>
                  <a:lnTo>
                    <a:pt x="6286" y="10787"/>
                  </a:lnTo>
                  <a:lnTo>
                    <a:pt x="6286" y="10787"/>
                  </a:lnTo>
                  <a:lnTo>
                    <a:pt x="6286" y="10787"/>
                  </a:lnTo>
                  <a:close/>
                  <a:moveTo>
                    <a:pt x="12340" y="10635"/>
                  </a:moveTo>
                  <a:cubicBezTo>
                    <a:pt x="12522" y="10534"/>
                    <a:pt x="12614" y="10408"/>
                    <a:pt x="12614" y="10256"/>
                  </a:cubicBezTo>
                  <a:lnTo>
                    <a:pt x="12614" y="9167"/>
                  </a:lnTo>
                  <a:cubicBezTo>
                    <a:pt x="12614" y="9032"/>
                    <a:pt x="12522" y="8910"/>
                    <a:pt x="12340" y="8800"/>
                  </a:cubicBezTo>
                  <a:cubicBezTo>
                    <a:pt x="12157" y="8690"/>
                    <a:pt x="11939" y="8635"/>
                    <a:pt x="11686" y="8635"/>
                  </a:cubicBezTo>
                  <a:lnTo>
                    <a:pt x="9914" y="8635"/>
                  </a:lnTo>
                  <a:cubicBezTo>
                    <a:pt x="9661" y="8635"/>
                    <a:pt x="9443" y="8690"/>
                    <a:pt x="9260" y="8800"/>
                  </a:cubicBezTo>
                  <a:cubicBezTo>
                    <a:pt x="9077" y="8910"/>
                    <a:pt x="8986" y="9032"/>
                    <a:pt x="8986" y="9167"/>
                  </a:cubicBezTo>
                  <a:lnTo>
                    <a:pt x="8986" y="10256"/>
                  </a:lnTo>
                  <a:cubicBezTo>
                    <a:pt x="8986" y="10408"/>
                    <a:pt x="9077" y="10534"/>
                    <a:pt x="9260" y="10635"/>
                  </a:cubicBezTo>
                  <a:cubicBezTo>
                    <a:pt x="9443" y="10737"/>
                    <a:pt x="9661" y="10787"/>
                    <a:pt x="9914" y="10787"/>
                  </a:cubicBezTo>
                  <a:lnTo>
                    <a:pt x="11686" y="10787"/>
                  </a:lnTo>
                  <a:cubicBezTo>
                    <a:pt x="11939" y="10787"/>
                    <a:pt x="12157" y="10737"/>
                    <a:pt x="12340" y="10635"/>
                  </a:cubicBezTo>
                  <a:lnTo>
                    <a:pt x="12340" y="10635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miter lim="400000"/>
            </a:ln>
          </p:spPr>
          <p:txBody>
            <a:bodyPr lIns="27428" tIns="27428" rIns="27428" bIns="27428" anchor="ctr"/>
            <a:lstStyle/>
            <a:p>
              <a:pPr marL="0" marR="0" lvl="0" indent="0" algn="l" defTabSz="3291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b="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lang="pt-BR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sym typeface="Gill Sans"/>
              </a:endParaRPr>
            </a:p>
          </p:txBody>
        </p:sp>
      </p:grpSp>
      <p:grpSp>
        <p:nvGrpSpPr>
          <p:cNvPr id="10" name="Agrupar 9">
            <a:extLst>
              <a:ext uri="{FF2B5EF4-FFF2-40B4-BE49-F238E27FC236}">
                <a16:creationId xmlns:a16="http://schemas.microsoft.com/office/drawing/2014/main" id="{F15A21BA-0173-B0E5-4432-6411172992F2}"/>
              </a:ext>
            </a:extLst>
          </p:cNvPr>
          <p:cNvGrpSpPr/>
          <p:nvPr/>
        </p:nvGrpSpPr>
        <p:grpSpPr>
          <a:xfrm>
            <a:off x="1772953" y="3633034"/>
            <a:ext cx="720000" cy="495447"/>
            <a:chOff x="1773758" y="3767997"/>
            <a:chExt cx="720000" cy="495447"/>
          </a:xfrm>
        </p:grpSpPr>
        <p:sp>
          <p:nvSpPr>
            <p:cNvPr id="11" name="CaixaDeTexto 10">
              <a:extLst>
                <a:ext uri="{FF2B5EF4-FFF2-40B4-BE49-F238E27FC236}">
                  <a16:creationId xmlns:a16="http://schemas.microsoft.com/office/drawing/2014/main" id="{045C5FC9-C1A8-8B2B-9B41-BCC783976F1A}"/>
                </a:ext>
              </a:extLst>
            </p:cNvPr>
            <p:cNvSpPr txBox="1"/>
            <p:nvPr/>
          </p:nvSpPr>
          <p:spPr>
            <a:xfrm>
              <a:off x="1773758" y="4032611"/>
              <a:ext cx="720000" cy="2308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3165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Centrais</a:t>
              </a:r>
            </a:p>
          </p:txBody>
        </p:sp>
        <p:sp>
          <p:nvSpPr>
            <p:cNvPr id="12" name="Forma">
              <a:extLst>
                <a:ext uri="{FF2B5EF4-FFF2-40B4-BE49-F238E27FC236}">
                  <a16:creationId xmlns:a16="http://schemas.microsoft.com/office/drawing/2014/main" id="{A6E01746-9D58-92B2-00A4-0741926903E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62462" y="3767997"/>
              <a:ext cx="266111" cy="252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109" y="18000"/>
                  </a:moveTo>
                  <a:lnTo>
                    <a:pt x="9109" y="21600"/>
                  </a:lnTo>
                  <a:lnTo>
                    <a:pt x="12518" y="21600"/>
                  </a:lnTo>
                  <a:lnTo>
                    <a:pt x="12518" y="18000"/>
                  </a:lnTo>
                  <a:lnTo>
                    <a:pt x="9109" y="18000"/>
                  </a:lnTo>
                  <a:lnTo>
                    <a:pt x="9109" y="18000"/>
                  </a:lnTo>
                  <a:lnTo>
                    <a:pt x="9109" y="18000"/>
                  </a:lnTo>
                  <a:close/>
                  <a:moveTo>
                    <a:pt x="4554" y="18000"/>
                  </a:moveTo>
                  <a:lnTo>
                    <a:pt x="7964" y="18000"/>
                  </a:lnTo>
                  <a:lnTo>
                    <a:pt x="7964" y="21600"/>
                  </a:lnTo>
                  <a:lnTo>
                    <a:pt x="4554" y="21600"/>
                  </a:lnTo>
                  <a:lnTo>
                    <a:pt x="4554" y="18000"/>
                  </a:lnTo>
                  <a:lnTo>
                    <a:pt x="4554" y="18000"/>
                  </a:lnTo>
                  <a:close/>
                  <a:moveTo>
                    <a:pt x="13636" y="18000"/>
                  </a:moveTo>
                  <a:lnTo>
                    <a:pt x="17046" y="18000"/>
                  </a:lnTo>
                  <a:lnTo>
                    <a:pt x="17046" y="21600"/>
                  </a:lnTo>
                  <a:lnTo>
                    <a:pt x="13636" y="21600"/>
                  </a:lnTo>
                  <a:lnTo>
                    <a:pt x="13636" y="18000"/>
                  </a:lnTo>
                  <a:lnTo>
                    <a:pt x="13636" y="18000"/>
                  </a:lnTo>
                  <a:close/>
                  <a:moveTo>
                    <a:pt x="4554" y="13219"/>
                  </a:moveTo>
                  <a:lnTo>
                    <a:pt x="7964" y="13219"/>
                  </a:lnTo>
                  <a:lnTo>
                    <a:pt x="7964" y="16819"/>
                  </a:lnTo>
                  <a:lnTo>
                    <a:pt x="4554" y="16819"/>
                  </a:lnTo>
                  <a:lnTo>
                    <a:pt x="4554" y="13219"/>
                  </a:lnTo>
                  <a:lnTo>
                    <a:pt x="4554" y="13219"/>
                  </a:lnTo>
                  <a:close/>
                  <a:moveTo>
                    <a:pt x="9109" y="16819"/>
                  </a:moveTo>
                  <a:lnTo>
                    <a:pt x="9109" y="13219"/>
                  </a:lnTo>
                  <a:lnTo>
                    <a:pt x="12518" y="13219"/>
                  </a:lnTo>
                  <a:lnTo>
                    <a:pt x="12518" y="16819"/>
                  </a:lnTo>
                  <a:lnTo>
                    <a:pt x="9109" y="16819"/>
                  </a:lnTo>
                  <a:lnTo>
                    <a:pt x="9109" y="16819"/>
                  </a:lnTo>
                  <a:lnTo>
                    <a:pt x="9109" y="16819"/>
                  </a:lnTo>
                  <a:close/>
                  <a:moveTo>
                    <a:pt x="13636" y="13219"/>
                  </a:moveTo>
                  <a:lnTo>
                    <a:pt x="17046" y="13219"/>
                  </a:lnTo>
                  <a:lnTo>
                    <a:pt x="17046" y="16819"/>
                  </a:lnTo>
                  <a:lnTo>
                    <a:pt x="13636" y="16819"/>
                  </a:lnTo>
                  <a:lnTo>
                    <a:pt x="13636" y="13219"/>
                  </a:lnTo>
                  <a:lnTo>
                    <a:pt x="13636" y="13219"/>
                  </a:lnTo>
                  <a:close/>
                  <a:moveTo>
                    <a:pt x="21600" y="8409"/>
                  </a:moveTo>
                  <a:cubicBezTo>
                    <a:pt x="21600" y="7247"/>
                    <a:pt x="21396" y="6159"/>
                    <a:pt x="20987" y="5147"/>
                  </a:cubicBezTo>
                  <a:cubicBezTo>
                    <a:pt x="20561" y="4116"/>
                    <a:pt x="19989" y="3220"/>
                    <a:pt x="19270" y="2461"/>
                  </a:cubicBezTo>
                  <a:cubicBezTo>
                    <a:pt x="18550" y="1702"/>
                    <a:pt x="17711" y="1107"/>
                    <a:pt x="16753" y="675"/>
                  </a:cubicBezTo>
                  <a:cubicBezTo>
                    <a:pt x="15776" y="225"/>
                    <a:pt x="14737" y="0"/>
                    <a:pt x="13636" y="0"/>
                  </a:cubicBezTo>
                  <a:lnTo>
                    <a:pt x="7964" y="0"/>
                  </a:lnTo>
                  <a:cubicBezTo>
                    <a:pt x="6863" y="0"/>
                    <a:pt x="5833" y="225"/>
                    <a:pt x="4874" y="675"/>
                  </a:cubicBezTo>
                  <a:cubicBezTo>
                    <a:pt x="3897" y="1107"/>
                    <a:pt x="3050" y="1702"/>
                    <a:pt x="2330" y="2461"/>
                  </a:cubicBezTo>
                  <a:cubicBezTo>
                    <a:pt x="1611" y="3220"/>
                    <a:pt x="1048" y="4116"/>
                    <a:pt x="639" y="5147"/>
                  </a:cubicBezTo>
                  <a:cubicBezTo>
                    <a:pt x="213" y="6159"/>
                    <a:pt x="0" y="7247"/>
                    <a:pt x="0" y="8409"/>
                  </a:cubicBezTo>
                  <a:cubicBezTo>
                    <a:pt x="0" y="9066"/>
                    <a:pt x="222" y="9628"/>
                    <a:pt x="666" y="10097"/>
                  </a:cubicBezTo>
                  <a:cubicBezTo>
                    <a:pt x="1110" y="10566"/>
                    <a:pt x="1651" y="10800"/>
                    <a:pt x="2291" y="10800"/>
                  </a:cubicBezTo>
                  <a:lnTo>
                    <a:pt x="4554" y="10800"/>
                  </a:lnTo>
                  <a:cubicBezTo>
                    <a:pt x="5176" y="10800"/>
                    <a:pt x="5709" y="10566"/>
                    <a:pt x="6152" y="10097"/>
                  </a:cubicBezTo>
                  <a:cubicBezTo>
                    <a:pt x="6596" y="9628"/>
                    <a:pt x="6818" y="9066"/>
                    <a:pt x="6818" y="8409"/>
                  </a:cubicBezTo>
                  <a:lnTo>
                    <a:pt x="6818" y="7200"/>
                  </a:lnTo>
                  <a:cubicBezTo>
                    <a:pt x="6818" y="6881"/>
                    <a:pt x="6929" y="6605"/>
                    <a:pt x="7151" y="6370"/>
                  </a:cubicBezTo>
                  <a:cubicBezTo>
                    <a:pt x="7373" y="6136"/>
                    <a:pt x="7644" y="6019"/>
                    <a:pt x="7964" y="6019"/>
                  </a:cubicBezTo>
                  <a:lnTo>
                    <a:pt x="13636" y="6019"/>
                  </a:lnTo>
                  <a:cubicBezTo>
                    <a:pt x="13956" y="6019"/>
                    <a:pt x="14227" y="6136"/>
                    <a:pt x="14449" y="6370"/>
                  </a:cubicBezTo>
                  <a:cubicBezTo>
                    <a:pt x="14671" y="6605"/>
                    <a:pt x="14782" y="6881"/>
                    <a:pt x="14782" y="7200"/>
                  </a:cubicBezTo>
                  <a:lnTo>
                    <a:pt x="14782" y="8409"/>
                  </a:lnTo>
                  <a:cubicBezTo>
                    <a:pt x="14782" y="9066"/>
                    <a:pt x="15004" y="9628"/>
                    <a:pt x="15448" y="10097"/>
                  </a:cubicBezTo>
                  <a:cubicBezTo>
                    <a:pt x="15891" y="10566"/>
                    <a:pt x="16424" y="10800"/>
                    <a:pt x="17046" y="10800"/>
                  </a:cubicBezTo>
                  <a:lnTo>
                    <a:pt x="19336" y="10800"/>
                  </a:lnTo>
                  <a:cubicBezTo>
                    <a:pt x="19958" y="10800"/>
                    <a:pt x="20490" y="10566"/>
                    <a:pt x="20934" y="10097"/>
                  </a:cubicBezTo>
                  <a:cubicBezTo>
                    <a:pt x="21378" y="9628"/>
                    <a:pt x="21600" y="9066"/>
                    <a:pt x="21600" y="8409"/>
                  </a:cubicBezTo>
                  <a:lnTo>
                    <a:pt x="21600" y="8409"/>
                  </a:lnTo>
                  <a:lnTo>
                    <a:pt x="21600" y="8409"/>
                  </a:lnTo>
                  <a:lnTo>
                    <a:pt x="21600" y="8409"/>
                  </a:lnTo>
                  <a:lnTo>
                    <a:pt x="21600" y="8409"/>
                  </a:lnTo>
                  <a:close/>
                  <a:moveTo>
                    <a:pt x="20455" y="8409"/>
                  </a:moveTo>
                  <a:cubicBezTo>
                    <a:pt x="20455" y="8747"/>
                    <a:pt x="20344" y="9033"/>
                    <a:pt x="20122" y="9267"/>
                  </a:cubicBezTo>
                  <a:cubicBezTo>
                    <a:pt x="19900" y="9502"/>
                    <a:pt x="19638" y="9619"/>
                    <a:pt x="19336" y="9619"/>
                  </a:cubicBezTo>
                  <a:lnTo>
                    <a:pt x="17046" y="9619"/>
                  </a:lnTo>
                  <a:cubicBezTo>
                    <a:pt x="16744" y="9619"/>
                    <a:pt x="16482" y="9502"/>
                    <a:pt x="16260" y="9267"/>
                  </a:cubicBezTo>
                  <a:cubicBezTo>
                    <a:pt x="16038" y="9033"/>
                    <a:pt x="15927" y="8747"/>
                    <a:pt x="15927" y="8409"/>
                  </a:cubicBezTo>
                  <a:lnTo>
                    <a:pt x="15927" y="7200"/>
                  </a:lnTo>
                  <a:cubicBezTo>
                    <a:pt x="15927" y="6544"/>
                    <a:pt x="15705" y="5981"/>
                    <a:pt x="15261" y="5513"/>
                  </a:cubicBezTo>
                  <a:cubicBezTo>
                    <a:pt x="14817" y="5044"/>
                    <a:pt x="14276" y="4809"/>
                    <a:pt x="13636" y="4809"/>
                  </a:cubicBezTo>
                  <a:lnTo>
                    <a:pt x="7964" y="4809"/>
                  </a:lnTo>
                  <a:cubicBezTo>
                    <a:pt x="7342" y="4809"/>
                    <a:pt x="6809" y="5044"/>
                    <a:pt x="6365" y="5513"/>
                  </a:cubicBezTo>
                  <a:cubicBezTo>
                    <a:pt x="5922" y="5981"/>
                    <a:pt x="5700" y="6544"/>
                    <a:pt x="5700" y="7200"/>
                  </a:cubicBezTo>
                  <a:lnTo>
                    <a:pt x="5700" y="8409"/>
                  </a:lnTo>
                  <a:cubicBezTo>
                    <a:pt x="5700" y="8747"/>
                    <a:pt x="5589" y="9033"/>
                    <a:pt x="5367" y="9267"/>
                  </a:cubicBezTo>
                  <a:cubicBezTo>
                    <a:pt x="5145" y="9502"/>
                    <a:pt x="4874" y="9619"/>
                    <a:pt x="4554" y="9619"/>
                  </a:cubicBezTo>
                  <a:lnTo>
                    <a:pt x="2291" y="9619"/>
                  </a:lnTo>
                  <a:cubicBezTo>
                    <a:pt x="1971" y="9619"/>
                    <a:pt x="1700" y="9502"/>
                    <a:pt x="1478" y="9267"/>
                  </a:cubicBezTo>
                  <a:cubicBezTo>
                    <a:pt x="1256" y="9033"/>
                    <a:pt x="1145" y="8747"/>
                    <a:pt x="1145" y="8409"/>
                  </a:cubicBezTo>
                  <a:cubicBezTo>
                    <a:pt x="1145" y="7922"/>
                    <a:pt x="1190" y="7444"/>
                    <a:pt x="1278" y="6975"/>
                  </a:cubicBezTo>
                  <a:cubicBezTo>
                    <a:pt x="1367" y="6507"/>
                    <a:pt x="1500" y="6047"/>
                    <a:pt x="1678" y="5597"/>
                  </a:cubicBezTo>
                  <a:cubicBezTo>
                    <a:pt x="1855" y="5166"/>
                    <a:pt x="2064" y="4763"/>
                    <a:pt x="2304" y="4388"/>
                  </a:cubicBezTo>
                  <a:cubicBezTo>
                    <a:pt x="2544" y="4013"/>
                    <a:pt x="2823" y="3656"/>
                    <a:pt x="3143" y="3319"/>
                  </a:cubicBezTo>
                  <a:cubicBezTo>
                    <a:pt x="3462" y="2981"/>
                    <a:pt x="3800" y="2686"/>
                    <a:pt x="4155" y="2433"/>
                  </a:cubicBezTo>
                  <a:cubicBezTo>
                    <a:pt x="4510" y="2180"/>
                    <a:pt x="4892" y="1960"/>
                    <a:pt x="5300" y="1772"/>
                  </a:cubicBezTo>
                  <a:cubicBezTo>
                    <a:pt x="5726" y="1585"/>
                    <a:pt x="6161" y="1444"/>
                    <a:pt x="6605" y="1350"/>
                  </a:cubicBezTo>
                  <a:cubicBezTo>
                    <a:pt x="7049" y="1256"/>
                    <a:pt x="7502" y="1209"/>
                    <a:pt x="7964" y="1209"/>
                  </a:cubicBezTo>
                  <a:lnTo>
                    <a:pt x="13636" y="1209"/>
                  </a:lnTo>
                  <a:cubicBezTo>
                    <a:pt x="14098" y="1209"/>
                    <a:pt x="14551" y="1256"/>
                    <a:pt x="14995" y="1350"/>
                  </a:cubicBezTo>
                  <a:cubicBezTo>
                    <a:pt x="15439" y="1444"/>
                    <a:pt x="15874" y="1585"/>
                    <a:pt x="16300" y="1772"/>
                  </a:cubicBezTo>
                  <a:cubicBezTo>
                    <a:pt x="16708" y="1960"/>
                    <a:pt x="17094" y="2180"/>
                    <a:pt x="17458" y="2433"/>
                  </a:cubicBezTo>
                  <a:cubicBezTo>
                    <a:pt x="17822" y="2686"/>
                    <a:pt x="18155" y="2981"/>
                    <a:pt x="18457" y="3319"/>
                  </a:cubicBezTo>
                  <a:cubicBezTo>
                    <a:pt x="18777" y="3656"/>
                    <a:pt x="19061" y="4013"/>
                    <a:pt x="19309" y="4388"/>
                  </a:cubicBezTo>
                  <a:cubicBezTo>
                    <a:pt x="19558" y="4763"/>
                    <a:pt x="19762" y="5166"/>
                    <a:pt x="19922" y="5597"/>
                  </a:cubicBezTo>
                  <a:cubicBezTo>
                    <a:pt x="20100" y="6047"/>
                    <a:pt x="20233" y="6507"/>
                    <a:pt x="20322" y="6975"/>
                  </a:cubicBezTo>
                  <a:cubicBezTo>
                    <a:pt x="20410" y="7444"/>
                    <a:pt x="20455" y="7922"/>
                    <a:pt x="20455" y="8409"/>
                  </a:cubicBezTo>
                  <a:lnTo>
                    <a:pt x="20455" y="8409"/>
                  </a:lnTo>
                  <a:lnTo>
                    <a:pt x="20455" y="8409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miter lim="400000"/>
            </a:ln>
          </p:spPr>
          <p:txBody>
            <a:bodyPr lIns="27428" tIns="27428" rIns="27428" bIns="27428" anchor="ctr"/>
            <a:lstStyle/>
            <a:p>
              <a:pPr marL="0" marR="0" lvl="0" indent="0" algn="l" defTabSz="3291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b="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sym typeface="Gill Sans"/>
              </a:endParaRPr>
            </a:p>
          </p:txBody>
        </p:sp>
      </p:grpSp>
      <p:grpSp>
        <p:nvGrpSpPr>
          <p:cNvPr id="13" name="Agrupar 12">
            <a:extLst>
              <a:ext uri="{FF2B5EF4-FFF2-40B4-BE49-F238E27FC236}">
                <a16:creationId xmlns:a16="http://schemas.microsoft.com/office/drawing/2014/main" id="{6B1CC85A-0593-3A1C-C29F-DED533A07D13}"/>
              </a:ext>
            </a:extLst>
          </p:cNvPr>
          <p:cNvGrpSpPr/>
          <p:nvPr/>
        </p:nvGrpSpPr>
        <p:grpSpPr>
          <a:xfrm>
            <a:off x="1734711" y="3025105"/>
            <a:ext cx="720000" cy="462875"/>
            <a:chOff x="1723917" y="3268315"/>
            <a:chExt cx="720000" cy="462875"/>
          </a:xfrm>
        </p:grpSpPr>
        <p:sp>
          <p:nvSpPr>
            <p:cNvPr id="14" name="CaixaDeTexto 13">
              <a:extLst>
                <a:ext uri="{FF2B5EF4-FFF2-40B4-BE49-F238E27FC236}">
                  <a16:creationId xmlns:a16="http://schemas.microsoft.com/office/drawing/2014/main" id="{23F1DC2E-AD12-DABE-AD88-AC4448C60F6A}"/>
                </a:ext>
              </a:extLst>
            </p:cNvPr>
            <p:cNvSpPr txBox="1"/>
            <p:nvPr/>
          </p:nvSpPr>
          <p:spPr>
            <a:xfrm>
              <a:off x="1723917" y="3500359"/>
              <a:ext cx="720000" cy="230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3165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Sites</a:t>
              </a:r>
            </a:p>
          </p:txBody>
        </p:sp>
        <p:sp>
          <p:nvSpPr>
            <p:cNvPr id="15" name="Forma">
              <a:extLst>
                <a:ext uri="{FF2B5EF4-FFF2-40B4-BE49-F238E27FC236}">
                  <a16:creationId xmlns:a16="http://schemas.microsoft.com/office/drawing/2014/main" id="{EC665C59-CC9A-F12C-0BE2-181453FB433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41626" y="3268315"/>
              <a:ext cx="307782" cy="252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62" y="21417"/>
                  </a:moveTo>
                  <a:cubicBezTo>
                    <a:pt x="21554" y="21295"/>
                    <a:pt x="21600" y="21160"/>
                    <a:pt x="21600" y="21009"/>
                  </a:cubicBezTo>
                  <a:cubicBezTo>
                    <a:pt x="21600" y="20841"/>
                    <a:pt x="21554" y="20696"/>
                    <a:pt x="21462" y="20573"/>
                  </a:cubicBezTo>
                  <a:cubicBezTo>
                    <a:pt x="21370" y="20452"/>
                    <a:pt x="21255" y="20391"/>
                    <a:pt x="21116" y="20391"/>
                  </a:cubicBezTo>
                  <a:lnTo>
                    <a:pt x="484" y="20391"/>
                  </a:lnTo>
                  <a:cubicBezTo>
                    <a:pt x="345" y="20391"/>
                    <a:pt x="230" y="20452"/>
                    <a:pt x="138" y="20573"/>
                  </a:cubicBezTo>
                  <a:cubicBezTo>
                    <a:pt x="46" y="20696"/>
                    <a:pt x="0" y="20841"/>
                    <a:pt x="0" y="21009"/>
                  </a:cubicBezTo>
                  <a:cubicBezTo>
                    <a:pt x="0" y="21160"/>
                    <a:pt x="46" y="21295"/>
                    <a:pt x="138" y="21417"/>
                  </a:cubicBezTo>
                  <a:cubicBezTo>
                    <a:pt x="230" y="21539"/>
                    <a:pt x="345" y="21600"/>
                    <a:pt x="484" y="21600"/>
                  </a:cubicBezTo>
                  <a:lnTo>
                    <a:pt x="21116" y="21600"/>
                  </a:lnTo>
                  <a:lnTo>
                    <a:pt x="21116" y="21600"/>
                  </a:lnTo>
                  <a:lnTo>
                    <a:pt x="21116" y="21600"/>
                  </a:lnTo>
                  <a:cubicBezTo>
                    <a:pt x="21255" y="21600"/>
                    <a:pt x="21370" y="21539"/>
                    <a:pt x="21462" y="21417"/>
                  </a:cubicBezTo>
                  <a:lnTo>
                    <a:pt x="21462" y="21417"/>
                  </a:lnTo>
                  <a:close/>
                  <a:moveTo>
                    <a:pt x="19643" y="15609"/>
                  </a:moveTo>
                  <a:lnTo>
                    <a:pt x="1957" y="15609"/>
                  </a:lnTo>
                  <a:lnTo>
                    <a:pt x="1957" y="1209"/>
                  </a:lnTo>
                  <a:lnTo>
                    <a:pt x="19643" y="1209"/>
                  </a:lnTo>
                  <a:lnTo>
                    <a:pt x="19643" y="15609"/>
                  </a:lnTo>
                  <a:lnTo>
                    <a:pt x="19643" y="15609"/>
                  </a:lnTo>
                  <a:close/>
                  <a:moveTo>
                    <a:pt x="1957" y="0"/>
                  </a:moveTo>
                  <a:cubicBezTo>
                    <a:pt x="1681" y="0"/>
                    <a:pt x="1447" y="117"/>
                    <a:pt x="1255" y="352"/>
                  </a:cubicBezTo>
                  <a:cubicBezTo>
                    <a:pt x="1063" y="586"/>
                    <a:pt x="967" y="872"/>
                    <a:pt x="967" y="1209"/>
                  </a:cubicBezTo>
                  <a:lnTo>
                    <a:pt x="967" y="15609"/>
                  </a:lnTo>
                  <a:cubicBezTo>
                    <a:pt x="967" y="15928"/>
                    <a:pt x="1063" y="16205"/>
                    <a:pt x="1255" y="16439"/>
                  </a:cubicBezTo>
                  <a:cubicBezTo>
                    <a:pt x="1447" y="16674"/>
                    <a:pt x="1681" y="16791"/>
                    <a:pt x="1957" y="16791"/>
                  </a:cubicBezTo>
                  <a:lnTo>
                    <a:pt x="19643" y="16791"/>
                  </a:lnTo>
                  <a:cubicBezTo>
                    <a:pt x="19919" y="16791"/>
                    <a:pt x="20153" y="16674"/>
                    <a:pt x="20345" y="16439"/>
                  </a:cubicBezTo>
                  <a:cubicBezTo>
                    <a:pt x="20537" y="16205"/>
                    <a:pt x="20633" y="15928"/>
                    <a:pt x="20633" y="15609"/>
                  </a:cubicBezTo>
                  <a:lnTo>
                    <a:pt x="20633" y="1209"/>
                  </a:lnTo>
                  <a:cubicBezTo>
                    <a:pt x="20633" y="872"/>
                    <a:pt x="20537" y="586"/>
                    <a:pt x="20345" y="352"/>
                  </a:cubicBezTo>
                  <a:cubicBezTo>
                    <a:pt x="20153" y="117"/>
                    <a:pt x="19919" y="0"/>
                    <a:pt x="19643" y="0"/>
                  </a:cubicBezTo>
                  <a:lnTo>
                    <a:pt x="1957" y="0"/>
                  </a:lnTo>
                  <a:lnTo>
                    <a:pt x="1957" y="0"/>
                  </a:lnTo>
                  <a:close/>
                  <a:moveTo>
                    <a:pt x="15221" y="2391"/>
                  </a:moveTo>
                  <a:cubicBezTo>
                    <a:pt x="15359" y="2391"/>
                    <a:pt x="15475" y="2452"/>
                    <a:pt x="15567" y="2573"/>
                  </a:cubicBezTo>
                  <a:cubicBezTo>
                    <a:pt x="15659" y="2696"/>
                    <a:pt x="15705" y="2841"/>
                    <a:pt x="15705" y="3009"/>
                  </a:cubicBezTo>
                  <a:lnTo>
                    <a:pt x="15705" y="4191"/>
                  </a:lnTo>
                  <a:cubicBezTo>
                    <a:pt x="15705" y="4359"/>
                    <a:pt x="15659" y="4505"/>
                    <a:pt x="15567" y="4627"/>
                  </a:cubicBezTo>
                  <a:cubicBezTo>
                    <a:pt x="15475" y="4749"/>
                    <a:pt x="15359" y="4809"/>
                    <a:pt x="15221" y="4809"/>
                  </a:cubicBezTo>
                  <a:lnTo>
                    <a:pt x="14231" y="4809"/>
                  </a:lnTo>
                  <a:cubicBezTo>
                    <a:pt x="14108" y="4809"/>
                    <a:pt x="13997" y="4749"/>
                    <a:pt x="13897" y="4627"/>
                  </a:cubicBezTo>
                  <a:cubicBezTo>
                    <a:pt x="13797" y="4505"/>
                    <a:pt x="13748" y="4359"/>
                    <a:pt x="13748" y="4191"/>
                  </a:cubicBezTo>
                  <a:lnTo>
                    <a:pt x="13748" y="3009"/>
                  </a:lnTo>
                  <a:cubicBezTo>
                    <a:pt x="13748" y="2841"/>
                    <a:pt x="13797" y="2696"/>
                    <a:pt x="13897" y="2573"/>
                  </a:cubicBezTo>
                  <a:cubicBezTo>
                    <a:pt x="13997" y="2452"/>
                    <a:pt x="14108" y="2391"/>
                    <a:pt x="14231" y="2391"/>
                  </a:cubicBezTo>
                  <a:lnTo>
                    <a:pt x="15221" y="2391"/>
                  </a:lnTo>
                  <a:lnTo>
                    <a:pt x="15221" y="2391"/>
                  </a:lnTo>
                  <a:lnTo>
                    <a:pt x="15221" y="2391"/>
                  </a:lnTo>
                  <a:close/>
                  <a:moveTo>
                    <a:pt x="18169" y="2391"/>
                  </a:moveTo>
                  <a:cubicBezTo>
                    <a:pt x="18307" y="2391"/>
                    <a:pt x="18422" y="2452"/>
                    <a:pt x="18514" y="2573"/>
                  </a:cubicBezTo>
                  <a:cubicBezTo>
                    <a:pt x="18606" y="2696"/>
                    <a:pt x="18652" y="2841"/>
                    <a:pt x="18652" y="3009"/>
                  </a:cubicBezTo>
                  <a:lnTo>
                    <a:pt x="18652" y="4191"/>
                  </a:lnTo>
                  <a:cubicBezTo>
                    <a:pt x="18652" y="4359"/>
                    <a:pt x="18606" y="4505"/>
                    <a:pt x="18514" y="4627"/>
                  </a:cubicBezTo>
                  <a:cubicBezTo>
                    <a:pt x="18422" y="4749"/>
                    <a:pt x="18307" y="4809"/>
                    <a:pt x="18169" y="4809"/>
                  </a:cubicBezTo>
                  <a:lnTo>
                    <a:pt x="17179" y="4809"/>
                  </a:lnTo>
                  <a:cubicBezTo>
                    <a:pt x="17056" y="4809"/>
                    <a:pt x="16944" y="4749"/>
                    <a:pt x="16845" y="4627"/>
                  </a:cubicBezTo>
                  <a:cubicBezTo>
                    <a:pt x="16745" y="4505"/>
                    <a:pt x="16695" y="4359"/>
                    <a:pt x="16695" y="4191"/>
                  </a:cubicBezTo>
                  <a:lnTo>
                    <a:pt x="16695" y="3009"/>
                  </a:lnTo>
                  <a:cubicBezTo>
                    <a:pt x="16695" y="2841"/>
                    <a:pt x="16745" y="2696"/>
                    <a:pt x="16845" y="2573"/>
                  </a:cubicBezTo>
                  <a:cubicBezTo>
                    <a:pt x="16944" y="2452"/>
                    <a:pt x="17056" y="2391"/>
                    <a:pt x="17179" y="2391"/>
                  </a:cubicBezTo>
                  <a:lnTo>
                    <a:pt x="18169" y="2391"/>
                  </a:lnTo>
                  <a:lnTo>
                    <a:pt x="18169" y="2391"/>
                  </a:lnTo>
                  <a:lnTo>
                    <a:pt x="18169" y="2391"/>
                  </a:lnTo>
                  <a:close/>
                  <a:moveTo>
                    <a:pt x="15221" y="5991"/>
                  </a:moveTo>
                  <a:cubicBezTo>
                    <a:pt x="15359" y="5991"/>
                    <a:pt x="15475" y="6052"/>
                    <a:pt x="15567" y="6173"/>
                  </a:cubicBezTo>
                  <a:cubicBezTo>
                    <a:pt x="15659" y="6296"/>
                    <a:pt x="15705" y="6441"/>
                    <a:pt x="15705" y="6609"/>
                  </a:cubicBezTo>
                  <a:lnTo>
                    <a:pt x="15705" y="7791"/>
                  </a:lnTo>
                  <a:cubicBezTo>
                    <a:pt x="15705" y="7959"/>
                    <a:pt x="15659" y="8105"/>
                    <a:pt x="15567" y="8227"/>
                  </a:cubicBezTo>
                  <a:cubicBezTo>
                    <a:pt x="15475" y="8349"/>
                    <a:pt x="15359" y="8409"/>
                    <a:pt x="15221" y="8409"/>
                  </a:cubicBezTo>
                  <a:lnTo>
                    <a:pt x="14231" y="8409"/>
                  </a:lnTo>
                  <a:cubicBezTo>
                    <a:pt x="14108" y="8409"/>
                    <a:pt x="13997" y="8349"/>
                    <a:pt x="13897" y="8227"/>
                  </a:cubicBezTo>
                  <a:cubicBezTo>
                    <a:pt x="13797" y="8105"/>
                    <a:pt x="13748" y="7959"/>
                    <a:pt x="13748" y="7791"/>
                  </a:cubicBezTo>
                  <a:lnTo>
                    <a:pt x="13748" y="6609"/>
                  </a:lnTo>
                  <a:cubicBezTo>
                    <a:pt x="13748" y="6441"/>
                    <a:pt x="13797" y="6296"/>
                    <a:pt x="13897" y="6173"/>
                  </a:cubicBezTo>
                  <a:cubicBezTo>
                    <a:pt x="13997" y="6052"/>
                    <a:pt x="14108" y="5991"/>
                    <a:pt x="14231" y="5991"/>
                  </a:cubicBezTo>
                  <a:lnTo>
                    <a:pt x="15221" y="5991"/>
                  </a:lnTo>
                  <a:lnTo>
                    <a:pt x="15221" y="5991"/>
                  </a:lnTo>
                  <a:lnTo>
                    <a:pt x="15221" y="5991"/>
                  </a:lnTo>
                  <a:close/>
                  <a:moveTo>
                    <a:pt x="18169" y="5991"/>
                  </a:moveTo>
                  <a:cubicBezTo>
                    <a:pt x="18307" y="5991"/>
                    <a:pt x="18422" y="6052"/>
                    <a:pt x="18514" y="6173"/>
                  </a:cubicBezTo>
                  <a:cubicBezTo>
                    <a:pt x="18606" y="6296"/>
                    <a:pt x="18652" y="6441"/>
                    <a:pt x="18652" y="6609"/>
                  </a:cubicBezTo>
                  <a:lnTo>
                    <a:pt x="18652" y="7791"/>
                  </a:lnTo>
                  <a:cubicBezTo>
                    <a:pt x="18652" y="7959"/>
                    <a:pt x="18606" y="8105"/>
                    <a:pt x="18514" y="8227"/>
                  </a:cubicBezTo>
                  <a:cubicBezTo>
                    <a:pt x="18422" y="8349"/>
                    <a:pt x="18307" y="8409"/>
                    <a:pt x="18169" y="8409"/>
                  </a:cubicBezTo>
                  <a:lnTo>
                    <a:pt x="17179" y="8409"/>
                  </a:lnTo>
                  <a:cubicBezTo>
                    <a:pt x="17056" y="8409"/>
                    <a:pt x="16944" y="8349"/>
                    <a:pt x="16845" y="8227"/>
                  </a:cubicBezTo>
                  <a:cubicBezTo>
                    <a:pt x="16745" y="8105"/>
                    <a:pt x="16695" y="7959"/>
                    <a:pt x="16695" y="7791"/>
                  </a:cubicBezTo>
                  <a:lnTo>
                    <a:pt x="16695" y="6609"/>
                  </a:lnTo>
                  <a:cubicBezTo>
                    <a:pt x="16695" y="6441"/>
                    <a:pt x="16745" y="6296"/>
                    <a:pt x="16845" y="6173"/>
                  </a:cubicBezTo>
                  <a:cubicBezTo>
                    <a:pt x="16944" y="6052"/>
                    <a:pt x="17056" y="5991"/>
                    <a:pt x="17179" y="5991"/>
                  </a:cubicBezTo>
                  <a:lnTo>
                    <a:pt x="18169" y="5991"/>
                  </a:lnTo>
                  <a:lnTo>
                    <a:pt x="18169" y="5991"/>
                  </a:lnTo>
                  <a:lnTo>
                    <a:pt x="18169" y="5991"/>
                  </a:lnTo>
                  <a:close/>
                  <a:moveTo>
                    <a:pt x="18169" y="9591"/>
                  </a:moveTo>
                  <a:cubicBezTo>
                    <a:pt x="18307" y="9591"/>
                    <a:pt x="18422" y="9652"/>
                    <a:pt x="18514" y="9773"/>
                  </a:cubicBezTo>
                  <a:cubicBezTo>
                    <a:pt x="18606" y="9896"/>
                    <a:pt x="18652" y="10041"/>
                    <a:pt x="18652" y="10209"/>
                  </a:cubicBezTo>
                  <a:lnTo>
                    <a:pt x="18652" y="11391"/>
                  </a:lnTo>
                  <a:cubicBezTo>
                    <a:pt x="18652" y="11559"/>
                    <a:pt x="18606" y="11705"/>
                    <a:pt x="18514" y="11827"/>
                  </a:cubicBezTo>
                  <a:cubicBezTo>
                    <a:pt x="18422" y="11949"/>
                    <a:pt x="18307" y="12009"/>
                    <a:pt x="18169" y="12009"/>
                  </a:cubicBezTo>
                  <a:lnTo>
                    <a:pt x="17179" y="12009"/>
                  </a:lnTo>
                  <a:cubicBezTo>
                    <a:pt x="17056" y="12009"/>
                    <a:pt x="16944" y="11949"/>
                    <a:pt x="16845" y="11827"/>
                  </a:cubicBezTo>
                  <a:cubicBezTo>
                    <a:pt x="16745" y="11705"/>
                    <a:pt x="16695" y="11559"/>
                    <a:pt x="16695" y="11391"/>
                  </a:cubicBezTo>
                  <a:lnTo>
                    <a:pt x="16695" y="10209"/>
                  </a:lnTo>
                  <a:cubicBezTo>
                    <a:pt x="16695" y="10041"/>
                    <a:pt x="16745" y="9896"/>
                    <a:pt x="16845" y="9773"/>
                  </a:cubicBezTo>
                  <a:cubicBezTo>
                    <a:pt x="16944" y="9652"/>
                    <a:pt x="17056" y="9591"/>
                    <a:pt x="17179" y="9591"/>
                  </a:cubicBezTo>
                  <a:lnTo>
                    <a:pt x="18169" y="9591"/>
                  </a:lnTo>
                  <a:lnTo>
                    <a:pt x="18169" y="9591"/>
                  </a:lnTo>
                  <a:lnTo>
                    <a:pt x="18169" y="9591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miter lim="400000"/>
            </a:ln>
          </p:spPr>
          <p:txBody>
            <a:bodyPr lIns="27428" tIns="27428" rIns="27428" bIns="27428" anchor="ctr"/>
            <a:lstStyle/>
            <a:p>
              <a:pPr marL="0" marR="0" lvl="0" indent="0" algn="l" defTabSz="3291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b="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lang="pt-BR" sz="1296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sym typeface="Gill Sans"/>
              </a:endParaRPr>
            </a:p>
          </p:txBody>
        </p:sp>
      </p:grpSp>
      <p:grpSp>
        <p:nvGrpSpPr>
          <p:cNvPr id="16" name="Agrupar 15">
            <a:extLst>
              <a:ext uri="{FF2B5EF4-FFF2-40B4-BE49-F238E27FC236}">
                <a16:creationId xmlns:a16="http://schemas.microsoft.com/office/drawing/2014/main" id="{7F5A15C8-9AA0-AECC-1373-A9A2B9F156CA}"/>
              </a:ext>
            </a:extLst>
          </p:cNvPr>
          <p:cNvGrpSpPr/>
          <p:nvPr/>
        </p:nvGrpSpPr>
        <p:grpSpPr>
          <a:xfrm>
            <a:off x="779070" y="3260403"/>
            <a:ext cx="848111" cy="518633"/>
            <a:chOff x="768272" y="3213880"/>
            <a:chExt cx="848111" cy="518631"/>
          </a:xfrm>
        </p:grpSpPr>
        <p:sp>
          <p:nvSpPr>
            <p:cNvPr id="20" name="Forma">
              <a:extLst>
                <a:ext uri="{FF2B5EF4-FFF2-40B4-BE49-F238E27FC236}">
                  <a16:creationId xmlns:a16="http://schemas.microsoft.com/office/drawing/2014/main" id="{1190A10E-9427-1C45-F063-7A17F5F7932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9235" y="3213880"/>
              <a:ext cx="201906" cy="288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429" y="7369"/>
                  </a:moveTo>
                  <a:cubicBezTo>
                    <a:pt x="5225" y="6525"/>
                    <a:pt x="4623" y="5504"/>
                    <a:pt x="4623" y="4305"/>
                  </a:cubicBezTo>
                  <a:cubicBezTo>
                    <a:pt x="4623" y="3123"/>
                    <a:pt x="5225" y="2110"/>
                    <a:pt x="6429" y="1266"/>
                  </a:cubicBezTo>
                  <a:cubicBezTo>
                    <a:pt x="7633" y="422"/>
                    <a:pt x="9090" y="0"/>
                    <a:pt x="10800" y="0"/>
                  </a:cubicBezTo>
                  <a:cubicBezTo>
                    <a:pt x="12510" y="0"/>
                    <a:pt x="13966" y="422"/>
                    <a:pt x="15171" y="1266"/>
                  </a:cubicBezTo>
                  <a:cubicBezTo>
                    <a:pt x="16375" y="2110"/>
                    <a:pt x="16977" y="3123"/>
                    <a:pt x="16977" y="4305"/>
                  </a:cubicBezTo>
                  <a:cubicBezTo>
                    <a:pt x="16977" y="5504"/>
                    <a:pt x="16375" y="6525"/>
                    <a:pt x="15171" y="7369"/>
                  </a:cubicBezTo>
                  <a:cubicBezTo>
                    <a:pt x="13966" y="8213"/>
                    <a:pt x="12510" y="8635"/>
                    <a:pt x="10800" y="8635"/>
                  </a:cubicBezTo>
                  <a:cubicBezTo>
                    <a:pt x="9090" y="8635"/>
                    <a:pt x="7633" y="8213"/>
                    <a:pt x="6429" y="7369"/>
                  </a:cubicBezTo>
                  <a:lnTo>
                    <a:pt x="6429" y="7369"/>
                  </a:lnTo>
                  <a:close/>
                  <a:moveTo>
                    <a:pt x="7513" y="2026"/>
                  </a:moveTo>
                  <a:cubicBezTo>
                    <a:pt x="7080" y="2330"/>
                    <a:pt x="6748" y="2680"/>
                    <a:pt x="6520" y="3077"/>
                  </a:cubicBezTo>
                  <a:cubicBezTo>
                    <a:pt x="6291" y="3474"/>
                    <a:pt x="6177" y="3883"/>
                    <a:pt x="6177" y="4305"/>
                  </a:cubicBezTo>
                  <a:cubicBezTo>
                    <a:pt x="6177" y="4744"/>
                    <a:pt x="6291" y="5162"/>
                    <a:pt x="6520" y="5558"/>
                  </a:cubicBezTo>
                  <a:cubicBezTo>
                    <a:pt x="6748" y="5955"/>
                    <a:pt x="7080" y="6305"/>
                    <a:pt x="7513" y="6609"/>
                  </a:cubicBezTo>
                  <a:cubicBezTo>
                    <a:pt x="7970" y="6913"/>
                    <a:pt x="8476" y="7145"/>
                    <a:pt x="9030" y="7306"/>
                  </a:cubicBezTo>
                  <a:cubicBezTo>
                    <a:pt x="9584" y="7466"/>
                    <a:pt x="10174" y="7546"/>
                    <a:pt x="10800" y="7546"/>
                  </a:cubicBezTo>
                  <a:cubicBezTo>
                    <a:pt x="11426" y="7546"/>
                    <a:pt x="12016" y="7466"/>
                    <a:pt x="12570" y="7306"/>
                  </a:cubicBezTo>
                  <a:cubicBezTo>
                    <a:pt x="13124" y="7145"/>
                    <a:pt x="13629" y="6913"/>
                    <a:pt x="14087" y="6609"/>
                  </a:cubicBezTo>
                  <a:cubicBezTo>
                    <a:pt x="14520" y="6305"/>
                    <a:pt x="14851" y="5955"/>
                    <a:pt x="15080" y="5558"/>
                  </a:cubicBezTo>
                  <a:cubicBezTo>
                    <a:pt x="15309" y="5162"/>
                    <a:pt x="15423" y="4744"/>
                    <a:pt x="15423" y="4305"/>
                  </a:cubicBezTo>
                  <a:cubicBezTo>
                    <a:pt x="15423" y="3883"/>
                    <a:pt x="15309" y="3474"/>
                    <a:pt x="15080" y="3077"/>
                  </a:cubicBezTo>
                  <a:cubicBezTo>
                    <a:pt x="14851" y="2680"/>
                    <a:pt x="14520" y="2330"/>
                    <a:pt x="14087" y="2026"/>
                  </a:cubicBezTo>
                  <a:cubicBezTo>
                    <a:pt x="13629" y="1722"/>
                    <a:pt x="13124" y="1486"/>
                    <a:pt x="12570" y="1317"/>
                  </a:cubicBezTo>
                  <a:cubicBezTo>
                    <a:pt x="12016" y="1148"/>
                    <a:pt x="11426" y="1064"/>
                    <a:pt x="10800" y="1064"/>
                  </a:cubicBezTo>
                  <a:cubicBezTo>
                    <a:pt x="10174" y="1064"/>
                    <a:pt x="9584" y="1148"/>
                    <a:pt x="9030" y="1317"/>
                  </a:cubicBezTo>
                  <a:cubicBezTo>
                    <a:pt x="8476" y="1486"/>
                    <a:pt x="7970" y="1722"/>
                    <a:pt x="7513" y="2026"/>
                  </a:cubicBezTo>
                  <a:lnTo>
                    <a:pt x="7513" y="2026"/>
                  </a:lnTo>
                  <a:lnTo>
                    <a:pt x="7513" y="2026"/>
                  </a:lnTo>
                  <a:close/>
                  <a:moveTo>
                    <a:pt x="14990" y="19118"/>
                  </a:moveTo>
                  <a:cubicBezTo>
                    <a:pt x="15207" y="18966"/>
                    <a:pt x="15345" y="18785"/>
                    <a:pt x="15405" y="18574"/>
                  </a:cubicBezTo>
                  <a:cubicBezTo>
                    <a:pt x="15465" y="18363"/>
                    <a:pt x="15435" y="18156"/>
                    <a:pt x="15315" y="17954"/>
                  </a:cubicBezTo>
                  <a:lnTo>
                    <a:pt x="12245" y="12560"/>
                  </a:lnTo>
                  <a:cubicBezTo>
                    <a:pt x="12221" y="12543"/>
                    <a:pt x="12203" y="12522"/>
                    <a:pt x="12191" y="12497"/>
                  </a:cubicBezTo>
                  <a:cubicBezTo>
                    <a:pt x="12178" y="12471"/>
                    <a:pt x="12160" y="12442"/>
                    <a:pt x="12136" y="12408"/>
                  </a:cubicBezTo>
                  <a:cubicBezTo>
                    <a:pt x="12209" y="12341"/>
                    <a:pt x="12263" y="12260"/>
                    <a:pt x="12299" y="12167"/>
                  </a:cubicBezTo>
                  <a:cubicBezTo>
                    <a:pt x="12335" y="12075"/>
                    <a:pt x="12353" y="11977"/>
                    <a:pt x="12353" y="11876"/>
                  </a:cubicBezTo>
                  <a:cubicBezTo>
                    <a:pt x="12353" y="11860"/>
                    <a:pt x="12353" y="11838"/>
                    <a:pt x="12353" y="11813"/>
                  </a:cubicBezTo>
                  <a:cubicBezTo>
                    <a:pt x="12353" y="11788"/>
                    <a:pt x="12341" y="11758"/>
                    <a:pt x="12317" y="11724"/>
                  </a:cubicBezTo>
                  <a:cubicBezTo>
                    <a:pt x="12317" y="11708"/>
                    <a:pt x="12317" y="11691"/>
                    <a:pt x="12317" y="11674"/>
                  </a:cubicBezTo>
                  <a:cubicBezTo>
                    <a:pt x="12293" y="11572"/>
                    <a:pt x="12250" y="11480"/>
                    <a:pt x="12191" y="11395"/>
                  </a:cubicBezTo>
                  <a:cubicBezTo>
                    <a:pt x="12130" y="11311"/>
                    <a:pt x="12052" y="11227"/>
                    <a:pt x="11956" y="11142"/>
                  </a:cubicBezTo>
                  <a:lnTo>
                    <a:pt x="11920" y="11142"/>
                  </a:lnTo>
                  <a:cubicBezTo>
                    <a:pt x="11920" y="11125"/>
                    <a:pt x="11896" y="11108"/>
                    <a:pt x="11847" y="11091"/>
                  </a:cubicBezTo>
                  <a:cubicBezTo>
                    <a:pt x="11847" y="11075"/>
                    <a:pt x="11835" y="11066"/>
                    <a:pt x="11811" y="11066"/>
                  </a:cubicBezTo>
                  <a:cubicBezTo>
                    <a:pt x="11811" y="11049"/>
                    <a:pt x="11787" y="11032"/>
                    <a:pt x="11739" y="11015"/>
                  </a:cubicBezTo>
                  <a:lnTo>
                    <a:pt x="11703" y="11015"/>
                  </a:lnTo>
                  <a:cubicBezTo>
                    <a:pt x="11679" y="10999"/>
                    <a:pt x="11654" y="10982"/>
                    <a:pt x="11631" y="10965"/>
                  </a:cubicBezTo>
                  <a:cubicBezTo>
                    <a:pt x="11607" y="10948"/>
                    <a:pt x="11571" y="10939"/>
                    <a:pt x="11522" y="10939"/>
                  </a:cubicBezTo>
                  <a:lnTo>
                    <a:pt x="11522" y="10914"/>
                  </a:lnTo>
                  <a:lnTo>
                    <a:pt x="11486" y="10914"/>
                  </a:lnTo>
                  <a:lnTo>
                    <a:pt x="11450" y="10889"/>
                  </a:lnTo>
                  <a:lnTo>
                    <a:pt x="11414" y="10889"/>
                  </a:lnTo>
                  <a:lnTo>
                    <a:pt x="11378" y="10889"/>
                  </a:lnTo>
                  <a:cubicBezTo>
                    <a:pt x="11378" y="10872"/>
                    <a:pt x="11366" y="10863"/>
                    <a:pt x="11342" y="10863"/>
                  </a:cubicBezTo>
                  <a:cubicBezTo>
                    <a:pt x="11318" y="10863"/>
                    <a:pt x="11300" y="10863"/>
                    <a:pt x="11288" y="10863"/>
                  </a:cubicBezTo>
                  <a:cubicBezTo>
                    <a:pt x="11275" y="10863"/>
                    <a:pt x="11270" y="10855"/>
                    <a:pt x="11270" y="10838"/>
                  </a:cubicBezTo>
                  <a:cubicBezTo>
                    <a:pt x="11245" y="10838"/>
                    <a:pt x="11221" y="10838"/>
                    <a:pt x="11197" y="10838"/>
                  </a:cubicBezTo>
                  <a:lnTo>
                    <a:pt x="11161" y="10838"/>
                  </a:lnTo>
                  <a:lnTo>
                    <a:pt x="11125" y="10813"/>
                  </a:lnTo>
                  <a:lnTo>
                    <a:pt x="11089" y="10813"/>
                  </a:lnTo>
                  <a:lnTo>
                    <a:pt x="11053" y="10813"/>
                  </a:lnTo>
                  <a:lnTo>
                    <a:pt x="11017" y="10813"/>
                  </a:lnTo>
                  <a:lnTo>
                    <a:pt x="10981" y="10813"/>
                  </a:lnTo>
                  <a:lnTo>
                    <a:pt x="10944" y="10813"/>
                  </a:lnTo>
                  <a:lnTo>
                    <a:pt x="10908" y="10813"/>
                  </a:lnTo>
                  <a:lnTo>
                    <a:pt x="10872" y="10813"/>
                  </a:lnTo>
                  <a:lnTo>
                    <a:pt x="10836" y="10813"/>
                  </a:lnTo>
                  <a:lnTo>
                    <a:pt x="10800" y="10813"/>
                  </a:lnTo>
                  <a:lnTo>
                    <a:pt x="10764" y="10813"/>
                  </a:lnTo>
                  <a:lnTo>
                    <a:pt x="10728" y="10813"/>
                  </a:lnTo>
                  <a:lnTo>
                    <a:pt x="10692" y="10813"/>
                  </a:lnTo>
                  <a:lnTo>
                    <a:pt x="10656" y="10813"/>
                  </a:lnTo>
                  <a:lnTo>
                    <a:pt x="10619" y="10813"/>
                  </a:lnTo>
                  <a:lnTo>
                    <a:pt x="10583" y="10813"/>
                  </a:lnTo>
                  <a:lnTo>
                    <a:pt x="10547" y="10813"/>
                  </a:lnTo>
                  <a:lnTo>
                    <a:pt x="10511" y="10813"/>
                  </a:lnTo>
                  <a:lnTo>
                    <a:pt x="10475" y="10813"/>
                  </a:lnTo>
                  <a:lnTo>
                    <a:pt x="10439" y="10838"/>
                  </a:lnTo>
                  <a:lnTo>
                    <a:pt x="10403" y="10838"/>
                  </a:lnTo>
                  <a:cubicBezTo>
                    <a:pt x="10379" y="10838"/>
                    <a:pt x="10354" y="10838"/>
                    <a:pt x="10330" y="10838"/>
                  </a:cubicBezTo>
                  <a:cubicBezTo>
                    <a:pt x="10306" y="10855"/>
                    <a:pt x="10282" y="10863"/>
                    <a:pt x="10258" y="10863"/>
                  </a:cubicBezTo>
                  <a:cubicBezTo>
                    <a:pt x="10234" y="10863"/>
                    <a:pt x="10222" y="10872"/>
                    <a:pt x="10222" y="10889"/>
                  </a:cubicBezTo>
                  <a:lnTo>
                    <a:pt x="10186" y="10889"/>
                  </a:lnTo>
                  <a:lnTo>
                    <a:pt x="10150" y="10889"/>
                  </a:lnTo>
                  <a:lnTo>
                    <a:pt x="10114" y="10914"/>
                  </a:lnTo>
                  <a:lnTo>
                    <a:pt x="10078" y="10914"/>
                  </a:lnTo>
                  <a:lnTo>
                    <a:pt x="10078" y="10939"/>
                  </a:lnTo>
                  <a:cubicBezTo>
                    <a:pt x="10029" y="10939"/>
                    <a:pt x="9993" y="10948"/>
                    <a:pt x="9969" y="10965"/>
                  </a:cubicBezTo>
                  <a:cubicBezTo>
                    <a:pt x="9945" y="10982"/>
                    <a:pt x="9921" y="10999"/>
                    <a:pt x="9897" y="11015"/>
                  </a:cubicBezTo>
                  <a:lnTo>
                    <a:pt x="9861" y="11015"/>
                  </a:lnTo>
                  <a:cubicBezTo>
                    <a:pt x="9812" y="11032"/>
                    <a:pt x="9789" y="11049"/>
                    <a:pt x="9789" y="11066"/>
                  </a:cubicBezTo>
                  <a:cubicBezTo>
                    <a:pt x="9765" y="11066"/>
                    <a:pt x="9753" y="11075"/>
                    <a:pt x="9753" y="11091"/>
                  </a:cubicBezTo>
                  <a:cubicBezTo>
                    <a:pt x="9704" y="11108"/>
                    <a:pt x="9680" y="11125"/>
                    <a:pt x="9680" y="11142"/>
                  </a:cubicBezTo>
                  <a:lnTo>
                    <a:pt x="9644" y="11142"/>
                  </a:lnTo>
                  <a:cubicBezTo>
                    <a:pt x="9548" y="11227"/>
                    <a:pt x="9469" y="11311"/>
                    <a:pt x="9409" y="11395"/>
                  </a:cubicBezTo>
                  <a:cubicBezTo>
                    <a:pt x="9349" y="11480"/>
                    <a:pt x="9307" y="11572"/>
                    <a:pt x="9283" y="11674"/>
                  </a:cubicBezTo>
                  <a:cubicBezTo>
                    <a:pt x="9283" y="11691"/>
                    <a:pt x="9283" y="11708"/>
                    <a:pt x="9283" y="11724"/>
                  </a:cubicBezTo>
                  <a:cubicBezTo>
                    <a:pt x="9259" y="11758"/>
                    <a:pt x="9247" y="11788"/>
                    <a:pt x="9247" y="11813"/>
                  </a:cubicBezTo>
                  <a:cubicBezTo>
                    <a:pt x="9247" y="11838"/>
                    <a:pt x="9247" y="11860"/>
                    <a:pt x="9247" y="11876"/>
                  </a:cubicBezTo>
                  <a:cubicBezTo>
                    <a:pt x="9247" y="11977"/>
                    <a:pt x="9265" y="12075"/>
                    <a:pt x="9301" y="12167"/>
                  </a:cubicBezTo>
                  <a:cubicBezTo>
                    <a:pt x="9337" y="12260"/>
                    <a:pt x="9391" y="12341"/>
                    <a:pt x="9464" y="12408"/>
                  </a:cubicBezTo>
                  <a:cubicBezTo>
                    <a:pt x="9439" y="12442"/>
                    <a:pt x="9421" y="12467"/>
                    <a:pt x="9409" y="12484"/>
                  </a:cubicBezTo>
                  <a:cubicBezTo>
                    <a:pt x="9397" y="12501"/>
                    <a:pt x="9379" y="12526"/>
                    <a:pt x="9355" y="12560"/>
                  </a:cubicBezTo>
                  <a:lnTo>
                    <a:pt x="6285" y="17954"/>
                  </a:lnTo>
                  <a:cubicBezTo>
                    <a:pt x="6164" y="18156"/>
                    <a:pt x="6134" y="18363"/>
                    <a:pt x="6195" y="18574"/>
                  </a:cubicBezTo>
                  <a:cubicBezTo>
                    <a:pt x="6254" y="18785"/>
                    <a:pt x="6393" y="18966"/>
                    <a:pt x="6610" y="19118"/>
                  </a:cubicBezTo>
                  <a:lnTo>
                    <a:pt x="9716" y="21296"/>
                  </a:lnTo>
                  <a:cubicBezTo>
                    <a:pt x="9861" y="21397"/>
                    <a:pt x="10029" y="21473"/>
                    <a:pt x="10222" y="21524"/>
                  </a:cubicBezTo>
                  <a:cubicBezTo>
                    <a:pt x="10415" y="21575"/>
                    <a:pt x="10607" y="21600"/>
                    <a:pt x="10800" y="21600"/>
                  </a:cubicBezTo>
                  <a:cubicBezTo>
                    <a:pt x="10993" y="21600"/>
                    <a:pt x="11185" y="21575"/>
                    <a:pt x="11378" y="21524"/>
                  </a:cubicBezTo>
                  <a:cubicBezTo>
                    <a:pt x="11571" y="21473"/>
                    <a:pt x="11739" y="21397"/>
                    <a:pt x="11884" y="21296"/>
                  </a:cubicBez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close/>
                  <a:moveTo>
                    <a:pt x="6429" y="20511"/>
                  </a:moveTo>
                  <a:lnTo>
                    <a:pt x="1553" y="20511"/>
                  </a:lnTo>
                  <a:lnTo>
                    <a:pt x="1553" y="17270"/>
                  </a:lnTo>
                  <a:cubicBezTo>
                    <a:pt x="1553" y="16915"/>
                    <a:pt x="1601" y="16561"/>
                    <a:pt x="1698" y="16206"/>
                  </a:cubicBezTo>
                  <a:cubicBezTo>
                    <a:pt x="1794" y="15852"/>
                    <a:pt x="1951" y="15514"/>
                    <a:pt x="2167" y="15193"/>
                  </a:cubicBezTo>
                  <a:cubicBezTo>
                    <a:pt x="2360" y="14873"/>
                    <a:pt x="2595" y="14565"/>
                    <a:pt x="2872" y="14269"/>
                  </a:cubicBezTo>
                  <a:cubicBezTo>
                    <a:pt x="3148" y="13974"/>
                    <a:pt x="3468" y="13708"/>
                    <a:pt x="3829" y="13472"/>
                  </a:cubicBezTo>
                  <a:cubicBezTo>
                    <a:pt x="4166" y="13218"/>
                    <a:pt x="4545" y="12995"/>
                    <a:pt x="4967" y="12800"/>
                  </a:cubicBezTo>
                  <a:cubicBezTo>
                    <a:pt x="5388" y="12607"/>
                    <a:pt x="5827" y="12442"/>
                    <a:pt x="6285" y="12307"/>
                  </a:cubicBezTo>
                  <a:cubicBezTo>
                    <a:pt x="6502" y="12239"/>
                    <a:pt x="6730" y="12176"/>
                    <a:pt x="6971" y="12117"/>
                  </a:cubicBezTo>
                  <a:cubicBezTo>
                    <a:pt x="7212" y="12058"/>
                    <a:pt x="7465" y="12012"/>
                    <a:pt x="7730" y="11977"/>
                  </a:cubicBezTo>
                  <a:cubicBezTo>
                    <a:pt x="7730" y="11961"/>
                    <a:pt x="7730" y="11944"/>
                    <a:pt x="7730" y="11927"/>
                  </a:cubicBezTo>
                  <a:cubicBezTo>
                    <a:pt x="7730" y="11910"/>
                    <a:pt x="7730" y="11893"/>
                    <a:pt x="7730" y="11876"/>
                  </a:cubicBezTo>
                  <a:cubicBezTo>
                    <a:pt x="7730" y="11691"/>
                    <a:pt x="7760" y="11509"/>
                    <a:pt x="7820" y="11332"/>
                  </a:cubicBezTo>
                  <a:cubicBezTo>
                    <a:pt x="7880" y="11155"/>
                    <a:pt x="7970" y="10990"/>
                    <a:pt x="8091" y="10838"/>
                  </a:cubicBezTo>
                  <a:cubicBezTo>
                    <a:pt x="6959" y="10939"/>
                    <a:pt x="5900" y="11184"/>
                    <a:pt x="4912" y="11572"/>
                  </a:cubicBezTo>
                  <a:cubicBezTo>
                    <a:pt x="3925" y="11944"/>
                    <a:pt x="3070" y="12417"/>
                    <a:pt x="2348" y="12990"/>
                  </a:cubicBezTo>
                  <a:cubicBezTo>
                    <a:pt x="1625" y="13564"/>
                    <a:pt x="1060" y="14215"/>
                    <a:pt x="650" y="14940"/>
                  </a:cubicBezTo>
                  <a:cubicBezTo>
                    <a:pt x="217" y="15683"/>
                    <a:pt x="0" y="16460"/>
                    <a:pt x="0" y="17270"/>
                  </a:cubicBezTo>
                  <a:lnTo>
                    <a:pt x="0" y="20511"/>
                  </a:lnTo>
                  <a:cubicBezTo>
                    <a:pt x="0" y="20815"/>
                    <a:pt x="150" y="21073"/>
                    <a:pt x="452" y="21283"/>
                  </a:cubicBezTo>
                  <a:cubicBezTo>
                    <a:pt x="753" y="21495"/>
                    <a:pt x="1120" y="21600"/>
                    <a:pt x="1553" y="21600"/>
                  </a:cubicBezTo>
                  <a:lnTo>
                    <a:pt x="7983" y="21600"/>
                  </a:lnTo>
                  <a:lnTo>
                    <a:pt x="6429" y="20511"/>
                  </a:lnTo>
                  <a:lnTo>
                    <a:pt x="6429" y="20511"/>
                  </a:lnTo>
                  <a:lnTo>
                    <a:pt x="6429" y="20511"/>
                  </a:lnTo>
                  <a:lnTo>
                    <a:pt x="6429" y="20511"/>
                  </a:lnTo>
                  <a:lnTo>
                    <a:pt x="6429" y="20511"/>
                  </a:lnTo>
                  <a:lnTo>
                    <a:pt x="6429" y="20511"/>
                  </a:lnTo>
                  <a:close/>
                  <a:moveTo>
                    <a:pt x="21600" y="17270"/>
                  </a:moveTo>
                  <a:cubicBezTo>
                    <a:pt x="21600" y="16460"/>
                    <a:pt x="21383" y="15683"/>
                    <a:pt x="20950" y="14940"/>
                  </a:cubicBezTo>
                  <a:cubicBezTo>
                    <a:pt x="20540" y="14215"/>
                    <a:pt x="19975" y="13564"/>
                    <a:pt x="19252" y="12990"/>
                  </a:cubicBezTo>
                  <a:cubicBezTo>
                    <a:pt x="18530" y="12417"/>
                    <a:pt x="17675" y="11944"/>
                    <a:pt x="16688" y="11572"/>
                  </a:cubicBezTo>
                  <a:cubicBezTo>
                    <a:pt x="15700" y="11184"/>
                    <a:pt x="14641" y="10939"/>
                    <a:pt x="13509" y="10838"/>
                  </a:cubicBezTo>
                  <a:cubicBezTo>
                    <a:pt x="13629" y="11007"/>
                    <a:pt x="13720" y="11176"/>
                    <a:pt x="13780" y="11344"/>
                  </a:cubicBezTo>
                  <a:cubicBezTo>
                    <a:pt x="13840" y="11513"/>
                    <a:pt x="13870" y="11691"/>
                    <a:pt x="13870" y="11876"/>
                  </a:cubicBezTo>
                  <a:cubicBezTo>
                    <a:pt x="13870" y="11893"/>
                    <a:pt x="13870" y="11910"/>
                    <a:pt x="13870" y="11927"/>
                  </a:cubicBezTo>
                  <a:cubicBezTo>
                    <a:pt x="13870" y="11944"/>
                    <a:pt x="13870" y="11961"/>
                    <a:pt x="13870" y="11977"/>
                  </a:cubicBezTo>
                  <a:cubicBezTo>
                    <a:pt x="14111" y="12012"/>
                    <a:pt x="14358" y="12058"/>
                    <a:pt x="14611" y="12117"/>
                  </a:cubicBezTo>
                  <a:cubicBezTo>
                    <a:pt x="14864" y="12176"/>
                    <a:pt x="15098" y="12239"/>
                    <a:pt x="15315" y="12307"/>
                  </a:cubicBezTo>
                  <a:cubicBezTo>
                    <a:pt x="15772" y="12442"/>
                    <a:pt x="16212" y="12607"/>
                    <a:pt x="16633" y="12800"/>
                  </a:cubicBezTo>
                  <a:cubicBezTo>
                    <a:pt x="17054" y="12995"/>
                    <a:pt x="17434" y="13218"/>
                    <a:pt x="17771" y="13472"/>
                  </a:cubicBezTo>
                  <a:cubicBezTo>
                    <a:pt x="18132" y="13725"/>
                    <a:pt x="18452" y="13995"/>
                    <a:pt x="18728" y="14282"/>
                  </a:cubicBezTo>
                  <a:cubicBezTo>
                    <a:pt x="19005" y="14569"/>
                    <a:pt x="19240" y="14873"/>
                    <a:pt x="19433" y="15193"/>
                  </a:cubicBezTo>
                  <a:cubicBezTo>
                    <a:pt x="19649" y="15514"/>
                    <a:pt x="19806" y="15852"/>
                    <a:pt x="19902" y="16206"/>
                  </a:cubicBezTo>
                  <a:cubicBezTo>
                    <a:pt x="19998" y="16561"/>
                    <a:pt x="20047" y="16915"/>
                    <a:pt x="20047" y="17270"/>
                  </a:cubicBezTo>
                  <a:lnTo>
                    <a:pt x="20047" y="20511"/>
                  </a:lnTo>
                  <a:lnTo>
                    <a:pt x="15171" y="20511"/>
                  </a:lnTo>
                  <a:lnTo>
                    <a:pt x="13617" y="21600"/>
                  </a:lnTo>
                  <a:lnTo>
                    <a:pt x="20047" y="21600"/>
                  </a:lnTo>
                  <a:cubicBezTo>
                    <a:pt x="20480" y="21600"/>
                    <a:pt x="20847" y="21495"/>
                    <a:pt x="21148" y="21283"/>
                  </a:cubicBezTo>
                  <a:cubicBezTo>
                    <a:pt x="21449" y="21073"/>
                    <a:pt x="21600" y="20815"/>
                    <a:pt x="21600" y="20511"/>
                  </a:cubicBezTo>
                  <a:lnTo>
                    <a:pt x="21600" y="17270"/>
                  </a:lnTo>
                  <a:lnTo>
                    <a:pt x="21600" y="17270"/>
                  </a:lnTo>
                  <a:lnTo>
                    <a:pt x="21600" y="17270"/>
                  </a:lnTo>
                  <a:lnTo>
                    <a:pt x="21600" y="17270"/>
                  </a:lnTo>
                  <a:lnTo>
                    <a:pt x="21600" y="17270"/>
                  </a:lnTo>
                  <a:lnTo>
                    <a:pt x="21600" y="1727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miter lim="400000"/>
            </a:ln>
          </p:spPr>
          <p:txBody>
            <a:bodyPr lIns="27428" tIns="27428" rIns="27428" bIns="27428" anchor="ctr"/>
            <a:lstStyle/>
            <a:p>
              <a:pPr marL="0" marR="0" lvl="0" indent="0" algn="l" defTabSz="3291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b="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1296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sym typeface="Gill Sans"/>
              </a:endParaRPr>
            </a:p>
          </p:txBody>
        </p:sp>
        <p:sp>
          <p:nvSpPr>
            <p:cNvPr id="25" name="CaixaDeTexto 24">
              <a:extLst>
                <a:ext uri="{FF2B5EF4-FFF2-40B4-BE49-F238E27FC236}">
                  <a16:creationId xmlns:a16="http://schemas.microsoft.com/office/drawing/2014/main" id="{81304B53-765F-EAA6-2ACC-B5FD680FC275}"/>
                </a:ext>
              </a:extLst>
            </p:cNvPr>
            <p:cNvSpPr txBox="1"/>
            <p:nvPr/>
          </p:nvSpPr>
          <p:spPr>
            <a:xfrm>
              <a:off x="768272" y="3501680"/>
              <a:ext cx="848111" cy="230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3165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PJ</a:t>
              </a:r>
            </a:p>
          </p:txBody>
        </p:sp>
      </p:grpSp>
      <p:grpSp>
        <p:nvGrpSpPr>
          <p:cNvPr id="26" name="Agrupar 25">
            <a:extLst>
              <a:ext uri="{FF2B5EF4-FFF2-40B4-BE49-F238E27FC236}">
                <a16:creationId xmlns:a16="http://schemas.microsoft.com/office/drawing/2014/main" id="{842DA49C-7E2B-BCFF-3C86-95B3ABAB9FDD}"/>
              </a:ext>
            </a:extLst>
          </p:cNvPr>
          <p:cNvGrpSpPr/>
          <p:nvPr/>
        </p:nvGrpSpPr>
        <p:grpSpPr>
          <a:xfrm>
            <a:off x="788558" y="2312958"/>
            <a:ext cx="848111" cy="509845"/>
            <a:chOff x="777761" y="2487663"/>
            <a:chExt cx="848111" cy="509847"/>
          </a:xfrm>
        </p:grpSpPr>
        <p:sp>
          <p:nvSpPr>
            <p:cNvPr id="28" name="Forma">
              <a:extLst>
                <a:ext uri="{FF2B5EF4-FFF2-40B4-BE49-F238E27FC236}">
                  <a16:creationId xmlns:a16="http://schemas.microsoft.com/office/drawing/2014/main" id="{F87395C6-B8BE-8288-D589-2CA0A452B52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9235" y="2487663"/>
              <a:ext cx="201906" cy="288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353" y="10787"/>
                  </a:moveTo>
                  <a:cubicBezTo>
                    <a:pt x="13605" y="10787"/>
                    <a:pt x="14797" y="10965"/>
                    <a:pt x="15929" y="11319"/>
                  </a:cubicBezTo>
                  <a:cubicBezTo>
                    <a:pt x="17061" y="11657"/>
                    <a:pt x="18042" y="12117"/>
                    <a:pt x="18873" y="12699"/>
                  </a:cubicBezTo>
                  <a:cubicBezTo>
                    <a:pt x="19704" y="13282"/>
                    <a:pt x="20360" y="13970"/>
                    <a:pt x="20841" y="14763"/>
                  </a:cubicBezTo>
                  <a:cubicBezTo>
                    <a:pt x="21347" y="15557"/>
                    <a:pt x="21600" y="16392"/>
                    <a:pt x="21600" y="17270"/>
                  </a:cubicBezTo>
                  <a:lnTo>
                    <a:pt x="21600" y="20891"/>
                  </a:lnTo>
                  <a:cubicBezTo>
                    <a:pt x="21600" y="21094"/>
                    <a:pt x="21498" y="21262"/>
                    <a:pt x="21293" y="21397"/>
                  </a:cubicBezTo>
                  <a:cubicBezTo>
                    <a:pt x="21088" y="21533"/>
                    <a:pt x="20854" y="21600"/>
                    <a:pt x="20589" y="21600"/>
                  </a:cubicBezTo>
                  <a:lnTo>
                    <a:pt x="1011" y="21600"/>
                  </a:lnTo>
                  <a:cubicBezTo>
                    <a:pt x="746" y="21600"/>
                    <a:pt x="512" y="21533"/>
                    <a:pt x="307" y="21397"/>
                  </a:cubicBezTo>
                  <a:cubicBezTo>
                    <a:pt x="102" y="21262"/>
                    <a:pt x="0" y="21094"/>
                    <a:pt x="0" y="20891"/>
                  </a:cubicBezTo>
                  <a:lnTo>
                    <a:pt x="0" y="17270"/>
                  </a:lnTo>
                  <a:cubicBezTo>
                    <a:pt x="0" y="16392"/>
                    <a:pt x="253" y="15557"/>
                    <a:pt x="759" y="14763"/>
                  </a:cubicBezTo>
                  <a:cubicBezTo>
                    <a:pt x="1240" y="13970"/>
                    <a:pt x="1896" y="13282"/>
                    <a:pt x="2727" y="12699"/>
                  </a:cubicBezTo>
                  <a:cubicBezTo>
                    <a:pt x="3558" y="12117"/>
                    <a:pt x="4539" y="11657"/>
                    <a:pt x="5671" y="11319"/>
                  </a:cubicBezTo>
                  <a:cubicBezTo>
                    <a:pt x="6803" y="10965"/>
                    <a:pt x="7995" y="10787"/>
                    <a:pt x="9247" y="10787"/>
                  </a:cubicBezTo>
                  <a:lnTo>
                    <a:pt x="12353" y="10787"/>
                  </a:lnTo>
                  <a:lnTo>
                    <a:pt x="12353" y="10787"/>
                  </a:lnTo>
                  <a:lnTo>
                    <a:pt x="12353" y="10787"/>
                  </a:lnTo>
                  <a:close/>
                  <a:moveTo>
                    <a:pt x="20047" y="20511"/>
                  </a:moveTo>
                  <a:lnTo>
                    <a:pt x="20047" y="17270"/>
                  </a:lnTo>
                  <a:cubicBezTo>
                    <a:pt x="20047" y="16915"/>
                    <a:pt x="19999" y="16561"/>
                    <a:pt x="19902" y="16206"/>
                  </a:cubicBezTo>
                  <a:cubicBezTo>
                    <a:pt x="19806" y="15852"/>
                    <a:pt x="19649" y="15514"/>
                    <a:pt x="19433" y="15193"/>
                  </a:cubicBezTo>
                  <a:cubicBezTo>
                    <a:pt x="19240" y="14873"/>
                    <a:pt x="19005" y="14565"/>
                    <a:pt x="18728" y="14269"/>
                  </a:cubicBezTo>
                  <a:cubicBezTo>
                    <a:pt x="18452" y="13974"/>
                    <a:pt x="18132" y="13708"/>
                    <a:pt x="17771" y="13472"/>
                  </a:cubicBezTo>
                  <a:cubicBezTo>
                    <a:pt x="17410" y="13218"/>
                    <a:pt x="17025" y="12995"/>
                    <a:pt x="16615" y="12800"/>
                  </a:cubicBezTo>
                  <a:cubicBezTo>
                    <a:pt x="16206" y="12607"/>
                    <a:pt x="15773" y="12442"/>
                    <a:pt x="15315" y="12307"/>
                  </a:cubicBezTo>
                  <a:cubicBezTo>
                    <a:pt x="14858" y="12155"/>
                    <a:pt x="14376" y="12045"/>
                    <a:pt x="13870" y="11977"/>
                  </a:cubicBezTo>
                  <a:cubicBezTo>
                    <a:pt x="13365" y="11910"/>
                    <a:pt x="12859" y="11876"/>
                    <a:pt x="12353" y="11876"/>
                  </a:cubicBezTo>
                  <a:lnTo>
                    <a:pt x="9247" y="11876"/>
                  </a:lnTo>
                  <a:cubicBezTo>
                    <a:pt x="8741" y="11876"/>
                    <a:pt x="8235" y="11910"/>
                    <a:pt x="7730" y="11977"/>
                  </a:cubicBezTo>
                  <a:cubicBezTo>
                    <a:pt x="7224" y="12045"/>
                    <a:pt x="6742" y="12155"/>
                    <a:pt x="6285" y="12307"/>
                  </a:cubicBezTo>
                  <a:cubicBezTo>
                    <a:pt x="5827" y="12442"/>
                    <a:pt x="5388" y="12607"/>
                    <a:pt x="4967" y="12800"/>
                  </a:cubicBezTo>
                  <a:cubicBezTo>
                    <a:pt x="4545" y="12995"/>
                    <a:pt x="4166" y="13218"/>
                    <a:pt x="3829" y="13472"/>
                  </a:cubicBezTo>
                  <a:cubicBezTo>
                    <a:pt x="3468" y="13725"/>
                    <a:pt x="3148" y="13995"/>
                    <a:pt x="2872" y="14282"/>
                  </a:cubicBezTo>
                  <a:cubicBezTo>
                    <a:pt x="2595" y="14569"/>
                    <a:pt x="2360" y="14873"/>
                    <a:pt x="2167" y="15193"/>
                  </a:cubicBezTo>
                  <a:cubicBezTo>
                    <a:pt x="1951" y="15514"/>
                    <a:pt x="1794" y="15852"/>
                    <a:pt x="1698" y="16206"/>
                  </a:cubicBezTo>
                  <a:cubicBezTo>
                    <a:pt x="1601" y="16561"/>
                    <a:pt x="1553" y="16915"/>
                    <a:pt x="1553" y="17270"/>
                  </a:cubicBezTo>
                  <a:lnTo>
                    <a:pt x="1553" y="20511"/>
                  </a:lnTo>
                  <a:lnTo>
                    <a:pt x="20047" y="20511"/>
                  </a:lnTo>
                  <a:lnTo>
                    <a:pt x="20047" y="20511"/>
                  </a:lnTo>
                  <a:lnTo>
                    <a:pt x="20047" y="20511"/>
                  </a:lnTo>
                  <a:close/>
                  <a:moveTo>
                    <a:pt x="6429" y="7369"/>
                  </a:moveTo>
                  <a:cubicBezTo>
                    <a:pt x="5225" y="6525"/>
                    <a:pt x="4623" y="5504"/>
                    <a:pt x="4623" y="4305"/>
                  </a:cubicBezTo>
                  <a:cubicBezTo>
                    <a:pt x="4623" y="3123"/>
                    <a:pt x="5225" y="2110"/>
                    <a:pt x="6429" y="1266"/>
                  </a:cubicBezTo>
                  <a:cubicBezTo>
                    <a:pt x="7633" y="422"/>
                    <a:pt x="9090" y="0"/>
                    <a:pt x="10800" y="0"/>
                  </a:cubicBezTo>
                  <a:cubicBezTo>
                    <a:pt x="12510" y="0"/>
                    <a:pt x="13967" y="422"/>
                    <a:pt x="15171" y="1266"/>
                  </a:cubicBezTo>
                  <a:cubicBezTo>
                    <a:pt x="16375" y="2110"/>
                    <a:pt x="16977" y="3123"/>
                    <a:pt x="16977" y="4305"/>
                  </a:cubicBezTo>
                  <a:cubicBezTo>
                    <a:pt x="16977" y="5504"/>
                    <a:pt x="16375" y="6525"/>
                    <a:pt x="15171" y="7369"/>
                  </a:cubicBezTo>
                  <a:cubicBezTo>
                    <a:pt x="13967" y="8213"/>
                    <a:pt x="12510" y="8635"/>
                    <a:pt x="10800" y="8635"/>
                  </a:cubicBezTo>
                  <a:cubicBezTo>
                    <a:pt x="9090" y="8635"/>
                    <a:pt x="7633" y="8213"/>
                    <a:pt x="6429" y="7369"/>
                  </a:cubicBezTo>
                  <a:lnTo>
                    <a:pt x="6429" y="7369"/>
                  </a:lnTo>
                  <a:close/>
                  <a:moveTo>
                    <a:pt x="7513" y="2026"/>
                  </a:moveTo>
                  <a:cubicBezTo>
                    <a:pt x="7080" y="2330"/>
                    <a:pt x="6748" y="2680"/>
                    <a:pt x="6520" y="3077"/>
                  </a:cubicBezTo>
                  <a:cubicBezTo>
                    <a:pt x="6291" y="3473"/>
                    <a:pt x="6177" y="3883"/>
                    <a:pt x="6177" y="4305"/>
                  </a:cubicBezTo>
                  <a:cubicBezTo>
                    <a:pt x="6177" y="4744"/>
                    <a:pt x="6291" y="5162"/>
                    <a:pt x="6520" y="5558"/>
                  </a:cubicBezTo>
                  <a:cubicBezTo>
                    <a:pt x="6748" y="5955"/>
                    <a:pt x="7080" y="6305"/>
                    <a:pt x="7513" y="6609"/>
                  </a:cubicBezTo>
                  <a:cubicBezTo>
                    <a:pt x="7971" y="6913"/>
                    <a:pt x="8476" y="7145"/>
                    <a:pt x="9030" y="7306"/>
                  </a:cubicBezTo>
                  <a:cubicBezTo>
                    <a:pt x="9584" y="7466"/>
                    <a:pt x="10174" y="7546"/>
                    <a:pt x="10800" y="7546"/>
                  </a:cubicBezTo>
                  <a:cubicBezTo>
                    <a:pt x="11426" y="7546"/>
                    <a:pt x="12016" y="7466"/>
                    <a:pt x="12570" y="7306"/>
                  </a:cubicBezTo>
                  <a:cubicBezTo>
                    <a:pt x="13124" y="7145"/>
                    <a:pt x="13629" y="6913"/>
                    <a:pt x="14087" y="6609"/>
                  </a:cubicBezTo>
                  <a:cubicBezTo>
                    <a:pt x="14520" y="6305"/>
                    <a:pt x="14852" y="5955"/>
                    <a:pt x="15080" y="5558"/>
                  </a:cubicBezTo>
                  <a:cubicBezTo>
                    <a:pt x="15309" y="5162"/>
                    <a:pt x="15423" y="4744"/>
                    <a:pt x="15423" y="4305"/>
                  </a:cubicBezTo>
                  <a:cubicBezTo>
                    <a:pt x="15423" y="3883"/>
                    <a:pt x="15309" y="3473"/>
                    <a:pt x="15080" y="3077"/>
                  </a:cubicBezTo>
                  <a:cubicBezTo>
                    <a:pt x="14852" y="2680"/>
                    <a:pt x="14520" y="2330"/>
                    <a:pt x="14087" y="2026"/>
                  </a:cubicBezTo>
                  <a:cubicBezTo>
                    <a:pt x="13629" y="1722"/>
                    <a:pt x="13124" y="1486"/>
                    <a:pt x="12570" y="1317"/>
                  </a:cubicBezTo>
                  <a:cubicBezTo>
                    <a:pt x="12016" y="1148"/>
                    <a:pt x="11426" y="1064"/>
                    <a:pt x="10800" y="1064"/>
                  </a:cubicBezTo>
                  <a:cubicBezTo>
                    <a:pt x="10174" y="1064"/>
                    <a:pt x="9584" y="1148"/>
                    <a:pt x="9030" y="1317"/>
                  </a:cubicBezTo>
                  <a:cubicBezTo>
                    <a:pt x="8476" y="1486"/>
                    <a:pt x="7971" y="1722"/>
                    <a:pt x="7513" y="2026"/>
                  </a:cubicBezTo>
                  <a:lnTo>
                    <a:pt x="7513" y="2026"/>
                  </a:lnTo>
                  <a:lnTo>
                    <a:pt x="7513" y="2026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miter lim="400000"/>
            </a:ln>
          </p:spPr>
          <p:txBody>
            <a:bodyPr lIns="27428" tIns="27428" rIns="27428" bIns="27428" anchor="ctr"/>
            <a:lstStyle/>
            <a:p>
              <a:pPr marL="0" marR="0" lvl="0" indent="0" algn="l" defTabSz="3291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b="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1296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sym typeface="Gill Sans"/>
              </a:endParaRPr>
            </a:p>
          </p:txBody>
        </p:sp>
        <p:sp>
          <p:nvSpPr>
            <p:cNvPr id="29" name="CaixaDeTexto 28">
              <a:extLst>
                <a:ext uri="{FF2B5EF4-FFF2-40B4-BE49-F238E27FC236}">
                  <a16:creationId xmlns:a16="http://schemas.microsoft.com/office/drawing/2014/main" id="{662C18AC-B8EE-EACA-B8D1-255F843F022E}"/>
                </a:ext>
              </a:extLst>
            </p:cNvPr>
            <p:cNvSpPr txBox="1"/>
            <p:nvPr/>
          </p:nvSpPr>
          <p:spPr>
            <a:xfrm>
              <a:off x="777761" y="2766677"/>
              <a:ext cx="848111" cy="2308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3165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PF</a:t>
              </a:r>
            </a:p>
          </p:txBody>
        </p:sp>
      </p:grpSp>
      <p:cxnSp>
        <p:nvCxnSpPr>
          <p:cNvPr id="32" name="Conector: Angulado 31">
            <a:extLst>
              <a:ext uri="{FF2B5EF4-FFF2-40B4-BE49-F238E27FC236}">
                <a16:creationId xmlns:a16="http://schemas.microsoft.com/office/drawing/2014/main" id="{340B5AD6-0EE2-CEE7-0440-DB29B0855F52}"/>
              </a:ext>
            </a:extLst>
          </p:cNvPr>
          <p:cNvCxnSpPr>
            <a:cxnSpLocks/>
          </p:cNvCxnSpPr>
          <p:nvPr/>
        </p:nvCxnSpPr>
        <p:spPr>
          <a:xfrm flipV="1">
            <a:off x="1200984" y="3144268"/>
            <a:ext cx="685495" cy="260132"/>
          </a:xfrm>
          <a:prstGeom prst="bentConnector3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ector: Angulado 32">
            <a:extLst>
              <a:ext uri="{FF2B5EF4-FFF2-40B4-BE49-F238E27FC236}">
                <a16:creationId xmlns:a16="http://schemas.microsoft.com/office/drawing/2014/main" id="{A173833D-489F-6ABC-4883-90850ECF6BD9}"/>
              </a:ext>
            </a:extLst>
          </p:cNvPr>
          <p:cNvCxnSpPr>
            <a:cxnSpLocks/>
          </p:cNvCxnSpPr>
          <p:nvPr/>
        </p:nvCxnSpPr>
        <p:spPr>
          <a:xfrm>
            <a:off x="1200984" y="3404580"/>
            <a:ext cx="685495" cy="361131"/>
          </a:xfrm>
          <a:prstGeom prst="bentConnector3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ector: Angulado 33">
            <a:extLst>
              <a:ext uri="{FF2B5EF4-FFF2-40B4-BE49-F238E27FC236}">
                <a16:creationId xmlns:a16="http://schemas.microsoft.com/office/drawing/2014/main" id="{0B9AE0DF-942F-9B8B-553D-F1D9B7AB501E}"/>
              </a:ext>
            </a:extLst>
          </p:cNvPr>
          <p:cNvCxnSpPr>
            <a:cxnSpLocks/>
          </p:cNvCxnSpPr>
          <p:nvPr/>
        </p:nvCxnSpPr>
        <p:spPr>
          <a:xfrm>
            <a:off x="1200984" y="2457144"/>
            <a:ext cx="342747" cy="694144"/>
          </a:xfrm>
          <a:prstGeom prst="bentConnector2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ector: Angulado 34">
            <a:extLst>
              <a:ext uri="{FF2B5EF4-FFF2-40B4-BE49-F238E27FC236}">
                <a16:creationId xmlns:a16="http://schemas.microsoft.com/office/drawing/2014/main" id="{F5675D4C-8164-A7B5-10BD-B68AC2EC1648}"/>
              </a:ext>
            </a:extLst>
          </p:cNvPr>
          <p:cNvCxnSpPr>
            <a:cxnSpLocks/>
          </p:cNvCxnSpPr>
          <p:nvPr/>
        </p:nvCxnSpPr>
        <p:spPr>
          <a:xfrm>
            <a:off x="1200985" y="2457143"/>
            <a:ext cx="799205" cy="106724"/>
          </a:xfrm>
          <a:prstGeom prst="bentConnector3">
            <a:avLst>
              <a:gd name="adj1" fmla="val 42959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: Angulado 35">
            <a:extLst>
              <a:ext uri="{FF2B5EF4-FFF2-40B4-BE49-F238E27FC236}">
                <a16:creationId xmlns:a16="http://schemas.microsoft.com/office/drawing/2014/main" id="{71CA3313-841E-35AF-01DF-D507BB1ED25B}"/>
              </a:ext>
            </a:extLst>
          </p:cNvPr>
          <p:cNvCxnSpPr>
            <a:cxnSpLocks/>
          </p:cNvCxnSpPr>
          <p:nvPr/>
        </p:nvCxnSpPr>
        <p:spPr>
          <a:xfrm flipV="1">
            <a:off x="1200985" y="1886219"/>
            <a:ext cx="799205" cy="570745"/>
          </a:xfrm>
          <a:prstGeom prst="bentConnector3">
            <a:avLst>
              <a:gd name="adj1" fmla="val 42959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Agrupar 36">
            <a:extLst>
              <a:ext uri="{FF2B5EF4-FFF2-40B4-BE49-F238E27FC236}">
                <a16:creationId xmlns:a16="http://schemas.microsoft.com/office/drawing/2014/main" id="{B1719A5C-DC54-1514-842D-C8EF70C0D306}"/>
              </a:ext>
            </a:extLst>
          </p:cNvPr>
          <p:cNvGrpSpPr/>
          <p:nvPr/>
        </p:nvGrpSpPr>
        <p:grpSpPr>
          <a:xfrm>
            <a:off x="2887629" y="2137287"/>
            <a:ext cx="742761" cy="600605"/>
            <a:chOff x="730691" y="4057771"/>
            <a:chExt cx="742761" cy="600605"/>
          </a:xfrm>
        </p:grpSpPr>
        <p:sp>
          <p:nvSpPr>
            <p:cNvPr id="38" name="CaixaDeTexto 37">
              <a:extLst>
                <a:ext uri="{FF2B5EF4-FFF2-40B4-BE49-F238E27FC236}">
                  <a16:creationId xmlns:a16="http://schemas.microsoft.com/office/drawing/2014/main" id="{96CB0623-EEB4-F717-AA23-6B4B142DD2EB}"/>
                </a:ext>
              </a:extLst>
            </p:cNvPr>
            <p:cNvSpPr txBox="1"/>
            <p:nvPr/>
          </p:nvSpPr>
          <p:spPr>
            <a:xfrm>
              <a:off x="730691" y="4289044"/>
              <a:ext cx="74276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3165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 err="1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Templates</a:t>
              </a:r>
              <a:endParaRPr kumimoji="0" lang="pt-BR" sz="9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endParaRPr>
            </a:p>
            <a:p>
              <a:pPr marL="0" marR="0" lvl="0" indent="0" algn="ctr" defTabSz="13165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físicos</a:t>
              </a:r>
            </a:p>
          </p:txBody>
        </p:sp>
        <p:sp>
          <p:nvSpPr>
            <p:cNvPr id="39" name="Forma">
              <a:extLst>
                <a:ext uri="{FF2B5EF4-FFF2-40B4-BE49-F238E27FC236}">
                  <a16:creationId xmlns:a16="http://schemas.microsoft.com/office/drawing/2014/main" id="{9C3DCFF7-7A6D-9C8D-F48D-FFD4DEE2587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17524" y="4114221"/>
              <a:ext cx="172700" cy="216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089"/>
                  </a:moveTo>
                  <a:cubicBezTo>
                    <a:pt x="0" y="785"/>
                    <a:pt x="132" y="528"/>
                    <a:pt x="396" y="317"/>
                  </a:cubicBezTo>
                  <a:cubicBezTo>
                    <a:pt x="660" y="106"/>
                    <a:pt x="971" y="0"/>
                    <a:pt x="1330" y="0"/>
                  </a:cubicBezTo>
                  <a:lnTo>
                    <a:pt x="20270" y="0"/>
                  </a:lnTo>
                  <a:cubicBezTo>
                    <a:pt x="20629" y="0"/>
                    <a:pt x="20940" y="106"/>
                    <a:pt x="21204" y="317"/>
                  </a:cubicBezTo>
                  <a:cubicBezTo>
                    <a:pt x="21468" y="528"/>
                    <a:pt x="21600" y="785"/>
                    <a:pt x="21600" y="1089"/>
                  </a:cubicBezTo>
                  <a:lnTo>
                    <a:pt x="21600" y="20536"/>
                  </a:lnTo>
                  <a:cubicBezTo>
                    <a:pt x="21600" y="20824"/>
                    <a:pt x="21468" y="21073"/>
                    <a:pt x="21204" y="21283"/>
                  </a:cubicBezTo>
                  <a:cubicBezTo>
                    <a:pt x="20940" y="21495"/>
                    <a:pt x="20629" y="21600"/>
                    <a:pt x="20270" y="21600"/>
                  </a:cubicBezTo>
                  <a:lnTo>
                    <a:pt x="1330" y="21600"/>
                  </a:lnTo>
                  <a:cubicBezTo>
                    <a:pt x="971" y="21600"/>
                    <a:pt x="660" y="21495"/>
                    <a:pt x="396" y="21283"/>
                  </a:cubicBezTo>
                  <a:cubicBezTo>
                    <a:pt x="132" y="21073"/>
                    <a:pt x="0" y="20824"/>
                    <a:pt x="0" y="20536"/>
                  </a:cubicBezTo>
                  <a:lnTo>
                    <a:pt x="0" y="1089"/>
                  </a:lnTo>
                  <a:lnTo>
                    <a:pt x="0" y="1089"/>
                  </a:lnTo>
                  <a:lnTo>
                    <a:pt x="0" y="1089"/>
                  </a:lnTo>
                  <a:close/>
                  <a:moveTo>
                    <a:pt x="20270" y="1089"/>
                  </a:moveTo>
                  <a:lnTo>
                    <a:pt x="1330" y="1089"/>
                  </a:lnTo>
                  <a:lnTo>
                    <a:pt x="1330" y="20536"/>
                  </a:lnTo>
                  <a:lnTo>
                    <a:pt x="20270" y="20536"/>
                  </a:lnTo>
                  <a:lnTo>
                    <a:pt x="20270" y="1089"/>
                  </a:lnTo>
                  <a:lnTo>
                    <a:pt x="20270" y="1089"/>
                  </a:lnTo>
                  <a:close/>
                  <a:moveTo>
                    <a:pt x="17356" y="17447"/>
                  </a:moveTo>
                  <a:cubicBezTo>
                    <a:pt x="17229" y="17346"/>
                    <a:pt x="17071" y="17295"/>
                    <a:pt x="16881" y="17295"/>
                  </a:cubicBezTo>
                  <a:lnTo>
                    <a:pt x="10135" y="17295"/>
                  </a:lnTo>
                  <a:cubicBezTo>
                    <a:pt x="9945" y="17295"/>
                    <a:pt x="9781" y="17346"/>
                    <a:pt x="9644" y="17447"/>
                  </a:cubicBezTo>
                  <a:cubicBezTo>
                    <a:pt x="9506" y="17548"/>
                    <a:pt x="9438" y="17675"/>
                    <a:pt x="9438" y="17827"/>
                  </a:cubicBezTo>
                  <a:cubicBezTo>
                    <a:pt x="9438" y="17979"/>
                    <a:pt x="9506" y="18106"/>
                    <a:pt x="9644" y="18207"/>
                  </a:cubicBezTo>
                  <a:cubicBezTo>
                    <a:pt x="9781" y="18308"/>
                    <a:pt x="9945" y="18359"/>
                    <a:pt x="10135" y="18359"/>
                  </a:cubicBezTo>
                  <a:lnTo>
                    <a:pt x="16881" y="18359"/>
                  </a:lnTo>
                  <a:cubicBezTo>
                    <a:pt x="17071" y="18359"/>
                    <a:pt x="17229" y="18308"/>
                    <a:pt x="17356" y="18207"/>
                  </a:cubicBezTo>
                  <a:cubicBezTo>
                    <a:pt x="17483" y="18106"/>
                    <a:pt x="17546" y="17979"/>
                    <a:pt x="17546" y="17827"/>
                  </a:cubicBezTo>
                  <a:lnTo>
                    <a:pt x="17546" y="17827"/>
                  </a:lnTo>
                  <a:lnTo>
                    <a:pt x="17546" y="17827"/>
                  </a:lnTo>
                  <a:cubicBezTo>
                    <a:pt x="17546" y="17675"/>
                    <a:pt x="17483" y="17548"/>
                    <a:pt x="17356" y="17447"/>
                  </a:cubicBezTo>
                  <a:lnTo>
                    <a:pt x="17356" y="17447"/>
                  </a:lnTo>
                  <a:close/>
                  <a:moveTo>
                    <a:pt x="17356" y="14206"/>
                  </a:moveTo>
                  <a:cubicBezTo>
                    <a:pt x="17229" y="14105"/>
                    <a:pt x="17071" y="14054"/>
                    <a:pt x="16881" y="14054"/>
                  </a:cubicBezTo>
                  <a:lnTo>
                    <a:pt x="4719" y="14054"/>
                  </a:lnTo>
                  <a:cubicBezTo>
                    <a:pt x="4529" y="14054"/>
                    <a:pt x="4371" y="14105"/>
                    <a:pt x="4244" y="14206"/>
                  </a:cubicBezTo>
                  <a:cubicBezTo>
                    <a:pt x="4117" y="14307"/>
                    <a:pt x="4054" y="14434"/>
                    <a:pt x="4054" y="14586"/>
                  </a:cubicBezTo>
                  <a:cubicBezTo>
                    <a:pt x="4054" y="14738"/>
                    <a:pt x="4117" y="14864"/>
                    <a:pt x="4244" y="14966"/>
                  </a:cubicBezTo>
                  <a:cubicBezTo>
                    <a:pt x="4371" y="15067"/>
                    <a:pt x="4529" y="15117"/>
                    <a:pt x="4719" y="15117"/>
                  </a:cubicBezTo>
                  <a:lnTo>
                    <a:pt x="16881" y="15117"/>
                  </a:lnTo>
                  <a:cubicBezTo>
                    <a:pt x="17071" y="15117"/>
                    <a:pt x="17229" y="15067"/>
                    <a:pt x="17356" y="14966"/>
                  </a:cubicBezTo>
                  <a:cubicBezTo>
                    <a:pt x="17483" y="14864"/>
                    <a:pt x="17546" y="14738"/>
                    <a:pt x="17546" y="14586"/>
                  </a:cubicBezTo>
                  <a:lnTo>
                    <a:pt x="17546" y="14586"/>
                  </a:lnTo>
                  <a:lnTo>
                    <a:pt x="17546" y="14586"/>
                  </a:lnTo>
                  <a:cubicBezTo>
                    <a:pt x="17546" y="14434"/>
                    <a:pt x="17483" y="14307"/>
                    <a:pt x="17356" y="14206"/>
                  </a:cubicBezTo>
                  <a:lnTo>
                    <a:pt x="17356" y="14206"/>
                  </a:lnTo>
                  <a:close/>
                  <a:moveTo>
                    <a:pt x="17546" y="11344"/>
                  </a:moveTo>
                  <a:cubicBezTo>
                    <a:pt x="17546" y="11192"/>
                    <a:pt x="17483" y="11066"/>
                    <a:pt x="17356" y="10965"/>
                  </a:cubicBezTo>
                  <a:cubicBezTo>
                    <a:pt x="17229" y="10863"/>
                    <a:pt x="17071" y="10813"/>
                    <a:pt x="16881" y="10813"/>
                  </a:cubicBezTo>
                  <a:lnTo>
                    <a:pt x="4719" y="10813"/>
                  </a:lnTo>
                  <a:cubicBezTo>
                    <a:pt x="4529" y="10813"/>
                    <a:pt x="4371" y="10863"/>
                    <a:pt x="4244" y="10965"/>
                  </a:cubicBezTo>
                  <a:cubicBezTo>
                    <a:pt x="4117" y="11066"/>
                    <a:pt x="4054" y="11192"/>
                    <a:pt x="4054" y="11344"/>
                  </a:cubicBezTo>
                  <a:cubicBezTo>
                    <a:pt x="4054" y="11496"/>
                    <a:pt x="4117" y="11623"/>
                    <a:pt x="4244" y="11724"/>
                  </a:cubicBezTo>
                  <a:cubicBezTo>
                    <a:pt x="4371" y="11826"/>
                    <a:pt x="4529" y="11876"/>
                    <a:pt x="4719" y="11876"/>
                  </a:cubicBezTo>
                  <a:lnTo>
                    <a:pt x="16881" y="11876"/>
                  </a:lnTo>
                  <a:cubicBezTo>
                    <a:pt x="17071" y="11876"/>
                    <a:pt x="17229" y="11826"/>
                    <a:pt x="17356" y="11724"/>
                  </a:cubicBezTo>
                  <a:cubicBezTo>
                    <a:pt x="17483" y="11623"/>
                    <a:pt x="17546" y="11496"/>
                    <a:pt x="17546" y="11344"/>
                  </a:cubicBezTo>
                  <a:lnTo>
                    <a:pt x="17546" y="11344"/>
                  </a:lnTo>
                  <a:lnTo>
                    <a:pt x="17546" y="11344"/>
                  </a:lnTo>
                  <a:lnTo>
                    <a:pt x="17546" y="11344"/>
                  </a:lnTo>
                  <a:lnTo>
                    <a:pt x="17546" y="11344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miter lim="400000"/>
            </a:ln>
          </p:spPr>
          <p:txBody>
            <a:bodyPr lIns="27428" tIns="27428" rIns="27428" bIns="27428" anchor="ctr"/>
            <a:lstStyle/>
            <a:p>
              <a:pPr marL="0" marR="0" lvl="0" indent="0" algn="l" defTabSz="3291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b="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lang="pt-BR" sz="1296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sym typeface="Gill Sans"/>
              </a:endParaRPr>
            </a:p>
          </p:txBody>
        </p:sp>
        <p:sp>
          <p:nvSpPr>
            <p:cNvPr id="40" name="Forma">
              <a:extLst>
                <a:ext uri="{FF2B5EF4-FFF2-40B4-BE49-F238E27FC236}">
                  <a16:creationId xmlns:a16="http://schemas.microsoft.com/office/drawing/2014/main" id="{123DC88D-AFBF-BFA4-17C1-6E7CBEDB121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34534" y="4057771"/>
              <a:ext cx="180055" cy="180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89" h="21600" extrusionOk="0">
                  <a:moveTo>
                    <a:pt x="21260" y="2520"/>
                  </a:moveTo>
                  <a:cubicBezTo>
                    <a:pt x="21041" y="2106"/>
                    <a:pt x="20720" y="1688"/>
                    <a:pt x="20299" y="1266"/>
                  </a:cubicBezTo>
                  <a:cubicBezTo>
                    <a:pt x="19877" y="844"/>
                    <a:pt x="19459" y="528"/>
                    <a:pt x="19046" y="317"/>
                  </a:cubicBezTo>
                  <a:cubicBezTo>
                    <a:pt x="18633" y="106"/>
                    <a:pt x="18224" y="0"/>
                    <a:pt x="17819" y="0"/>
                  </a:cubicBezTo>
                  <a:cubicBezTo>
                    <a:pt x="17448" y="0"/>
                    <a:pt x="17148" y="68"/>
                    <a:pt x="16921" y="203"/>
                  </a:cubicBezTo>
                  <a:cubicBezTo>
                    <a:pt x="16693" y="338"/>
                    <a:pt x="16554" y="439"/>
                    <a:pt x="16503" y="506"/>
                  </a:cubicBezTo>
                  <a:lnTo>
                    <a:pt x="15618" y="1367"/>
                  </a:lnTo>
                  <a:cubicBezTo>
                    <a:pt x="16124" y="1401"/>
                    <a:pt x="16621" y="1545"/>
                    <a:pt x="17110" y="1798"/>
                  </a:cubicBezTo>
                  <a:cubicBezTo>
                    <a:pt x="17600" y="2051"/>
                    <a:pt x="18080" y="2406"/>
                    <a:pt x="18553" y="2861"/>
                  </a:cubicBezTo>
                  <a:cubicBezTo>
                    <a:pt x="18553" y="2878"/>
                    <a:pt x="18561" y="2895"/>
                    <a:pt x="18578" y="2912"/>
                  </a:cubicBezTo>
                  <a:cubicBezTo>
                    <a:pt x="18595" y="2929"/>
                    <a:pt x="18612" y="2937"/>
                    <a:pt x="18629" y="2937"/>
                  </a:cubicBezTo>
                  <a:cubicBezTo>
                    <a:pt x="18645" y="2954"/>
                    <a:pt x="18658" y="2971"/>
                    <a:pt x="18667" y="2988"/>
                  </a:cubicBezTo>
                  <a:cubicBezTo>
                    <a:pt x="18675" y="3005"/>
                    <a:pt x="18688" y="3022"/>
                    <a:pt x="18705" y="3039"/>
                  </a:cubicBezTo>
                  <a:cubicBezTo>
                    <a:pt x="19177" y="3511"/>
                    <a:pt x="19535" y="3992"/>
                    <a:pt x="19780" y="4482"/>
                  </a:cubicBezTo>
                  <a:cubicBezTo>
                    <a:pt x="20024" y="4972"/>
                    <a:pt x="20163" y="5461"/>
                    <a:pt x="20197" y="5951"/>
                  </a:cubicBezTo>
                  <a:lnTo>
                    <a:pt x="21083" y="5090"/>
                  </a:lnTo>
                  <a:cubicBezTo>
                    <a:pt x="21134" y="5023"/>
                    <a:pt x="21230" y="4879"/>
                    <a:pt x="21374" y="4659"/>
                  </a:cubicBezTo>
                  <a:cubicBezTo>
                    <a:pt x="21517" y="4440"/>
                    <a:pt x="21589" y="4136"/>
                    <a:pt x="21589" y="3748"/>
                  </a:cubicBezTo>
                  <a:cubicBezTo>
                    <a:pt x="21589" y="3343"/>
                    <a:pt x="21479" y="2933"/>
                    <a:pt x="21260" y="2520"/>
                  </a:cubicBezTo>
                  <a:lnTo>
                    <a:pt x="21260" y="2520"/>
                  </a:lnTo>
                  <a:close/>
                  <a:moveTo>
                    <a:pt x="17870" y="3722"/>
                  </a:moveTo>
                  <a:cubicBezTo>
                    <a:pt x="17448" y="3301"/>
                    <a:pt x="17030" y="2980"/>
                    <a:pt x="16617" y="2760"/>
                  </a:cubicBezTo>
                  <a:cubicBezTo>
                    <a:pt x="16204" y="2541"/>
                    <a:pt x="15795" y="2431"/>
                    <a:pt x="15390" y="2431"/>
                  </a:cubicBezTo>
                  <a:cubicBezTo>
                    <a:pt x="15002" y="2431"/>
                    <a:pt x="14698" y="2503"/>
                    <a:pt x="14479" y="2646"/>
                  </a:cubicBezTo>
                  <a:cubicBezTo>
                    <a:pt x="14260" y="2790"/>
                    <a:pt x="14116" y="2887"/>
                    <a:pt x="14049" y="2937"/>
                  </a:cubicBezTo>
                  <a:lnTo>
                    <a:pt x="2612" y="14408"/>
                  </a:lnTo>
                  <a:lnTo>
                    <a:pt x="2587" y="14408"/>
                  </a:lnTo>
                  <a:lnTo>
                    <a:pt x="2587" y="14434"/>
                  </a:lnTo>
                  <a:lnTo>
                    <a:pt x="2562" y="14434"/>
                  </a:lnTo>
                  <a:lnTo>
                    <a:pt x="2562" y="14459"/>
                  </a:lnTo>
                  <a:lnTo>
                    <a:pt x="2536" y="14459"/>
                  </a:lnTo>
                  <a:lnTo>
                    <a:pt x="2536" y="14484"/>
                  </a:lnTo>
                  <a:lnTo>
                    <a:pt x="2511" y="14510"/>
                  </a:lnTo>
                  <a:lnTo>
                    <a:pt x="2486" y="14535"/>
                  </a:lnTo>
                  <a:cubicBezTo>
                    <a:pt x="2486" y="14552"/>
                    <a:pt x="2477" y="14560"/>
                    <a:pt x="2460" y="14560"/>
                  </a:cubicBezTo>
                  <a:lnTo>
                    <a:pt x="2460" y="14586"/>
                  </a:lnTo>
                  <a:lnTo>
                    <a:pt x="2435" y="14611"/>
                  </a:lnTo>
                  <a:lnTo>
                    <a:pt x="2435" y="14636"/>
                  </a:lnTo>
                  <a:cubicBezTo>
                    <a:pt x="2418" y="14636"/>
                    <a:pt x="2410" y="14645"/>
                    <a:pt x="2410" y="14662"/>
                  </a:cubicBezTo>
                  <a:lnTo>
                    <a:pt x="2410" y="14687"/>
                  </a:lnTo>
                  <a:lnTo>
                    <a:pt x="2384" y="14687"/>
                  </a:lnTo>
                  <a:lnTo>
                    <a:pt x="2384" y="14712"/>
                  </a:lnTo>
                  <a:lnTo>
                    <a:pt x="2384" y="14738"/>
                  </a:lnTo>
                  <a:lnTo>
                    <a:pt x="2359" y="14738"/>
                  </a:lnTo>
                  <a:lnTo>
                    <a:pt x="82" y="20081"/>
                  </a:lnTo>
                  <a:cubicBezTo>
                    <a:pt x="82" y="20098"/>
                    <a:pt x="78" y="20110"/>
                    <a:pt x="69" y="20119"/>
                  </a:cubicBezTo>
                  <a:cubicBezTo>
                    <a:pt x="61" y="20127"/>
                    <a:pt x="57" y="20140"/>
                    <a:pt x="57" y="20157"/>
                  </a:cubicBezTo>
                  <a:cubicBezTo>
                    <a:pt x="6" y="20309"/>
                    <a:pt x="-11" y="20465"/>
                    <a:pt x="6" y="20625"/>
                  </a:cubicBezTo>
                  <a:cubicBezTo>
                    <a:pt x="23" y="20786"/>
                    <a:pt x="73" y="20933"/>
                    <a:pt x="158" y="21068"/>
                  </a:cubicBezTo>
                  <a:lnTo>
                    <a:pt x="158" y="21094"/>
                  </a:lnTo>
                  <a:lnTo>
                    <a:pt x="183" y="21119"/>
                  </a:lnTo>
                  <a:lnTo>
                    <a:pt x="183" y="21144"/>
                  </a:lnTo>
                  <a:cubicBezTo>
                    <a:pt x="200" y="21144"/>
                    <a:pt x="217" y="21161"/>
                    <a:pt x="234" y="21195"/>
                  </a:cubicBezTo>
                  <a:cubicBezTo>
                    <a:pt x="234" y="21212"/>
                    <a:pt x="238" y="21220"/>
                    <a:pt x="246" y="21220"/>
                  </a:cubicBezTo>
                  <a:cubicBezTo>
                    <a:pt x="255" y="21220"/>
                    <a:pt x="259" y="21229"/>
                    <a:pt x="259" y="21245"/>
                  </a:cubicBezTo>
                  <a:cubicBezTo>
                    <a:pt x="276" y="21245"/>
                    <a:pt x="293" y="21254"/>
                    <a:pt x="310" y="21271"/>
                  </a:cubicBezTo>
                  <a:cubicBezTo>
                    <a:pt x="394" y="21372"/>
                    <a:pt x="495" y="21448"/>
                    <a:pt x="613" y="21499"/>
                  </a:cubicBezTo>
                  <a:cubicBezTo>
                    <a:pt x="731" y="21549"/>
                    <a:pt x="849" y="21583"/>
                    <a:pt x="967" y="21600"/>
                  </a:cubicBezTo>
                  <a:cubicBezTo>
                    <a:pt x="984" y="21600"/>
                    <a:pt x="1001" y="21600"/>
                    <a:pt x="1018" y="21600"/>
                  </a:cubicBezTo>
                  <a:cubicBezTo>
                    <a:pt x="1035" y="21600"/>
                    <a:pt x="1052" y="21600"/>
                    <a:pt x="1069" y="21600"/>
                  </a:cubicBezTo>
                  <a:cubicBezTo>
                    <a:pt x="1136" y="21600"/>
                    <a:pt x="1208" y="21592"/>
                    <a:pt x="1284" y="21575"/>
                  </a:cubicBezTo>
                  <a:cubicBezTo>
                    <a:pt x="1360" y="21558"/>
                    <a:pt x="1431" y="21533"/>
                    <a:pt x="1499" y="21499"/>
                  </a:cubicBezTo>
                  <a:lnTo>
                    <a:pt x="6838" y="19220"/>
                  </a:lnTo>
                  <a:lnTo>
                    <a:pt x="6863" y="19220"/>
                  </a:lnTo>
                  <a:cubicBezTo>
                    <a:pt x="6863" y="19203"/>
                    <a:pt x="6871" y="19194"/>
                    <a:pt x="6888" y="19194"/>
                  </a:cubicBezTo>
                  <a:lnTo>
                    <a:pt x="6914" y="19194"/>
                  </a:lnTo>
                  <a:lnTo>
                    <a:pt x="6914" y="19169"/>
                  </a:lnTo>
                  <a:lnTo>
                    <a:pt x="6939" y="19169"/>
                  </a:lnTo>
                  <a:cubicBezTo>
                    <a:pt x="6955" y="19169"/>
                    <a:pt x="6964" y="19161"/>
                    <a:pt x="6964" y="19144"/>
                  </a:cubicBezTo>
                  <a:lnTo>
                    <a:pt x="6989" y="19144"/>
                  </a:lnTo>
                  <a:cubicBezTo>
                    <a:pt x="6989" y="19127"/>
                    <a:pt x="6998" y="19118"/>
                    <a:pt x="7015" y="19118"/>
                  </a:cubicBezTo>
                  <a:cubicBezTo>
                    <a:pt x="7031" y="19118"/>
                    <a:pt x="7040" y="19110"/>
                    <a:pt x="7040" y="19093"/>
                  </a:cubicBezTo>
                  <a:lnTo>
                    <a:pt x="7065" y="19093"/>
                  </a:lnTo>
                  <a:lnTo>
                    <a:pt x="7065" y="19068"/>
                  </a:lnTo>
                  <a:lnTo>
                    <a:pt x="7091" y="19068"/>
                  </a:lnTo>
                  <a:lnTo>
                    <a:pt x="7116" y="19042"/>
                  </a:lnTo>
                  <a:lnTo>
                    <a:pt x="7141" y="19017"/>
                  </a:lnTo>
                  <a:lnTo>
                    <a:pt x="7167" y="19017"/>
                  </a:lnTo>
                  <a:lnTo>
                    <a:pt x="7167" y="18992"/>
                  </a:lnTo>
                  <a:lnTo>
                    <a:pt x="18629" y="7521"/>
                  </a:lnTo>
                  <a:cubicBezTo>
                    <a:pt x="18679" y="7470"/>
                    <a:pt x="18776" y="7331"/>
                    <a:pt x="18920" y="7103"/>
                  </a:cubicBezTo>
                  <a:cubicBezTo>
                    <a:pt x="19063" y="6875"/>
                    <a:pt x="19135" y="6575"/>
                    <a:pt x="19135" y="6204"/>
                  </a:cubicBezTo>
                  <a:cubicBezTo>
                    <a:pt x="19135" y="5799"/>
                    <a:pt x="19029" y="5390"/>
                    <a:pt x="18818" y="4976"/>
                  </a:cubicBezTo>
                  <a:cubicBezTo>
                    <a:pt x="18607" y="4562"/>
                    <a:pt x="18291" y="4144"/>
                    <a:pt x="17870" y="3722"/>
                  </a:cubicBez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close/>
                  <a:moveTo>
                    <a:pt x="5648" y="15928"/>
                  </a:moveTo>
                  <a:cubicBezTo>
                    <a:pt x="6408" y="16704"/>
                    <a:pt x="6661" y="17472"/>
                    <a:pt x="6408" y="18232"/>
                  </a:cubicBezTo>
                  <a:lnTo>
                    <a:pt x="1069" y="20511"/>
                  </a:lnTo>
                  <a:lnTo>
                    <a:pt x="3042" y="15928"/>
                  </a:lnTo>
                  <a:lnTo>
                    <a:pt x="3371" y="15168"/>
                  </a:lnTo>
                  <a:cubicBezTo>
                    <a:pt x="3557" y="15050"/>
                    <a:pt x="3742" y="14991"/>
                    <a:pt x="3928" y="14991"/>
                  </a:cubicBezTo>
                  <a:cubicBezTo>
                    <a:pt x="4113" y="14991"/>
                    <a:pt x="4349" y="15054"/>
                    <a:pt x="4636" y="15181"/>
                  </a:cubicBezTo>
                  <a:cubicBezTo>
                    <a:pt x="4923" y="15307"/>
                    <a:pt x="5260" y="15557"/>
                    <a:pt x="5648" y="15928"/>
                  </a:cubicBezTo>
                  <a:lnTo>
                    <a:pt x="5648" y="15928"/>
                  </a:lnTo>
                  <a:lnTo>
                    <a:pt x="5648" y="15928"/>
                  </a:lnTo>
                  <a:lnTo>
                    <a:pt x="5648" y="15928"/>
                  </a:lnTo>
                  <a:lnTo>
                    <a:pt x="5648" y="15928"/>
                  </a:lnTo>
                  <a:lnTo>
                    <a:pt x="5648" y="15928"/>
                  </a:lnTo>
                  <a:close/>
                  <a:moveTo>
                    <a:pt x="17110" y="4482"/>
                  </a:moveTo>
                  <a:cubicBezTo>
                    <a:pt x="17870" y="5242"/>
                    <a:pt x="18123" y="6001"/>
                    <a:pt x="17870" y="6761"/>
                  </a:cubicBezTo>
                  <a:lnTo>
                    <a:pt x="7597" y="17042"/>
                  </a:lnTo>
                  <a:cubicBezTo>
                    <a:pt x="7512" y="16738"/>
                    <a:pt x="7373" y="16430"/>
                    <a:pt x="7179" y="16118"/>
                  </a:cubicBezTo>
                  <a:cubicBezTo>
                    <a:pt x="6985" y="15805"/>
                    <a:pt x="6728" y="15489"/>
                    <a:pt x="6408" y="15168"/>
                  </a:cubicBezTo>
                  <a:cubicBezTo>
                    <a:pt x="6104" y="14848"/>
                    <a:pt x="5796" y="14590"/>
                    <a:pt x="5484" y="14396"/>
                  </a:cubicBezTo>
                  <a:cubicBezTo>
                    <a:pt x="5172" y="14202"/>
                    <a:pt x="4855" y="14063"/>
                    <a:pt x="4535" y="13978"/>
                  </a:cubicBezTo>
                  <a:lnTo>
                    <a:pt x="14808" y="3722"/>
                  </a:lnTo>
                  <a:cubicBezTo>
                    <a:pt x="14993" y="3587"/>
                    <a:pt x="15187" y="3520"/>
                    <a:pt x="15390" y="3520"/>
                  </a:cubicBezTo>
                  <a:cubicBezTo>
                    <a:pt x="15575" y="3520"/>
                    <a:pt x="15811" y="3583"/>
                    <a:pt x="16098" y="3710"/>
                  </a:cubicBezTo>
                  <a:cubicBezTo>
                    <a:pt x="16385" y="3836"/>
                    <a:pt x="16722" y="4094"/>
                    <a:pt x="17110" y="4482"/>
                  </a:cubicBezTo>
                  <a:lnTo>
                    <a:pt x="17110" y="4482"/>
                  </a:lnTo>
                  <a:lnTo>
                    <a:pt x="17110" y="4482"/>
                  </a:lnTo>
                  <a:lnTo>
                    <a:pt x="17110" y="4482"/>
                  </a:lnTo>
                  <a:lnTo>
                    <a:pt x="17110" y="448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miter lim="400000"/>
            </a:ln>
          </p:spPr>
          <p:txBody>
            <a:bodyPr lIns="27428" tIns="27428" rIns="27428" bIns="27428" anchor="ctr"/>
            <a:lstStyle/>
            <a:p>
              <a:pPr marL="0" marR="0" lvl="0" indent="0" algn="l" defTabSz="3291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b="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lang="pt-BR" sz="1296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sym typeface="Gill Sans"/>
              </a:endParaRPr>
            </a:p>
          </p:txBody>
        </p:sp>
      </p:grpSp>
      <p:grpSp>
        <p:nvGrpSpPr>
          <p:cNvPr id="41" name="Agrupar 40">
            <a:extLst>
              <a:ext uri="{FF2B5EF4-FFF2-40B4-BE49-F238E27FC236}">
                <a16:creationId xmlns:a16="http://schemas.microsoft.com/office/drawing/2014/main" id="{A3C5D912-AC0B-039F-3AA6-98B16362E6E7}"/>
              </a:ext>
            </a:extLst>
          </p:cNvPr>
          <p:cNvGrpSpPr>
            <a:grpSpLocks noChangeAspect="1"/>
          </p:cNvGrpSpPr>
          <p:nvPr/>
        </p:nvGrpSpPr>
        <p:grpSpPr>
          <a:xfrm>
            <a:off x="5969230" y="3239791"/>
            <a:ext cx="244503" cy="284166"/>
            <a:chOff x="1314272" y="5999659"/>
            <a:chExt cx="438150" cy="371475"/>
          </a:xfrm>
        </p:grpSpPr>
        <p:sp>
          <p:nvSpPr>
            <p:cNvPr id="42" name="Forma Livre: Forma 41">
              <a:extLst>
                <a:ext uri="{FF2B5EF4-FFF2-40B4-BE49-F238E27FC236}">
                  <a16:creationId xmlns:a16="http://schemas.microsoft.com/office/drawing/2014/main" id="{A09B1169-B8B2-F535-AECE-531B771DEAD2}"/>
                </a:ext>
              </a:extLst>
            </p:cNvPr>
            <p:cNvSpPr/>
            <p:nvPr/>
          </p:nvSpPr>
          <p:spPr>
            <a:xfrm>
              <a:off x="1314272" y="5999659"/>
              <a:ext cx="438150" cy="257175"/>
            </a:xfrm>
            <a:custGeom>
              <a:avLst/>
              <a:gdLst>
                <a:gd name="connsiteX0" fmla="*/ 352425 w 438150"/>
                <a:gd name="connsiteY0" fmla="*/ 257175 h 257175"/>
                <a:gd name="connsiteX1" fmla="*/ 361950 w 438150"/>
                <a:gd name="connsiteY1" fmla="*/ 257175 h 257175"/>
                <a:gd name="connsiteX2" fmla="*/ 371475 w 438150"/>
                <a:gd name="connsiteY2" fmla="*/ 257175 h 257175"/>
                <a:gd name="connsiteX3" fmla="*/ 438150 w 438150"/>
                <a:gd name="connsiteY3" fmla="*/ 190500 h 257175"/>
                <a:gd name="connsiteX4" fmla="*/ 371475 w 438150"/>
                <a:gd name="connsiteY4" fmla="*/ 123825 h 257175"/>
                <a:gd name="connsiteX5" fmla="*/ 351187 w 438150"/>
                <a:gd name="connsiteY5" fmla="*/ 126968 h 257175"/>
                <a:gd name="connsiteX6" fmla="*/ 352425 w 438150"/>
                <a:gd name="connsiteY6" fmla="*/ 114300 h 257175"/>
                <a:gd name="connsiteX7" fmla="*/ 285750 w 438150"/>
                <a:gd name="connsiteY7" fmla="*/ 47625 h 257175"/>
                <a:gd name="connsiteX8" fmla="*/ 242221 w 438150"/>
                <a:gd name="connsiteY8" fmla="*/ 63913 h 257175"/>
                <a:gd name="connsiteX9" fmla="*/ 152305 w 438150"/>
                <a:gd name="connsiteY9" fmla="*/ 0 h 257175"/>
                <a:gd name="connsiteX10" fmla="*/ 57055 w 438150"/>
                <a:gd name="connsiteY10" fmla="*/ 95250 h 257175"/>
                <a:gd name="connsiteX11" fmla="*/ 61532 w 438150"/>
                <a:gd name="connsiteY11" fmla="*/ 124016 h 257175"/>
                <a:gd name="connsiteX12" fmla="*/ 0 w 438150"/>
                <a:gd name="connsiteY12" fmla="*/ 190500 h 257175"/>
                <a:gd name="connsiteX13" fmla="*/ 66675 w 438150"/>
                <a:gd name="connsiteY13" fmla="*/ 257175 h 257175"/>
                <a:gd name="connsiteX14" fmla="*/ 76200 w 438150"/>
                <a:gd name="connsiteY14" fmla="*/ 257175 h 257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8150" h="257175">
                  <a:moveTo>
                    <a:pt x="352425" y="257175"/>
                  </a:moveTo>
                  <a:lnTo>
                    <a:pt x="361950" y="257175"/>
                  </a:lnTo>
                  <a:lnTo>
                    <a:pt x="371475" y="257175"/>
                  </a:lnTo>
                  <a:cubicBezTo>
                    <a:pt x="408337" y="257175"/>
                    <a:pt x="438150" y="227362"/>
                    <a:pt x="438150" y="190500"/>
                  </a:cubicBezTo>
                  <a:cubicBezTo>
                    <a:pt x="438150" y="153638"/>
                    <a:pt x="408337" y="123825"/>
                    <a:pt x="371475" y="123825"/>
                  </a:cubicBezTo>
                  <a:cubicBezTo>
                    <a:pt x="364426" y="123825"/>
                    <a:pt x="357569" y="124968"/>
                    <a:pt x="351187" y="126968"/>
                  </a:cubicBezTo>
                  <a:cubicBezTo>
                    <a:pt x="351949" y="122873"/>
                    <a:pt x="352425" y="118681"/>
                    <a:pt x="352425" y="114300"/>
                  </a:cubicBezTo>
                  <a:cubicBezTo>
                    <a:pt x="352425" y="77438"/>
                    <a:pt x="322612" y="47625"/>
                    <a:pt x="285750" y="47625"/>
                  </a:cubicBezTo>
                  <a:cubicBezTo>
                    <a:pt x="269081" y="47625"/>
                    <a:pt x="253937" y="53816"/>
                    <a:pt x="242221" y="63913"/>
                  </a:cubicBezTo>
                  <a:cubicBezTo>
                    <a:pt x="229267" y="26670"/>
                    <a:pt x="193929" y="0"/>
                    <a:pt x="152305" y="0"/>
                  </a:cubicBezTo>
                  <a:cubicBezTo>
                    <a:pt x="99727" y="0"/>
                    <a:pt x="57055" y="42672"/>
                    <a:pt x="57055" y="95250"/>
                  </a:cubicBezTo>
                  <a:cubicBezTo>
                    <a:pt x="57055" y="105251"/>
                    <a:pt x="58674" y="114967"/>
                    <a:pt x="61532" y="124016"/>
                  </a:cubicBezTo>
                  <a:cubicBezTo>
                    <a:pt x="27146" y="126682"/>
                    <a:pt x="0" y="155448"/>
                    <a:pt x="0" y="190500"/>
                  </a:cubicBezTo>
                  <a:cubicBezTo>
                    <a:pt x="0" y="227362"/>
                    <a:pt x="29813" y="257175"/>
                    <a:pt x="66675" y="257175"/>
                  </a:cubicBezTo>
                  <a:lnTo>
                    <a:pt x="76200" y="257175"/>
                  </a:lnTo>
                </a:path>
              </a:pathLst>
            </a:custGeom>
            <a:noFill/>
            <a:ln w="1270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orma Livre: Forma 42">
              <a:extLst>
                <a:ext uri="{FF2B5EF4-FFF2-40B4-BE49-F238E27FC236}">
                  <a16:creationId xmlns:a16="http://schemas.microsoft.com/office/drawing/2014/main" id="{EE2683A0-325A-F0AA-27CE-3E90188D0E50}"/>
                </a:ext>
              </a:extLst>
            </p:cNvPr>
            <p:cNvSpPr/>
            <p:nvPr/>
          </p:nvSpPr>
          <p:spPr>
            <a:xfrm>
              <a:off x="1556683" y="6063476"/>
              <a:ext cx="9525" cy="19050"/>
            </a:xfrm>
            <a:custGeom>
              <a:avLst/>
              <a:gdLst>
                <a:gd name="connsiteX0" fmla="*/ 0 w 0"/>
                <a:gd name="connsiteY0" fmla="*/ 0 h 19050"/>
                <a:gd name="connsiteX1" fmla="*/ 4858 w 0"/>
                <a:gd name="connsiteY1" fmla="*/ 21908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9050">
                  <a:moveTo>
                    <a:pt x="0" y="0"/>
                  </a:moveTo>
                  <a:cubicBezTo>
                    <a:pt x="2476" y="6953"/>
                    <a:pt x="4096" y="14288"/>
                    <a:pt x="4858" y="21908"/>
                  </a:cubicBezTo>
                </a:path>
              </a:pathLst>
            </a:custGeom>
            <a:noFill/>
            <a:ln w="1270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orma Livre: Forma 43">
              <a:extLst>
                <a:ext uri="{FF2B5EF4-FFF2-40B4-BE49-F238E27FC236}">
                  <a16:creationId xmlns:a16="http://schemas.microsoft.com/office/drawing/2014/main" id="{E90802A6-E500-60E8-C5C4-7D922A917929}"/>
                </a:ext>
              </a:extLst>
            </p:cNvPr>
            <p:cNvSpPr/>
            <p:nvPr/>
          </p:nvSpPr>
          <p:spPr>
            <a:xfrm>
              <a:off x="1657172" y="6126627"/>
              <a:ext cx="9525" cy="19050"/>
            </a:xfrm>
            <a:custGeom>
              <a:avLst/>
              <a:gdLst>
                <a:gd name="connsiteX0" fmla="*/ 8287 w 0"/>
                <a:gd name="connsiteY0" fmla="*/ 0 h 19050"/>
                <a:gd name="connsiteX1" fmla="*/ 0 w 0"/>
                <a:gd name="connsiteY1" fmla="*/ 21622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9050">
                  <a:moveTo>
                    <a:pt x="8287" y="0"/>
                  </a:moveTo>
                  <a:cubicBezTo>
                    <a:pt x="6763" y="7810"/>
                    <a:pt x="3905" y="15145"/>
                    <a:pt x="0" y="21622"/>
                  </a:cubicBezTo>
                </a:path>
              </a:pathLst>
            </a:custGeom>
            <a:noFill/>
            <a:ln w="1270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orma Livre: Forma 44">
              <a:extLst>
                <a:ext uri="{FF2B5EF4-FFF2-40B4-BE49-F238E27FC236}">
                  <a16:creationId xmlns:a16="http://schemas.microsoft.com/office/drawing/2014/main" id="{D0AD14E0-B83A-62B5-FFBB-D683979C1F11}"/>
                </a:ext>
              </a:extLst>
            </p:cNvPr>
            <p:cNvSpPr/>
            <p:nvPr/>
          </p:nvSpPr>
          <p:spPr>
            <a:xfrm>
              <a:off x="1375804" y="6123468"/>
              <a:ext cx="19050" cy="9525"/>
            </a:xfrm>
            <a:custGeom>
              <a:avLst/>
              <a:gdLst>
                <a:gd name="connsiteX0" fmla="*/ 0 w 19050"/>
                <a:gd name="connsiteY0" fmla="*/ 207 h 0"/>
                <a:gd name="connsiteX1" fmla="*/ 24765 w 19050"/>
                <a:gd name="connsiteY1" fmla="*/ 296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050">
                  <a:moveTo>
                    <a:pt x="0" y="207"/>
                  </a:moveTo>
                  <a:cubicBezTo>
                    <a:pt x="8287" y="-460"/>
                    <a:pt x="16669" y="492"/>
                    <a:pt x="24765" y="2969"/>
                  </a:cubicBezTo>
                </a:path>
              </a:pathLst>
            </a:custGeom>
            <a:noFill/>
            <a:ln w="1270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orma Livre: Forma 46">
              <a:extLst>
                <a:ext uri="{FF2B5EF4-FFF2-40B4-BE49-F238E27FC236}">
                  <a16:creationId xmlns:a16="http://schemas.microsoft.com/office/drawing/2014/main" id="{10BB6708-6EAE-5803-F92B-55A2A3E7A9BA}"/>
                </a:ext>
              </a:extLst>
            </p:cNvPr>
            <p:cNvSpPr/>
            <p:nvPr/>
          </p:nvSpPr>
          <p:spPr>
            <a:xfrm>
              <a:off x="1447622" y="6237784"/>
              <a:ext cx="200025" cy="133350"/>
            </a:xfrm>
            <a:custGeom>
              <a:avLst/>
              <a:gdLst>
                <a:gd name="connsiteX0" fmla="*/ 0 w 200025"/>
                <a:gd name="connsiteY0" fmla="*/ 0 h 133350"/>
                <a:gd name="connsiteX1" fmla="*/ 200025 w 200025"/>
                <a:gd name="connsiteY1" fmla="*/ 0 h 133350"/>
                <a:gd name="connsiteX2" fmla="*/ 200025 w 200025"/>
                <a:gd name="connsiteY2" fmla="*/ 133350 h 133350"/>
                <a:gd name="connsiteX3" fmla="*/ 0 w 200025"/>
                <a:gd name="connsiteY3" fmla="*/ 13335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0025" h="133350">
                  <a:moveTo>
                    <a:pt x="0" y="0"/>
                  </a:moveTo>
                  <a:lnTo>
                    <a:pt x="200025" y="0"/>
                  </a:lnTo>
                  <a:lnTo>
                    <a:pt x="200025" y="133350"/>
                  </a:lnTo>
                  <a:lnTo>
                    <a:pt x="0" y="133350"/>
                  </a:lnTo>
                  <a:close/>
                </a:path>
              </a:pathLst>
            </a:custGeom>
            <a:noFill/>
            <a:ln w="1270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orma Livre: Forma 47">
              <a:extLst>
                <a:ext uri="{FF2B5EF4-FFF2-40B4-BE49-F238E27FC236}">
                  <a16:creationId xmlns:a16="http://schemas.microsoft.com/office/drawing/2014/main" id="{C8AB49FE-95F9-C384-2EC4-8EDBD6D58AEE}"/>
                </a:ext>
              </a:extLst>
            </p:cNvPr>
            <p:cNvSpPr/>
            <p:nvPr/>
          </p:nvSpPr>
          <p:spPr>
            <a:xfrm>
              <a:off x="1409522" y="6180634"/>
              <a:ext cx="257081" cy="150776"/>
            </a:xfrm>
            <a:custGeom>
              <a:avLst/>
              <a:gdLst>
                <a:gd name="connsiteX0" fmla="*/ 209550 w 209550"/>
                <a:gd name="connsiteY0" fmla="*/ 38100 h 190500"/>
                <a:gd name="connsiteX1" fmla="*/ 209550 w 209550"/>
                <a:gd name="connsiteY1" fmla="*/ 19050 h 190500"/>
                <a:gd name="connsiteX2" fmla="*/ 104775 w 209550"/>
                <a:gd name="connsiteY2" fmla="*/ 19050 h 190500"/>
                <a:gd name="connsiteX3" fmla="*/ 85725 w 209550"/>
                <a:gd name="connsiteY3" fmla="*/ 0 h 190500"/>
                <a:gd name="connsiteX4" fmla="*/ 0 w 209550"/>
                <a:gd name="connsiteY4" fmla="*/ 0 h 190500"/>
                <a:gd name="connsiteX5" fmla="*/ 0 w 209550"/>
                <a:gd name="connsiteY5" fmla="*/ 161925 h 190500"/>
                <a:gd name="connsiteX6" fmla="*/ 28575 w 209550"/>
                <a:gd name="connsiteY6" fmla="*/ 190500 h 190500"/>
                <a:gd name="connsiteX7" fmla="*/ 38100 w 209550"/>
                <a:gd name="connsiteY7" fmla="*/ 19050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0" h="190500">
                  <a:moveTo>
                    <a:pt x="209550" y="38100"/>
                  </a:moveTo>
                  <a:lnTo>
                    <a:pt x="209550" y="19050"/>
                  </a:lnTo>
                  <a:lnTo>
                    <a:pt x="104775" y="19050"/>
                  </a:lnTo>
                  <a:lnTo>
                    <a:pt x="85725" y="0"/>
                  </a:lnTo>
                  <a:lnTo>
                    <a:pt x="0" y="0"/>
                  </a:lnTo>
                  <a:lnTo>
                    <a:pt x="0" y="161925"/>
                  </a:lnTo>
                  <a:lnTo>
                    <a:pt x="28575" y="190500"/>
                  </a:lnTo>
                  <a:lnTo>
                    <a:pt x="38100" y="190500"/>
                  </a:lnTo>
                </a:path>
              </a:pathLst>
            </a:custGeom>
            <a:noFill/>
            <a:ln w="1270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6B36BCC0-0DD9-AC15-38C6-FFF18F97E592}"/>
              </a:ext>
            </a:extLst>
          </p:cNvPr>
          <p:cNvSpPr txBox="1"/>
          <p:nvPr/>
        </p:nvSpPr>
        <p:spPr>
          <a:xfrm>
            <a:off x="5663011" y="3494024"/>
            <a:ext cx="84811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165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Acervo digital</a:t>
            </a:r>
          </a:p>
        </p:txBody>
      </p:sp>
      <p:grpSp>
        <p:nvGrpSpPr>
          <p:cNvPr id="50" name="Agrupar 49">
            <a:extLst>
              <a:ext uri="{FF2B5EF4-FFF2-40B4-BE49-F238E27FC236}">
                <a16:creationId xmlns:a16="http://schemas.microsoft.com/office/drawing/2014/main" id="{00A8DA88-E6FA-4967-81E2-1145DF7E7B3E}"/>
              </a:ext>
            </a:extLst>
          </p:cNvPr>
          <p:cNvGrpSpPr/>
          <p:nvPr/>
        </p:nvGrpSpPr>
        <p:grpSpPr>
          <a:xfrm>
            <a:off x="1682260" y="1787931"/>
            <a:ext cx="848111" cy="577531"/>
            <a:chOff x="1671462" y="2183867"/>
            <a:chExt cx="848111" cy="577531"/>
          </a:xfrm>
        </p:grpSpPr>
        <p:sp>
          <p:nvSpPr>
            <p:cNvPr id="51" name="Forma">
              <a:extLst>
                <a:ext uri="{FF2B5EF4-FFF2-40B4-BE49-F238E27FC236}">
                  <a16:creationId xmlns:a16="http://schemas.microsoft.com/office/drawing/2014/main" id="{DE628C4A-EB8D-EB5D-2A86-52E87DBAB8B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00980" y="2183867"/>
              <a:ext cx="189075" cy="252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12285" y="0"/>
                    <a:pt x="13680" y="203"/>
                    <a:pt x="14985" y="608"/>
                  </a:cubicBezTo>
                  <a:cubicBezTo>
                    <a:pt x="16312" y="1030"/>
                    <a:pt x="17460" y="1604"/>
                    <a:pt x="18428" y="2330"/>
                  </a:cubicBezTo>
                  <a:cubicBezTo>
                    <a:pt x="19395" y="3056"/>
                    <a:pt x="20171" y="3900"/>
                    <a:pt x="20756" y="4862"/>
                  </a:cubicBezTo>
                  <a:cubicBezTo>
                    <a:pt x="21318" y="5841"/>
                    <a:pt x="21600" y="6879"/>
                    <a:pt x="21600" y="7977"/>
                  </a:cubicBezTo>
                  <a:cubicBezTo>
                    <a:pt x="21600" y="9074"/>
                    <a:pt x="21037" y="10399"/>
                    <a:pt x="19913" y="11952"/>
                  </a:cubicBezTo>
                  <a:cubicBezTo>
                    <a:pt x="18787" y="13522"/>
                    <a:pt x="17550" y="15020"/>
                    <a:pt x="16200" y="16447"/>
                  </a:cubicBezTo>
                  <a:cubicBezTo>
                    <a:pt x="14850" y="17874"/>
                    <a:pt x="13612" y="19085"/>
                    <a:pt x="12488" y="20081"/>
                  </a:cubicBezTo>
                  <a:lnTo>
                    <a:pt x="10800" y="21600"/>
                  </a:lnTo>
                  <a:lnTo>
                    <a:pt x="9113" y="20081"/>
                  </a:lnTo>
                  <a:cubicBezTo>
                    <a:pt x="7987" y="19085"/>
                    <a:pt x="6750" y="17874"/>
                    <a:pt x="5400" y="16447"/>
                  </a:cubicBezTo>
                  <a:cubicBezTo>
                    <a:pt x="4050" y="15020"/>
                    <a:pt x="2812" y="13522"/>
                    <a:pt x="1687" y="11952"/>
                  </a:cubicBezTo>
                  <a:cubicBezTo>
                    <a:pt x="562" y="10399"/>
                    <a:pt x="0" y="9074"/>
                    <a:pt x="0" y="7977"/>
                  </a:cubicBezTo>
                  <a:cubicBezTo>
                    <a:pt x="0" y="6879"/>
                    <a:pt x="281" y="5841"/>
                    <a:pt x="844" y="4862"/>
                  </a:cubicBezTo>
                  <a:cubicBezTo>
                    <a:pt x="1406" y="3900"/>
                    <a:pt x="2177" y="3056"/>
                    <a:pt x="3156" y="2330"/>
                  </a:cubicBezTo>
                  <a:cubicBezTo>
                    <a:pt x="4134" y="1604"/>
                    <a:pt x="5276" y="1030"/>
                    <a:pt x="6581" y="608"/>
                  </a:cubicBezTo>
                  <a:cubicBezTo>
                    <a:pt x="7886" y="203"/>
                    <a:pt x="9292" y="0"/>
                    <a:pt x="10800" y="0"/>
                  </a:cubicBezTo>
                  <a:lnTo>
                    <a:pt x="10800" y="0"/>
                  </a:lnTo>
                  <a:lnTo>
                    <a:pt x="10800" y="0"/>
                  </a:lnTo>
                  <a:lnTo>
                    <a:pt x="10800" y="0"/>
                  </a:lnTo>
                  <a:lnTo>
                    <a:pt x="10800" y="0"/>
                  </a:lnTo>
                  <a:close/>
                  <a:moveTo>
                    <a:pt x="15019" y="15801"/>
                  </a:moveTo>
                  <a:cubicBezTo>
                    <a:pt x="15783" y="14991"/>
                    <a:pt x="16470" y="14223"/>
                    <a:pt x="17078" y="13497"/>
                  </a:cubicBezTo>
                  <a:cubicBezTo>
                    <a:pt x="17685" y="12771"/>
                    <a:pt x="18202" y="12096"/>
                    <a:pt x="18630" y="11471"/>
                  </a:cubicBezTo>
                  <a:cubicBezTo>
                    <a:pt x="19260" y="10543"/>
                    <a:pt x="19670" y="9800"/>
                    <a:pt x="19862" y="9243"/>
                  </a:cubicBezTo>
                  <a:cubicBezTo>
                    <a:pt x="20053" y="8686"/>
                    <a:pt x="20149" y="8264"/>
                    <a:pt x="20149" y="7977"/>
                  </a:cubicBezTo>
                  <a:cubicBezTo>
                    <a:pt x="20149" y="7504"/>
                    <a:pt x="20087" y="7044"/>
                    <a:pt x="19963" y="6596"/>
                  </a:cubicBezTo>
                  <a:cubicBezTo>
                    <a:pt x="19839" y="6149"/>
                    <a:pt x="19654" y="5714"/>
                    <a:pt x="19406" y="5292"/>
                  </a:cubicBezTo>
                  <a:cubicBezTo>
                    <a:pt x="19181" y="4887"/>
                    <a:pt x="18900" y="4499"/>
                    <a:pt x="18563" y="4128"/>
                  </a:cubicBezTo>
                  <a:cubicBezTo>
                    <a:pt x="18225" y="3756"/>
                    <a:pt x="17842" y="3410"/>
                    <a:pt x="17415" y="3089"/>
                  </a:cubicBezTo>
                  <a:cubicBezTo>
                    <a:pt x="16987" y="2785"/>
                    <a:pt x="16526" y="2507"/>
                    <a:pt x="16031" y="2254"/>
                  </a:cubicBezTo>
                  <a:cubicBezTo>
                    <a:pt x="15536" y="2000"/>
                    <a:pt x="15007" y="1789"/>
                    <a:pt x="14445" y="1621"/>
                  </a:cubicBezTo>
                  <a:cubicBezTo>
                    <a:pt x="13860" y="1435"/>
                    <a:pt x="13264" y="1296"/>
                    <a:pt x="12656" y="1203"/>
                  </a:cubicBezTo>
                  <a:cubicBezTo>
                    <a:pt x="12049" y="1110"/>
                    <a:pt x="11430" y="1064"/>
                    <a:pt x="10800" y="1064"/>
                  </a:cubicBezTo>
                  <a:cubicBezTo>
                    <a:pt x="10170" y="1064"/>
                    <a:pt x="9545" y="1110"/>
                    <a:pt x="8927" y="1203"/>
                  </a:cubicBezTo>
                  <a:cubicBezTo>
                    <a:pt x="8308" y="1296"/>
                    <a:pt x="7717" y="1435"/>
                    <a:pt x="7155" y="1621"/>
                  </a:cubicBezTo>
                  <a:cubicBezTo>
                    <a:pt x="6592" y="1789"/>
                    <a:pt x="6058" y="2000"/>
                    <a:pt x="5552" y="2254"/>
                  </a:cubicBezTo>
                  <a:cubicBezTo>
                    <a:pt x="5046" y="2507"/>
                    <a:pt x="4578" y="2785"/>
                    <a:pt x="4151" y="3089"/>
                  </a:cubicBezTo>
                  <a:cubicBezTo>
                    <a:pt x="3724" y="3410"/>
                    <a:pt x="3341" y="3756"/>
                    <a:pt x="3004" y="4128"/>
                  </a:cubicBezTo>
                  <a:cubicBezTo>
                    <a:pt x="2666" y="4499"/>
                    <a:pt x="2385" y="4887"/>
                    <a:pt x="2160" y="5292"/>
                  </a:cubicBezTo>
                  <a:cubicBezTo>
                    <a:pt x="1912" y="5714"/>
                    <a:pt x="1727" y="6149"/>
                    <a:pt x="1603" y="6596"/>
                  </a:cubicBezTo>
                  <a:cubicBezTo>
                    <a:pt x="1479" y="7044"/>
                    <a:pt x="1417" y="7504"/>
                    <a:pt x="1417" y="7977"/>
                  </a:cubicBezTo>
                  <a:cubicBezTo>
                    <a:pt x="1417" y="8264"/>
                    <a:pt x="1519" y="8686"/>
                    <a:pt x="1721" y="9243"/>
                  </a:cubicBezTo>
                  <a:cubicBezTo>
                    <a:pt x="1924" y="9800"/>
                    <a:pt x="2340" y="10543"/>
                    <a:pt x="2970" y="11471"/>
                  </a:cubicBezTo>
                  <a:cubicBezTo>
                    <a:pt x="3397" y="12096"/>
                    <a:pt x="3915" y="12775"/>
                    <a:pt x="4523" y="13509"/>
                  </a:cubicBezTo>
                  <a:cubicBezTo>
                    <a:pt x="5130" y="14244"/>
                    <a:pt x="5805" y="15016"/>
                    <a:pt x="6547" y="15826"/>
                  </a:cubicBezTo>
                  <a:cubicBezTo>
                    <a:pt x="7358" y="16671"/>
                    <a:pt x="8139" y="17451"/>
                    <a:pt x="8893" y="18169"/>
                  </a:cubicBezTo>
                  <a:cubicBezTo>
                    <a:pt x="9647" y="18887"/>
                    <a:pt x="10282" y="19473"/>
                    <a:pt x="10800" y="19929"/>
                  </a:cubicBezTo>
                  <a:cubicBezTo>
                    <a:pt x="11295" y="19473"/>
                    <a:pt x="11925" y="18882"/>
                    <a:pt x="12690" y="18156"/>
                  </a:cubicBezTo>
                  <a:cubicBezTo>
                    <a:pt x="13455" y="17431"/>
                    <a:pt x="14231" y="16646"/>
                    <a:pt x="15019" y="15801"/>
                  </a:cubicBezTo>
                  <a:lnTo>
                    <a:pt x="15019" y="15801"/>
                  </a:lnTo>
                  <a:lnTo>
                    <a:pt x="15019" y="15801"/>
                  </a:lnTo>
                  <a:close/>
                  <a:moveTo>
                    <a:pt x="10800" y="3241"/>
                  </a:moveTo>
                  <a:cubicBezTo>
                    <a:pt x="12195" y="3241"/>
                    <a:pt x="13382" y="3608"/>
                    <a:pt x="14361" y="4343"/>
                  </a:cubicBezTo>
                  <a:cubicBezTo>
                    <a:pt x="15339" y="5077"/>
                    <a:pt x="15829" y="5968"/>
                    <a:pt x="15829" y="7014"/>
                  </a:cubicBezTo>
                  <a:cubicBezTo>
                    <a:pt x="15829" y="8061"/>
                    <a:pt x="15339" y="8951"/>
                    <a:pt x="14361" y="9686"/>
                  </a:cubicBezTo>
                  <a:cubicBezTo>
                    <a:pt x="13382" y="10420"/>
                    <a:pt x="12195" y="10787"/>
                    <a:pt x="10800" y="10787"/>
                  </a:cubicBezTo>
                  <a:cubicBezTo>
                    <a:pt x="9405" y="10787"/>
                    <a:pt x="8212" y="10420"/>
                    <a:pt x="7223" y="9686"/>
                  </a:cubicBezTo>
                  <a:cubicBezTo>
                    <a:pt x="6232" y="8951"/>
                    <a:pt x="5738" y="8061"/>
                    <a:pt x="5738" y="7014"/>
                  </a:cubicBezTo>
                  <a:cubicBezTo>
                    <a:pt x="5738" y="5968"/>
                    <a:pt x="6232" y="5077"/>
                    <a:pt x="7223" y="4343"/>
                  </a:cubicBezTo>
                  <a:cubicBezTo>
                    <a:pt x="8212" y="3608"/>
                    <a:pt x="9405" y="3241"/>
                    <a:pt x="10800" y="3241"/>
                  </a:cubicBezTo>
                  <a:lnTo>
                    <a:pt x="10800" y="3241"/>
                  </a:lnTo>
                  <a:lnTo>
                    <a:pt x="10800" y="3241"/>
                  </a:lnTo>
                  <a:close/>
                  <a:moveTo>
                    <a:pt x="10800" y="9724"/>
                  </a:moveTo>
                  <a:cubicBezTo>
                    <a:pt x="11790" y="9724"/>
                    <a:pt x="12634" y="9458"/>
                    <a:pt x="13331" y="8926"/>
                  </a:cubicBezTo>
                  <a:cubicBezTo>
                    <a:pt x="14028" y="8394"/>
                    <a:pt x="14378" y="7757"/>
                    <a:pt x="14378" y="7014"/>
                  </a:cubicBezTo>
                  <a:cubicBezTo>
                    <a:pt x="14378" y="6272"/>
                    <a:pt x="14028" y="5634"/>
                    <a:pt x="13331" y="5102"/>
                  </a:cubicBezTo>
                  <a:cubicBezTo>
                    <a:pt x="12634" y="4571"/>
                    <a:pt x="11790" y="4305"/>
                    <a:pt x="10800" y="4305"/>
                  </a:cubicBezTo>
                  <a:cubicBezTo>
                    <a:pt x="9810" y="4305"/>
                    <a:pt x="8961" y="4571"/>
                    <a:pt x="8252" y="5102"/>
                  </a:cubicBezTo>
                  <a:cubicBezTo>
                    <a:pt x="7543" y="5634"/>
                    <a:pt x="7189" y="6272"/>
                    <a:pt x="7189" y="7014"/>
                  </a:cubicBezTo>
                  <a:cubicBezTo>
                    <a:pt x="7189" y="7757"/>
                    <a:pt x="7543" y="8394"/>
                    <a:pt x="8252" y="8926"/>
                  </a:cubicBezTo>
                  <a:cubicBezTo>
                    <a:pt x="8961" y="9458"/>
                    <a:pt x="9810" y="9724"/>
                    <a:pt x="10800" y="9724"/>
                  </a:cubicBezTo>
                  <a:lnTo>
                    <a:pt x="10800" y="9724"/>
                  </a:lnTo>
                  <a:lnTo>
                    <a:pt x="10800" y="9724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miter lim="400000"/>
            </a:ln>
          </p:spPr>
          <p:txBody>
            <a:bodyPr lIns="27428" tIns="27428" rIns="27428" bIns="27428" anchor="ctr"/>
            <a:lstStyle/>
            <a:p>
              <a:pPr marL="0" marR="0" lvl="0" indent="0" algn="ctr" defTabSz="3291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b="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1296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sym typeface="Gill Sans"/>
              </a:endParaRPr>
            </a:p>
          </p:txBody>
        </p:sp>
        <p:sp>
          <p:nvSpPr>
            <p:cNvPr id="52" name="CaixaDeTexto 51">
              <a:extLst>
                <a:ext uri="{FF2B5EF4-FFF2-40B4-BE49-F238E27FC236}">
                  <a16:creationId xmlns:a16="http://schemas.microsoft.com/office/drawing/2014/main" id="{A37DDA9A-E268-F15A-D819-A7CE700DB985}"/>
                </a:ext>
              </a:extLst>
            </p:cNvPr>
            <p:cNvSpPr txBox="1"/>
            <p:nvPr/>
          </p:nvSpPr>
          <p:spPr>
            <a:xfrm>
              <a:off x="1671462" y="2392066"/>
              <a:ext cx="84811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3165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Agências/</a:t>
              </a:r>
            </a:p>
            <a:p>
              <a:pPr marL="0" marR="0" lvl="0" indent="0" algn="ctr" defTabSz="13165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Plataformas</a:t>
              </a:r>
            </a:p>
          </p:txBody>
        </p:sp>
      </p:grpSp>
      <p:grpSp>
        <p:nvGrpSpPr>
          <p:cNvPr id="53" name="Agrupar 52">
            <a:extLst>
              <a:ext uri="{FF2B5EF4-FFF2-40B4-BE49-F238E27FC236}">
                <a16:creationId xmlns:a16="http://schemas.microsoft.com/office/drawing/2014/main" id="{53C93DC3-B29D-1AAC-BE23-C6F8E01B7B68}"/>
              </a:ext>
            </a:extLst>
          </p:cNvPr>
          <p:cNvGrpSpPr>
            <a:grpSpLocks noChangeAspect="1"/>
          </p:cNvGrpSpPr>
          <p:nvPr/>
        </p:nvGrpSpPr>
        <p:grpSpPr>
          <a:xfrm>
            <a:off x="5165265" y="2910413"/>
            <a:ext cx="227317" cy="216000"/>
            <a:chOff x="12721450" y="1236389"/>
            <a:chExt cx="438150" cy="416338"/>
          </a:xfrm>
        </p:grpSpPr>
        <p:sp>
          <p:nvSpPr>
            <p:cNvPr id="54" name="Forma Livre: Forma 53">
              <a:extLst>
                <a:ext uri="{FF2B5EF4-FFF2-40B4-BE49-F238E27FC236}">
                  <a16:creationId xmlns:a16="http://schemas.microsoft.com/office/drawing/2014/main" id="{3171201F-8A34-7E72-1902-52BC34322DA3}"/>
                </a:ext>
              </a:extLst>
            </p:cNvPr>
            <p:cNvSpPr/>
            <p:nvPr/>
          </p:nvSpPr>
          <p:spPr>
            <a:xfrm>
              <a:off x="12853655" y="1399867"/>
              <a:ext cx="171450" cy="161925"/>
            </a:xfrm>
            <a:custGeom>
              <a:avLst/>
              <a:gdLst>
                <a:gd name="connsiteX0" fmla="*/ 88299 w 171450"/>
                <a:gd name="connsiteY0" fmla="*/ 160943 h 161925"/>
                <a:gd name="connsiteX1" fmla="*/ 85918 w 171450"/>
                <a:gd name="connsiteY1" fmla="*/ 158467 h 161925"/>
                <a:gd name="connsiteX2" fmla="*/ 83441 w 171450"/>
                <a:gd name="connsiteY2" fmla="*/ 160848 h 161925"/>
                <a:gd name="connsiteX3" fmla="*/ 42865 w 171450"/>
                <a:gd name="connsiteY3" fmla="*/ 147037 h 161925"/>
                <a:gd name="connsiteX4" fmla="*/ 42389 w 171450"/>
                <a:gd name="connsiteY4" fmla="*/ 143608 h 161925"/>
                <a:gd name="connsiteX5" fmla="*/ 38960 w 171450"/>
                <a:gd name="connsiteY5" fmla="*/ 144084 h 161925"/>
                <a:gd name="connsiteX6" fmla="*/ 14290 w 171450"/>
                <a:gd name="connsiteY6" fmla="*/ 109127 h 161925"/>
                <a:gd name="connsiteX7" fmla="*/ 15909 w 171450"/>
                <a:gd name="connsiteY7" fmla="*/ 106079 h 161925"/>
                <a:gd name="connsiteX8" fmla="*/ 12861 w 171450"/>
                <a:gd name="connsiteY8" fmla="*/ 104460 h 161925"/>
                <a:gd name="connsiteX9" fmla="*/ 13433 w 171450"/>
                <a:gd name="connsiteY9" fmla="*/ 61693 h 161925"/>
                <a:gd name="connsiteX10" fmla="*/ 16481 w 171450"/>
                <a:gd name="connsiteY10" fmla="*/ 60169 h 161925"/>
                <a:gd name="connsiteX11" fmla="*/ 14957 w 171450"/>
                <a:gd name="connsiteY11" fmla="*/ 57121 h 161925"/>
                <a:gd name="connsiteX12" fmla="*/ 40579 w 171450"/>
                <a:gd name="connsiteY12" fmla="*/ 22831 h 161925"/>
                <a:gd name="connsiteX13" fmla="*/ 44008 w 171450"/>
                <a:gd name="connsiteY13" fmla="*/ 23402 h 161925"/>
                <a:gd name="connsiteX14" fmla="*/ 44579 w 171450"/>
                <a:gd name="connsiteY14" fmla="*/ 19973 h 161925"/>
                <a:gd name="connsiteX15" fmla="*/ 85442 w 171450"/>
                <a:gd name="connsiteY15" fmla="*/ 7305 h 161925"/>
                <a:gd name="connsiteX16" fmla="*/ 87823 w 171450"/>
                <a:gd name="connsiteY16" fmla="*/ 9782 h 161925"/>
                <a:gd name="connsiteX17" fmla="*/ 90299 w 171450"/>
                <a:gd name="connsiteY17" fmla="*/ 7400 h 161925"/>
                <a:gd name="connsiteX18" fmla="*/ 130876 w 171450"/>
                <a:gd name="connsiteY18" fmla="*/ 21212 h 161925"/>
                <a:gd name="connsiteX19" fmla="*/ 131352 w 171450"/>
                <a:gd name="connsiteY19" fmla="*/ 24641 h 161925"/>
                <a:gd name="connsiteX20" fmla="*/ 134781 w 171450"/>
                <a:gd name="connsiteY20" fmla="*/ 24164 h 161925"/>
                <a:gd name="connsiteX21" fmla="*/ 159451 w 171450"/>
                <a:gd name="connsiteY21" fmla="*/ 59121 h 161925"/>
                <a:gd name="connsiteX22" fmla="*/ 157832 w 171450"/>
                <a:gd name="connsiteY22" fmla="*/ 62169 h 161925"/>
                <a:gd name="connsiteX23" fmla="*/ 160880 w 171450"/>
                <a:gd name="connsiteY23" fmla="*/ 63788 h 161925"/>
                <a:gd name="connsiteX24" fmla="*/ 160308 w 171450"/>
                <a:gd name="connsiteY24" fmla="*/ 106556 h 161925"/>
                <a:gd name="connsiteX25" fmla="*/ 157260 w 171450"/>
                <a:gd name="connsiteY25" fmla="*/ 108080 h 161925"/>
                <a:gd name="connsiteX26" fmla="*/ 158784 w 171450"/>
                <a:gd name="connsiteY26" fmla="*/ 111128 h 161925"/>
                <a:gd name="connsiteX27" fmla="*/ 133162 w 171450"/>
                <a:gd name="connsiteY27" fmla="*/ 145418 h 161925"/>
                <a:gd name="connsiteX28" fmla="*/ 129733 w 171450"/>
                <a:gd name="connsiteY28" fmla="*/ 144846 h 161925"/>
                <a:gd name="connsiteX29" fmla="*/ 129161 w 171450"/>
                <a:gd name="connsiteY29" fmla="*/ 148275 h 161925"/>
                <a:gd name="connsiteX30" fmla="*/ 88299 w 171450"/>
                <a:gd name="connsiteY30" fmla="*/ 160943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71450" h="161925">
                  <a:moveTo>
                    <a:pt x="88299" y="160943"/>
                  </a:moveTo>
                  <a:lnTo>
                    <a:pt x="85918" y="158467"/>
                  </a:lnTo>
                  <a:lnTo>
                    <a:pt x="83441" y="160848"/>
                  </a:lnTo>
                  <a:cubicBezTo>
                    <a:pt x="69344" y="174564"/>
                    <a:pt x="45627" y="166563"/>
                    <a:pt x="42865" y="147037"/>
                  </a:cubicBezTo>
                  <a:lnTo>
                    <a:pt x="42389" y="143608"/>
                  </a:lnTo>
                  <a:lnTo>
                    <a:pt x="38960" y="144084"/>
                  </a:lnTo>
                  <a:cubicBezTo>
                    <a:pt x="19529" y="146942"/>
                    <a:pt x="5051" y="126463"/>
                    <a:pt x="14290" y="109127"/>
                  </a:cubicBezTo>
                  <a:lnTo>
                    <a:pt x="15909" y="106079"/>
                  </a:lnTo>
                  <a:lnTo>
                    <a:pt x="12861" y="104460"/>
                  </a:lnTo>
                  <a:cubicBezTo>
                    <a:pt x="-4570" y="95316"/>
                    <a:pt x="-4189" y="70265"/>
                    <a:pt x="13433" y="61693"/>
                  </a:cubicBezTo>
                  <a:lnTo>
                    <a:pt x="16481" y="60169"/>
                  </a:lnTo>
                  <a:lnTo>
                    <a:pt x="14957" y="57121"/>
                  </a:lnTo>
                  <a:cubicBezTo>
                    <a:pt x="6194" y="39500"/>
                    <a:pt x="21243" y="19402"/>
                    <a:pt x="40579" y="22831"/>
                  </a:cubicBezTo>
                  <a:lnTo>
                    <a:pt x="44008" y="23402"/>
                  </a:lnTo>
                  <a:lnTo>
                    <a:pt x="44579" y="19973"/>
                  </a:lnTo>
                  <a:cubicBezTo>
                    <a:pt x="47818" y="638"/>
                    <a:pt x="71821" y="-6792"/>
                    <a:pt x="85442" y="7305"/>
                  </a:cubicBezTo>
                  <a:lnTo>
                    <a:pt x="87823" y="9782"/>
                  </a:lnTo>
                  <a:lnTo>
                    <a:pt x="90299" y="7400"/>
                  </a:lnTo>
                  <a:cubicBezTo>
                    <a:pt x="104396" y="-6316"/>
                    <a:pt x="128114" y="1685"/>
                    <a:pt x="130876" y="21212"/>
                  </a:cubicBezTo>
                  <a:lnTo>
                    <a:pt x="131352" y="24641"/>
                  </a:lnTo>
                  <a:lnTo>
                    <a:pt x="134781" y="24164"/>
                  </a:lnTo>
                  <a:cubicBezTo>
                    <a:pt x="154212" y="21307"/>
                    <a:pt x="168690" y="41786"/>
                    <a:pt x="159451" y="59121"/>
                  </a:cubicBezTo>
                  <a:lnTo>
                    <a:pt x="157832" y="62169"/>
                  </a:lnTo>
                  <a:lnTo>
                    <a:pt x="160880" y="63788"/>
                  </a:lnTo>
                  <a:cubicBezTo>
                    <a:pt x="178310" y="72932"/>
                    <a:pt x="177929" y="97983"/>
                    <a:pt x="160308" y="106556"/>
                  </a:cubicBezTo>
                  <a:lnTo>
                    <a:pt x="157260" y="108080"/>
                  </a:lnTo>
                  <a:lnTo>
                    <a:pt x="158784" y="111128"/>
                  </a:lnTo>
                  <a:cubicBezTo>
                    <a:pt x="167547" y="128749"/>
                    <a:pt x="152498" y="148847"/>
                    <a:pt x="133162" y="145418"/>
                  </a:cubicBezTo>
                  <a:lnTo>
                    <a:pt x="129733" y="144846"/>
                  </a:lnTo>
                  <a:lnTo>
                    <a:pt x="129161" y="148275"/>
                  </a:lnTo>
                  <a:cubicBezTo>
                    <a:pt x="125828" y="167611"/>
                    <a:pt x="101920" y="175040"/>
                    <a:pt x="88299" y="160943"/>
                  </a:cubicBezTo>
                  <a:close/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orma Livre: Forma 54">
              <a:extLst>
                <a:ext uri="{FF2B5EF4-FFF2-40B4-BE49-F238E27FC236}">
                  <a16:creationId xmlns:a16="http://schemas.microsoft.com/office/drawing/2014/main" id="{C7206297-740A-7D03-B48D-36525801173D}"/>
                </a:ext>
              </a:extLst>
            </p:cNvPr>
            <p:cNvSpPr/>
            <p:nvPr/>
          </p:nvSpPr>
          <p:spPr>
            <a:xfrm>
              <a:off x="12864896" y="1562335"/>
              <a:ext cx="57150" cy="85725"/>
            </a:xfrm>
            <a:custGeom>
              <a:avLst/>
              <a:gdLst>
                <a:gd name="connsiteX0" fmla="*/ 66104 w 57150"/>
                <a:gd name="connsiteY0" fmla="*/ 55054 h 85725"/>
                <a:gd name="connsiteX1" fmla="*/ 42863 w 57150"/>
                <a:gd name="connsiteY1" fmla="*/ 94678 h 85725"/>
                <a:gd name="connsiteX2" fmla="*/ 30766 w 57150"/>
                <a:gd name="connsiteY2" fmla="*/ 66103 h 85725"/>
                <a:gd name="connsiteX3" fmla="*/ 0 w 57150"/>
                <a:gd name="connsiteY3" fmla="*/ 69818 h 85725"/>
                <a:gd name="connsiteX4" fmla="*/ 40386 w 57150"/>
                <a:gd name="connsiteY4" fmla="*/ 0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85725">
                  <a:moveTo>
                    <a:pt x="66104" y="55054"/>
                  </a:moveTo>
                  <a:lnTo>
                    <a:pt x="42863" y="94678"/>
                  </a:lnTo>
                  <a:lnTo>
                    <a:pt x="30766" y="66103"/>
                  </a:lnTo>
                  <a:lnTo>
                    <a:pt x="0" y="69818"/>
                  </a:lnTo>
                  <a:lnTo>
                    <a:pt x="40386" y="0"/>
                  </a:lnTo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orma Livre: Forma 55">
              <a:extLst>
                <a:ext uri="{FF2B5EF4-FFF2-40B4-BE49-F238E27FC236}">
                  <a16:creationId xmlns:a16="http://schemas.microsoft.com/office/drawing/2014/main" id="{A874E6BD-80D3-B07F-6FEA-3A3BCC585610}"/>
                </a:ext>
              </a:extLst>
            </p:cNvPr>
            <p:cNvSpPr/>
            <p:nvPr/>
          </p:nvSpPr>
          <p:spPr>
            <a:xfrm>
              <a:off x="12927190" y="1557477"/>
              <a:ext cx="85725" cy="95250"/>
            </a:xfrm>
            <a:custGeom>
              <a:avLst/>
              <a:gdLst>
                <a:gd name="connsiteX0" fmla="*/ 0 w 85725"/>
                <a:gd name="connsiteY0" fmla="*/ 9144 h 95250"/>
                <a:gd name="connsiteX1" fmla="*/ 52197 w 85725"/>
                <a:gd name="connsiteY1" fmla="*/ 99536 h 95250"/>
                <a:gd name="connsiteX2" fmla="*/ 64294 w 85725"/>
                <a:gd name="connsiteY2" fmla="*/ 70961 h 95250"/>
                <a:gd name="connsiteX3" fmla="*/ 95060 w 85725"/>
                <a:gd name="connsiteY3" fmla="*/ 74676 h 95250"/>
                <a:gd name="connsiteX4" fmla="*/ 51911 w 85725"/>
                <a:gd name="connsiteY4" fmla="*/ 0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725" h="95250">
                  <a:moveTo>
                    <a:pt x="0" y="9144"/>
                  </a:moveTo>
                  <a:lnTo>
                    <a:pt x="52197" y="99536"/>
                  </a:lnTo>
                  <a:lnTo>
                    <a:pt x="64294" y="70961"/>
                  </a:lnTo>
                  <a:lnTo>
                    <a:pt x="95060" y="74676"/>
                  </a:lnTo>
                  <a:lnTo>
                    <a:pt x="51911" y="0"/>
                  </a:lnTo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orma Livre: Forma 56">
              <a:extLst>
                <a:ext uri="{FF2B5EF4-FFF2-40B4-BE49-F238E27FC236}">
                  <a16:creationId xmlns:a16="http://schemas.microsoft.com/office/drawing/2014/main" id="{EA2F66E9-95EA-78CA-79E5-566D875BC926}"/>
                </a:ext>
              </a:extLst>
            </p:cNvPr>
            <p:cNvSpPr/>
            <p:nvPr/>
          </p:nvSpPr>
          <p:spPr>
            <a:xfrm>
              <a:off x="12721450" y="1236389"/>
              <a:ext cx="438150" cy="295275"/>
            </a:xfrm>
            <a:custGeom>
              <a:avLst/>
              <a:gdLst>
                <a:gd name="connsiteX0" fmla="*/ 314325 w 438150"/>
                <a:gd name="connsiteY0" fmla="*/ 295275 h 295275"/>
                <a:gd name="connsiteX1" fmla="*/ 438150 w 438150"/>
                <a:gd name="connsiteY1" fmla="*/ 295275 h 295275"/>
                <a:gd name="connsiteX2" fmla="*/ 438150 w 438150"/>
                <a:gd name="connsiteY2" fmla="*/ 0 h 295275"/>
                <a:gd name="connsiteX3" fmla="*/ 0 w 438150"/>
                <a:gd name="connsiteY3" fmla="*/ 0 h 295275"/>
                <a:gd name="connsiteX4" fmla="*/ 0 w 438150"/>
                <a:gd name="connsiteY4" fmla="*/ 295275 h 295275"/>
                <a:gd name="connsiteX5" fmla="*/ 123825 w 438150"/>
                <a:gd name="connsiteY5" fmla="*/ 295275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8150" h="295275">
                  <a:moveTo>
                    <a:pt x="314325" y="295275"/>
                  </a:moveTo>
                  <a:lnTo>
                    <a:pt x="438150" y="295275"/>
                  </a:lnTo>
                  <a:lnTo>
                    <a:pt x="438150" y="0"/>
                  </a:lnTo>
                  <a:lnTo>
                    <a:pt x="0" y="0"/>
                  </a:lnTo>
                  <a:lnTo>
                    <a:pt x="0" y="295275"/>
                  </a:lnTo>
                  <a:lnTo>
                    <a:pt x="123825" y="295275"/>
                  </a:lnTo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orma Livre: Forma 57">
              <a:extLst>
                <a:ext uri="{FF2B5EF4-FFF2-40B4-BE49-F238E27FC236}">
                  <a16:creationId xmlns:a16="http://schemas.microsoft.com/office/drawing/2014/main" id="{6EC18D43-1FBB-9E60-286A-7A8883260A82}"/>
                </a:ext>
              </a:extLst>
            </p:cNvPr>
            <p:cNvSpPr/>
            <p:nvPr/>
          </p:nvSpPr>
          <p:spPr>
            <a:xfrm>
              <a:off x="12864325" y="1312589"/>
              <a:ext cx="152400" cy="9525"/>
            </a:xfrm>
            <a:custGeom>
              <a:avLst/>
              <a:gdLst>
                <a:gd name="connsiteX0" fmla="*/ 0 w 152400"/>
                <a:gd name="connsiteY0" fmla="*/ 0 h 0"/>
                <a:gd name="connsiteX1" fmla="*/ 152400 w 1524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2400">
                  <a:moveTo>
                    <a:pt x="0" y="0"/>
                  </a:moveTo>
                  <a:lnTo>
                    <a:pt x="152400" y="0"/>
                  </a:lnTo>
                </a:path>
              </a:pathLst>
            </a:custGeom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orma Livre: Forma 58">
              <a:extLst>
                <a:ext uri="{FF2B5EF4-FFF2-40B4-BE49-F238E27FC236}">
                  <a16:creationId xmlns:a16="http://schemas.microsoft.com/office/drawing/2014/main" id="{41D7BB69-1A72-7F92-904F-9FB956BDFF62}"/>
                </a:ext>
              </a:extLst>
            </p:cNvPr>
            <p:cNvSpPr/>
            <p:nvPr/>
          </p:nvSpPr>
          <p:spPr>
            <a:xfrm>
              <a:off x="12892900" y="1350689"/>
              <a:ext cx="95250" cy="9525"/>
            </a:xfrm>
            <a:custGeom>
              <a:avLst/>
              <a:gdLst>
                <a:gd name="connsiteX0" fmla="*/ 0 w 95250"/>
                <a:gd name="connsiteY0" fmla="*/ 0 h 0"/>
                <a:gd name="connsiteX1" fmla="*/ 95250 w 9525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0">
                  <a:moveTo>
                    <a:pt x="0" y="0"/>
                  </a:moveTo>
                  <a:lnTo>
                    <a:pt x="95250" y="0"/>
                  </a:lnTo>
                </a:path>
              </a:pathLst>
            </a:custGeom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orma Livre: Forma 59">
              <a:extLst>
                <a:ext uri="{FF2B5EF4-FFF2-40B4-BE49-F238E27FC236}">
                  <a16:creationId xmlns:a16="http://schemas.microsoft.com/office/drawing/2014/main" id="{8F9D906F-8585-27F8-B69F-78B7204C602B}"/>
                </a:ext>
              </a:extLst>
            </p:cNvPr>
            <p:cNvSpPr/>
            <p:nvPr/>
          </p:nvSpPr>
          <p:spPr>
            <a:xfrm>
              <a:off x="12759550" y="1274489"/>
              <a:ext cx="38100" cy="38100"/>
            </a:xfrm>
            <a:custGeom>
              <a:avLst/>
              <a:gdLst>
                <a:gd name="connsiteX0" fmla="*/ 0 w 38100"/>
                <a:gd name="connsiteY0" fmla="*/ 38100 h 38100"/>
                <a:gd name="connsiteX1" fmla="*/ 0 w 38100"/>
                <a:gd name="connsiteY1" fmla="*/ 0 h 38100"/>
                <a:gd name="connsiteX2" fmla="*/ 38100 w 38100"/>
                <a:gd name="connsiteY2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100" h="38100">
                  <a:moveTo>
                    <a:pt x="0" y="38100"/>
                  </a:moveTo>
                  <a:lnTo>
                    <a:pt x="0" y="0"/>
                  </a:lnTo>
                  <a:lnTo>
                    <a:pt x="38100" y="0"/>
                  </a:lnTo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orma Livre: Forma 60">
              <a:extLst>
                <a:ext uri="{FF2B5EF4-FFF2-40B4-BE49-F238E27FC236}">
                  <a16:creationId xmlns:a16="http://schemas.microsoft.com/office/drawing/2014/main" id="{0470B03C-DFDB-820F-AB50-00BE57F846A3}"/>
                </a:ext>
              </a:extLst>
            </p:cNvPr>
            <p:cNvSpPr/>
            <p:nvPr/>
          </p:nvSpPr>
          <p:spPr>
            <a:xfrm>
              <a:off x="13083400" y="1274489"/>
              <a:ext cx="38100" cy="38100"/>
            </a:xfrm>
            <a:custGeom>
              <a:avLst/>
              <a:gdLst>
                <a:gd name="connsiteX0" fmla="*/ 38100 w 38100"/>
                <a:gd name="connsiteY0" fmla="*/ 38100 h 38100"/>
                <a:gd name="connsiteX1" fmla="*/ 38100 w 38100"/>
                <a:gd name="connsiteY1" fmla="*/ 0 h 38100"/>
                <a:gd name="connsiteX2" fmla="*/ 0 w 38100"/>
                <a:gd name="connsiteY2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100" h="38100">
                  <a:moveTo>
                    <a:pt x="38100" y="38100"/>
                  </a:moveTo>
                  <a:lnTo>
                    <a:pt x="38100" y="0"/>
                  </a:lnTo>
                  <a:lnTo>
                    <a:pt x="0" y="0"/>
                  </a:lnTo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orma Livre: Forma 61">
              <a:extLst>
                <a:ext uri="{FF2B5EF4-FFF2-40B4-BE49-F238E27FC236}">
                  <a16:creationId xmlns:a16="http://schemas.microsoft.com/office/drawing/2014/main" id="{1120F2D2-3E61-B428-938E-6C8E4FE6CFDB}"/>
                </a:ext>
              </a:extLst>
            </p:cNvPr>
            <p:cNvSpPr/>
            <p:nvPr/>
          </p:nvSpPr>
          <p:spPr>
            <a:xfrm>
              <a:off x="12759550" y="1455464"/>
              <a:ext cx="38100" cy="38100"/>
            </a:xfrm>
            <a:custGeom>
              <a:avLst/>
              <a:gdLst>
                <a:gd name="connsiteX0" fmla="*/ 0 w 38100"/>
                <a:gd name="connsiteY0" fmla="*/ 0 h 38100"/>
                <a:gd name="connsiteX1" fmla="*/ 0 w 38100"/>
                <a:gd name="connsiteY1" fmla="*/ 38100 h 38100"/>
                <a:gd name="connsiteX2" fmla="*/ 38100 w 38100"/>
                <a:gd name="connsiteY2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100" h="38100">
                  <a:moveTo>
                    <a:pt x="0" y="0"/>
                  </a:moveTo>
                  <a:lnTo>
                    <a:pt x="0" y="38100"/>
                  </a:lnTo>
                  <a:lnTo>
                    <a:pt x="38100" y="38100"/>
                  </a:lnTo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orma Livre: Forma 62">
              <a:extLst>
                <a:ext uri="{FF2B5EF4-FFF2-40B4-BE49-F238E27FC236}">
                  <a16:creationId xmlns:a16="http://schemas.microsoft.com/office/drawing/2014/main" id="{FE175DD3-F230-1A90-A4F2-89A6863A73D4}"/>
                </a:ext>
              </a:extLst>
            </p:cNvPr>
            <p:cNvSpPr/>
            <p:nvPr/>
          </p:nvSpPr>
          <p:spPr>
            <a:xfrm>
              <a:off x="13083400" y="1455464"/>
              <a:ext cx="38100" cy="38100"/>
            </a:xfrm>
            <a:custGeom>
              <a:avLst/>
              <a:gdLst>
                <a:gd name="connsiteX0" fmla="*/ 38100 w 38100"/>
                <a:gd name="connsiteY0" fmla="*/ 0 h 38100"/>
                <a:gd name="connsiteX1" fmla="*/ 38100 w 38100"/>
                <a:gd name="connsiteY1" fmla="*/ 38100 h 38100"/>
                <a:gd name="connsiteX2" fmla="*/ 0 w 38100"/>
                <a:gd name="connsiteY2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100" h="38100">
                  <a:moveTo>
                    <a:pt x="38100" y="0"/>
                  </a:moveTo>
                  <a:lnTo>
                    <a:pt x="38100" y="38100"/>
                  </a:lnTo>
                  <a:lnTo>
                    <a:pt x="0" y="38100"/>
                  </a:lnTo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4" name="Forma Livre: Forma 1343">
              <a:extLst>
                <a:ext uri="{FF2B5EF4-FFF2-40B4-BE49-F238E27FC236}">
                  <a16:creationId xmlns:a16="http://schemas.microsoft.com/office/drawing/2014/main" id="{5C9EFD97-C4E9-3A53-2C94-1E40C0B57B84}"/>
                </a:ext>
              </a:extLst>
            </p:cNvPr>
            <p:cNvSpPr/>
            <p:nvPr/>
          </p:nvSpPr>
          <p:spPr>
            <a:xfrm>
              <a:off x="12892900" y="1436414"/>
              <a:ext cx="95250" cy="85725"/>
            </a:xfrm>
            <a:custGeom>
              <a:avLst/>
              <a:gdLst>
                <a:gd name="connsiteX0" fmla="*/ 47625 w 95250"/>
                <a:gd name="connsiteY0" fmla="*/ 0 h 85725"/>
                <a:gd name="connsiteX1" fmla="*/ 63246 w 95250"/>
                <a:gd name="connsiteY1" fmla="*/ 28861 h 85725"/>
                <a:gd name="connsiteX2" fmla="*/ 95250 w 95250"/>
                <a:gd name="connsiteY2" fmla="*/ 32766 h 85725"/>
                <a:gd name="connsiteX3" fmla="*/ 72866 w 95250"/>
                <a:gd name="connsiteY3" fmla="*/ 56864 h 85725"/>
                <a:gd name="connsiteX4" fmla="*/ 77057 w 95250"/>
                <a:gd name="connsiteY4" fmla="*/ 85725 h 85725"/>
                <a:gd name="connsiteX5" fmla="*/ 47625 w 95250"/>
                <a:gd name="connsiteY5" fmla="*/ 74200 h 85725"/>
                <a:gd name="connsiteX6" fmla="*/ 18193 w 95250"/>
                <a:gd name="connsiteY6" fmla="*/ 85725 h 85725"/>
                <a:gd name="connsiteX7" fmla="*/ 22384 w 95250"/>
                <a:gd name="connsiteY7" fmla="*/ 56864 h 85725"/>
                <a:gd name="connsiteX8" fmla="*/ 0 w 95250"/>
                <a:gd name="connsiteY8" fmla="*/ 32766 h 85725"/>
                <a:gd name="connsiteX9" fmla="*/ 32004 w 95250"/>
                <a:gd name="connsiteY9" fmla="*/ 28861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5250" h="85725">
                  <a:moveTo>
                    <a:pt x="47625" y="0"/>
                  </a:moveTo>
                  <a:lnTo>
                    <a:pt x="63246" y="28861"/>
                  </a:lnTo>
                  <a:lnTo>
                    <a:pt x="95250" y="32766"/>
                  </a:lnTo>
                  <a:lnTo>
                    <a:pt x="72866" y="56864"/>
                  </a:lnTo>
                  <a:lnTo>
                    <a:pt x="77057" y="85725"/>
                  </a:lnTo>
                  <a:lnTo>
                    <a:pt x="47625" y="74200"/>
                  </a:lnTo>
                  <a:lnTo>
                    <a:pt x="18193" y="85725"/>
                  </a:lnTo>
                  <a:lnTo>
                    <a:pt x="22384" y="56864"/>
                  </a:lnTo>
                  <a:lnTo>
                    <a:pt x="0" y="32766"/>
                  </a:lnTo>
                  <a:lnTo>
                    <a:pt x="32004" y="28861"/>
                  </a:lnTo>
                  <a:close/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345" name="CaixaDeTexto 1344">
            <a:extLst>
              <a:ext uri="{FF2B5EF4-FFF2-40B4-BE49-F238E27FC236}">
                <a16:creationId xmlns:a16="http://schemas.microsoft.com/office/drawing/2014/main" id="{213EED02-37ED-2AB7-6ED8-3E89A5FC38A6}"/>
              </a:ext>
            </a:extLst>
          </p:cNvPr>
          <p:cNvSpPr txBox="1"/>
          <p:nvPr/>
        </p:nvSpPr>
        <p:spPr>
          <a:xfrm>
            <a:off x="4794428" y="3139805"/>
            <a:ext cx="96592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165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Certificador</a:t>
            </a:r>
          </a:p>
        </p:txBody>
      </p:sp>
      <p:grpSp>
        <p:nvGrpSpPr>
          <p:cNvPr id="1346" name="Agrupar 1345">
            <a:extLst>
              <a:ext uri="{FF2B5EF4-FFF2-40B4-BE49-F238E27FC236}">
                <a16:creationId xmlns:a16="http://schemas.microsoft.com/office/drawing/2014/main" id="{61FC6756-6501-2447-99BB-0FF044518663}"/>
              </a:ext>
            </a:extLst>
          </p:cNvPr>
          <p:cNvGrpSpPr/>
          <p:nvPr/>
        </p:nvGrpSpPr>
        <p:grpSpPr>
          <a:xfrm>
            <a:off x="3101749" y="2767508"/>
            <a:ext cx="742761" cy="657760"/>
            <a:chOff x="3090799" y="2954355"/>
            <a:chExt cx="742761" cy="657760"/>
          </a:xfrm>
        </p:grpSpPr>
        <p:sp>
          <p:nvSpPr>
            <p:cNvPr id="1348" name="Forma">
              <a:extLst>
                <a:ext uri="{FF2B5EF4-FFF2-40B4-BE49-F238E27FC236}">
                  <a16:creationId xmlns:a16="http://schemas.microsoft.com/office/drawing/2014/main" id="{88F26277-EDE6-058B-ECAC-DF5DBD92A18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96501" y="3013368"/>
              <a:ext cx="307781" cy="252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62" y="21417"/>
                  </a:moveTo>
                  <a:cubicBezTo>
                    <a:pt x="21554" y="21295"/>
                    <a:pt x="21600" y="21160"/>
                    <a:pt x="21600" y="21009"/>
                  </a:cubicBezTo>
                  <a:cubicBezTo>
                    <a:pt x="21600" y="20841"/>
                    <a:pt x="21554" y="20696"/>
                    <a:pt x="21462" y="20573"/>
                  </a:cubicBezTo>
                  <a:cubicBezTo>
                    <a:pt x="21370" y="20452"/>
                    <a:pt x="21255" y="20391"/>
                    <a:pt x="21116" y="20391"/>
                  </a:cubicBezTo>
                  <a:lnTo>
                    <a:pt x="484" y="20391"/>
                  </a:lnTo>
                  <a:cubicBezTo>
                    <a:pt x="345" y="20391"/>
                    <a:pt x="230" y="20452"/>
                    <a:pt x="138" y="20573"/>
                  </a:cubicBezTo>
                  <a:cubicBezTo>
                    <a:pt x="46" y="20696"/>
                    <a:pt x="0" y="20841"/>
                    <a:pt x="0" y="21009"/>
                  </a:cubicBezTo>
                  <a:cubicBezTo>
                    <a:pt x="0" y="21160"/>
                    <a:pt x="46" y="21295"/>
                    <a:pt x="138" y="21417"/>
                  </a:cubicBezTo>
                  <a:cubicBezTo>
                    <a:pt x="230" y="21539"/>
                    <a:pt x="345" y="21600"/>
                    <a:pt x="484" y="21600"/>
                  </a:cubicBezTo>
                  <a:lnTo>
                    <a:pt x="21116" y="21600"/>
                  </a:lnTo>
                  <a:lnTo>
                    <a:pt x="21116" y="21600"/>
                  </a:lnTo>
                  <a:lnTo>
                    <a:pt x="21116" y="21600"/>
                  </a:lnTo>
                  <a:cubicBezTo>
                    <a:pt x="21255" y="21600"/>
                    <a:pt x="21370" y="21539"/>
                    <a:pt x="21462" y="21417"/>
                  </a:cubicBezTo>
                  <a:lnTo>
                    <a:pt x="21462" y="21417"/>
                  </a:lnTo>
                  <a:close/>
                  <a:moveTo>
                    <a:pt x="19643" y="15609"/>
                  </a:moveTo>
                  <a:lnTo>
                    <a:pt x="1957" y="15609"/>
                  </a:lnTo>
                  <a:lnTo>
                    <a:pt x="1957" y="1209"/>
                  </a:lnTo>
                  <a:lnTo>
                    <a:pt x="19643" y="1209"/>
                  </a:lnTo>
                  <a:lnTo>
                    <a:pt x="19643" y="15609"/>
                  </a:lnTo>
                  <a:lnTo>
                    <a:pt x="19643" y="15609"/>
                  </a:lnTo>
                  <a:close/>
                  <a:moveTo>
                    <a:pt x="1957" y="0"/>
                  </a:moveTo>
                  <a:cubicBezTo>
                    <a:pt x="1681" y="0"/>
                    <a:pt x="1447" y="117"/>
                    <a:pt x="1255" y="352"/>
                  </a:cubicBezTo>
                  <a:cubicBezTo>
                    <a:pt x="1063" y="586"/>
                    <a:pt x="967" y="872"/>
                    <a:pt x="967" y="1209"/>
                  </a:cubicBezTo>
                  <a:lnTo>
                    <a:pt x="967" y="15609"/>
                  </a:lnTo>
                  <a:cubicBezTo>
                    <a:pt x="967" y="15928"/>
                    <a:pt x="1063" y="16205"/>
                    <a:pt x="1255" y="16439"/>
                  </a:cubicBezTo>
                  <a:cubicBezTo>
                    <a:pt x="1447" y="16674"/>
                    <a:pt x="1681" y="16791"/>
                    <a:pt x="1957" y="16791"/>
                  </a:cubicBezTo>
                  <a:lnTo>
                    <a:pt x="19643" y="16791"/>
                  </a:lnTo>
                  <a:cubicBezTo>
                    <a:pt x="19919" y="16791"/>
                    <a:pt x="20153" y="16674"/>
                    <a:pt x="20345" y="16439"/>
                  </a:cubicBezTo>
                  <a:cubicBezTo>
                    <a:pt x="20537" y="16205"/>
                    <a:pt x="20633" y="15928"/>
                    <a:pt x="20633" y="15609"/>
                  </a:cubicBezTo>
                  <a:lnTo>
                    <a:pt x="20633" y="1209"/>
                  </a:lnTo>
                  <a:cubicBezTo>
                    <a:pt x="20633" y="872"/>
                    <a:pt x="20537" y="586"/>
                    <a:pt x="20345" y="352"/>
                  </a:cubicBezTo>
                  <a:cubicBezTo>
                    <a:pt x="20153" y="117"/>
                    <a:pt x="19919" y="0"/>
                    <a:pt x="19643" y="0"/>
                  </a:cubicBezTo>
                  <a:lnTo>
                    <a:pt x="1957" y="0"/>
                  </a:lnTo>
                  <a:lnTo>
                    <a:pt x="1957" y="0"/>
                  </a:lnTo>
                  <a:close/>
                  <a:moveTo>
                    <a:pt x="15221" y="2391"/>
                  </a:moveTo>
                  <a:cubicBezTo>
                    <a:pt x="15359" y="2391"/>
                    <a:pt x="15475" y="2452"/>
                    <a:pt x="15567" y="2573"/>
                  </a:cubicBezTo>
                  <a:cubicBezTo>
                    <a:pt x="15659" y="2696"/>
                    <a:pt x="15705" y="2841"/>
                    <a:pt x="15705" y="3009"/>
                  </a:cubicBezTo>
                  <a:lnTo>
                    <a:pt x="15705" y="4191"/>
                  </a:lnTo>
                  <a:cubicBezTo>
                    <a:pt x="15705" y="4359"/>
                    <a:pt x="15659" y="4505"/>
                    <a:pt x="15567" y="4627"/>
                  </a:cubicBezTo>
                  <a:cubicBezTo>
                    <a:pt x="15475" y="4749"/>
                    <a:pt x="15359" y="4809"/>
                    <a:pt x="15221" y="4809"/>
                  </a:cubicBezTo>
                  <a:lnTo>
                    <a:pt x="14231" y="4809"/>
                  </a:lnTo>
                  <a:cubicBezTo>
                    <a:pt x="14108" y="4809"/>
                    <a:pt x="13997" y="4749"/>
                    <a:pt x="13897" y="4627"/>
                  </a:cubicBezTo>
                  <a:cubicBezTo>
                    <a:pt x="13797" y="4505"/>
                    <a:pt x="13748" y="4359"/>
                    <a:pt x="13748" y="4191"/>
                  </a:cubicBezTo>
                  <a:lnTo>
                    <a:pt x="13748" y="3009"/>
                  </a:lnTo>
                  <a:cubicBezTo>
                    <a:pt x="13748" y="2841"/>
                    <a:pt x="13797" y="2696"/>
                    <a:pt x="13897" y="2573"/>
                  </a:cubicBezTo>
                  <a:cubicBezTo>
                    <a:pt x="13997" y="2452"/>
                    <a:pt x="14108" y="2391"/>
                    <a:pt x="14231" y="2391"/>
                  </a:cubicBezTo>
                  <a:lnTo>
                    <a:pt x="15221" y="2391"/>
                  </a:lnTo>
                  <a:lnTo>
                    <a:pt x="15221" y="2391"/>
                  </a:lnTo>
                  <a:lnTo>
                    <a:pt x="15221" y="2391"/>
                  </a:lnTo>
                  <a:close/>
                  <a:moveTo>
                    <a:pt x="18169" y="2391"/>
                  </a:moveTo>
                  <a:cubicBezTo>
                    <a:pt x="18307" y="2391"/>
                    <a:pt x="18422" y="2452"/>
                    <a:pt x="18514" y="2573"/>
                  </a:cubicBezTo>
                  <a:cubicBezTo>
                    <a:pt x="18606" y="2696"/>
                    <a:pt x="18652" y="2841"/>
                    <a:pt x="18652" y="3009"/>
                  </a:cubicBezTo>
                  <a:lnTo>
                    <a:pt x="18652" y="4191"/>
                  </a:lnTo>
                  <a:cubicBezTo>
                    <a:pt x="18652" y="4359"/>
                    <a:pt x="18606" y="4505"/>
                    <a:pt x="18514" y="4627"/>
                  </a:cubicBezTo>
                  <a:cubicBezTo>
                    <a:pt x="18422" y="4749"/>
                    <a:pt x="18307" y="4809"/>
                    <a:pt x="18169" y="4809"/>
                  </a:cubicBezTo>
                  <a:lnTo>
                    <a:pt x="17179" y="4809"/>
                  </a:lnTo>
                  <a:cubicBezTo>
                    <a:pt x="17056" y="4809"/>
                    <a:pt x="16944" y="4749"/>
                    <a:pt x="16845" y="4627"/>
                  </a:cubicBezTo>
                  <a:cubicBezTo>
                    <a:pt x="16745" y="4505"/>
                    <a:pt x="16695" y="4359"/>
                    <a:pt x="16695" y="4191"/>
                  </a:cubicBezTo>
                  <a:lnTo>
                    <a:pt x="16695" y="3009"/>
                  </a:lnTo>
                  <a:cubicBezTo>
                    <a:pt x="16695" y="2841"/>
                    <a:pt x="16745" y="2696"/>
                    <a:pt x="16845" y="2573"/>
                  </a:cubicBezTo>
                  <a:cubicBezTo>
                    <a:pt x="16944" y="2452"/>
                    <a:pt x="17056" y="2391"/>
                    <a:pt x="17179" y="2391"/>
                  </a:cubicBezTo>
                  <a:lnTo>
                    <a:pt x="18169" y="2391"/>
                  </a:lnTo>
                  <a:lnTo>
                    <a:pt x="18169" y="2391"/>
                  </a:lnTo>
                  <a:lnTo>
                    <a:pt x="18169" y="2391"/>
                  </a:lnTo>
                  <a:close/>
                  <a:moveTo>
                    <a:pt x="15221" y="5991"/>
                  </a:moveTo>
                  <a:cubicBezTo>
                    <a:pt x="15359" y="5991"/>
                    <a:pt x="15475" y="6052"/>
                    <a:pt x="15567" y="6173"/>
                  </a:cubicBezTo>
                  <a:cubicBezTo>
                    <a:pt x="15659" y="6296"/>
                    <a:pt x="15705" y="6441"/>
                    <a:pt x="15705" y="6609"/>
                  </a:cubicBezTo>
                  <a:lnTo>
                    <a:pt x="15705" y="7791"/>
                  </a:lnTo>
                  <a:cubicBezTo>
                    <a:pt x="15705" y="7959"/>
                    <a:pt x="15659" y="8105"/>
                    <a:pt x="15567" y="8227"/>
                  </a:cubicBezTo>
                  <a:cubicBezTo>
                    <a:pt x="15475" y="8349"/>
                    <a:pt x="15359" y="8409"/>
                    <a:pt x="15221" y="8409"/>
                  </a:cubicBezTo>
                  <a:lnTo>
                    <a:pt x="14231" y="8409"/>
                  </a:lnTo>
                  <a:cubicBezTo>
                    <a:pt x="14108" y="8409"/>
                    <a:pt x="13997" y="8349"/>
                    <a:pt x="13897" y="8227"/>
                  </a:cubicBezTo>
                  <a:cubicBezTo>
                    <a:pt x="13797" y="8105"/>
                    <a:pt x="13748" y="7959"/>
                    <a:pt x="13748" y="7791"/>
                  </a:cubicBezTo>
                  <a:lnTo>
                    <a:pt x="13748" y="6609"/>
                  </a:lnTo>
                  <a:cubicBezTo>
                    <a:pt x="13748" y="6441"/>
                    <a:pt x="13797" y="6296"/>
                    <a:pt x="13897" y="6173"/>
                  </a:cubicBezTo>
                  <a:cubicBezTo>
                    <a:pt x="13997" y="6052"/>
                    <a:pt x="14108" y="5991"/>
                    <a:pt x="14231" y="5991"/>
                  </a:cubicBezTo>
                  <a:lnTo>
                    <a:pt x="15221" y="5991"/>
                  </a:lnTo>
                  <a:lnTo>
                    <a:pt x="15221" y="5991"/>
                  </a:lnTo>
                  <a:lnTo>
                    <a:pt x="15221" y="5991"/>
                  </a:lnTo>
                  <a:close/>
                  <a:moveTo>
                    <a:pt x="18169" y="5991"/>
                  </a:moveTo>
                  <a:cubicBezTo>
                    <a:pt x="18307" y="5991"/>
                    <a:pt x="18422" y="6052"/>
                    <a:pt x="18514" y="6173"/>
                  </a:cubicBezTo>
                  <a:cubicBezTo>
                    <a:pt x="18606" y="6296"/>
                    <a:pt x="18652" y="6441"/>
                    <a:pt x="18652" y="6609"/>
                  </a:cubicBezTo>
                  <a:lnTo>
                    <a:pt x="18652" y="7791"/>
                  </a:lnTo>
                  <a:cubicBezTo>
                    <a:pt x="18652" y="7959"/>
                    <a:pt x="18606" y="8105"/>
                    <a:pt x="18514" y="8227"/>
                  </a:cubicBezTo>
                  <a:cubicBezTo>
                    <a:pt x="18422" y="8349"/>
                    <a:pt x="18307" y="8409"/>
                    <a:pt x="18169" y="8409"/>
                  </a:cubicBezTo>
                  <a:lnTo>
                    <a:pt x="17179" y="8409"/>
                  </a:lnTo>
                  <a:cubicBezTo>
                    <a:pt x="17056" y="8409"/>
                    <a:pt x="16944" y="8349"/>
                    <a:pt x="16845" y="8227"/>
                  </a:cubicBezTo>
                  <a:cubicBezTo>
                    <a:pt x="16745" y="8105"/>
                    <a:pt x="16695" y="7959"/>
                    <a:pt x="16695" y="7791"/>
                  </a:cubicBezTo>
                  <a:lnTo>
                    <a:pt x="16695" y="6609"/>
                  </a:lnTo>
                  <a:cubicBezTo>
                    <a:pt x="16695" y="6441"/>
                    <a:pt x="16745" y="6296"/>
                    <a:pt x="16845" y="6173"/>
                  </a:cubicBezTo>
                  <a:cubicBezTo>
                    <a:pt x="16944" y="6052"/>
                    <a:pt x="17056" y="5991"/>
                    <a:pt x="17179" y="5991"/>
                  </a:cubicBezTo>
                  <a:lnTo>
                    <a:pt x="18169" y="5991"/>
                  </a:lnTo>
                  <a:lnTo>
                    <a:pt x="18169" y="5991"/>
                  </a:lnTo>
                  <a:lnTo>
                    <a:pt x="18169" y="5991"/>
                  </a:lnTo>
                  <a:close/>
                  <a:moveTo>
                    <a:pt x="18169" y="9591"/>
                  </a:moveTo>
                  <a:cubicBezTo>
                    <a:pt x="18307" y="9591"/>
                    <a:pt x="18422" y="9652"/>
                    <a:pt x="18514" y="9773"/>
                  </a:cubicBezTo>
                  <a:cubicBezTo>
                    <a:pt x="18606" y="9896"/>
                    <a:pt x="18652" y="10041"/>
                    <a:pt x="18652" y="10209"/>
                  </a:cubicBezTo>
                  <a:lnTo>
                    <a:pt x="18652" y="11391"/>
                  </a:lnTo>
                  <a:cubicBezTo>
                    <a:pt x="18652" y="11559"/>
                    <a:pt x="18606" y="11705"/>
                    <a:pt x="18514" y="11827"/>
                  </a:cubicBezTo>
                  <a:cubicBezTo>
                    <a:pt x="18422" y="11949"/>
                    <a:pt x="18307" y="12009"/>
                    <a:pt x="18169" y="12009"/>
                  </a:cubicBezTo>
                  <a:lnTo>
                    <a:pt x="17179" y="12009"/>
                  </a:lnTo>
                  <a:cubicBezTo>
                    <a:pt x="17056" y="12009"/>
                    <a:pt x="16944" y="11949"/>
                    <a:pt x="16845" y="11827"/>
                  </a:cubicBezTo>
                  <a:cubicBezTo>
                    <a:pt x="16745" y="11705"/>
                    <a:pt x="16695" y="11559"/>
                    <a:pt x="16695" y="11391"/>
                  </a:cubicBezTo>
                  <a:lnTo>
                    <a:pt x="16695" y="10209"/>
                  </a:lnTo>
                  <a:cubicBezTo>
                    <a:pt x="16695" y="10041"/>
                    <a:pt x="16745" y="9896"/>
                    <a:pt x="16845" y="9773"/>
                  </a:cubicBezTo>
                  <a:cubicBezTo>
                    <a:pt x="16944" y="9652"/>
                    <a:pt x="17056" y="9591"/>
                    <a:pt x="17179" y="9591"/>
                  </a:cubicBezTo>
                  <a:lnTo>
                    <a:pt x="18169" y="9591"/>
                  </a:lnTo>
                  <a:lnTo>
                    <a:pt x="18169" y="9591"/>
                  </a:lnTo>
                  <a:lnTo>
                    <a:pt x="18169" y="9591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miter lim="400000"/>
            </a:ln>
          </p:spPr>
          <p:txBody>
            <a:bodyPr lIns="27428" tIns="27428" rIns="27428" bIns="27428" anchor="ctr"/>
            <a:lstStyle/>
            <a:p>
              <a:pPr marL="0" marR="0" lvl="0" indent="0" algn="l" defTabSz="3291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b="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lang="pt-BR" sz="1296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sym typeface="Gill Sans"/>
              </a:endParaRPr>
            </a:p>
          </p:txBody>
        </p:sp>
        <p:sp>
          <p:nvSpPr>
            <p:cNvPr id="1349" name="Forma">
              <a:extLst>
                <a:ext uri="{FF2B5EF4-FFF2-40B4-BE49-F238E27FC236}">
                  <a16:creationId xmlns:a16="http://schemas.microsoft.com/office/drawing/2014/main" id="{514440C9-729D-31AB-AE39-155137A8911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47054" y="2954355"/>
              <a:ext cx="180055" cy="180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89" h="21600" extrusionOk="0">
                  <a:moveTo>
                    <a:pt x="21260" y="2520"/>
                  </a:moveTo>
                  <a:cubicBezTo>
                    <a:pt x="21041" y="2106"/>
                    <a:pt x="20720" y="1688"/>
                    <a:pt x="20299" y="1266"/>
                  </a:cubicBezTo>
                  <a:cubicBezTo>
                    <a:pt x="19877" y="844"/>
                    <a:pt x="19459" y="528"/>
                    <a:pt x="19046" y="317"/>
                  </a:cubicBezTo>
                  <a:cubicBezTo>
                    <a:pt x="18633" y="106"/>
                    <a:pt x="18224" y="0"/>
                    <a:pt x="17819" y="0"/>
                  </a:cubicBezTo>
                  <a:cubicBezTo>
                    <a:pt x="17448" y="0"/>
                    <a:pt x="17148" y="68"/>
                    <a:pt x="16921" y="203"/>
                  </a:cubicBezTo>
                  <a:cubicBezTo>
                    <a:pt x="16693" y="338"/>
                    <a:pt x="16554" y="439"/>
                    <a:pt x="16503" y="506"/>
                  </a:cubicBezTo>
                  <a:lnTo>
                    <a:pt x="15618" y="1367"/>
                  </a:lnTo>
                  <a:cubicBezTo>
                    <a:pt x="16124" y="1401"/>
                    <a:pt x="16621" y="1545"/>
                    <a:pt x="17110" y="1798"/>
                  </a:cubicBezTo>
                  <a:cubicBezTo>
                    <a:pt x="17600" y="2051"/>
                    <a:pt x="18080" y="2406"/>
                    <a:pt x="18553" y="2861"/>
                  </a:cubicBezTo>
                  <a:cubicBezTo>
                    <a:pt x="18553" y="2878"/>
                    <a:pt x="18561" y="2895"/>
                    <a:pt x="18578" y="2912"/>
                  </a:cubicBezTo>
                  <a:cubicBezTo>
                    <a:pt x="18595" y="2929"/>
                    <a:pt x="18612" y="2937"/>
                    <a:pt x="18629" y="2937"/>
                  </a:cubicBezTo>
                  <a:cubicBezTo>
                    <a:pt x="18645" y="2954"/>
                    <a:pt x="18658" y="2971"/>
                    <a:pt x="18667" y="2988"/>
                  </a:cubicBezTo>
                  <a:cubicBezTo>
                    <a:pt x="18675" y="3005"/>
                    <a:pt x="18688" y="3022"/>
                    <a:pt x="18705" y="3039"/>
                  </a:cubicBezTo>
                  <a:cubicBezTo>
                    <a:pt x="19177" y="3511"/>
                    <a:pt x="19535" y="3992"/>
                    <a:pt x="19780" y="4482"/>
                  </a:cubicBezTo>
                  <a:cubicBezTo>
                    <a:pt x="20024" y="4972"/>
                    <a:pt x="20163" y="5461"/>
                    <a:pt x="20197" y="5951"/>
                  </a:cubicBezTo>
                  <a:lnTo>
                    <a:pt x="21083" y="5090"/>
                  </a:lnTo>
                  <a:cubicBezTo>
                    <a:pt x="21134" y="5023"/>
                    <a:pt x="21230" y="4879"/>
                    <a:pt x="21374" y="4659"/>
                  </a:cubicBezTo>
                  <a:cubicBezTo>
                    <a:pt x="21517" y="4440"/>
                    <a:pt x="21589" y="4136"/>
                    <a:pt x="21589" y="3748"/>
                  </a:cubicBezTo>
                  <a:cubicBezTo>
                    <a:pt x="21589" y="3343"/>
                    <a:pt x="21479" y="2933"/>
                    <a:pt x="21260" y="2520"/>
                  </a:cubicBezTo>
                  <a:lnTo>
                    <a:pt x="21260" y="2520"/>
                  </a:lnTo>
                  <a:close/>
                  <a:moveTo>
                    <a:pt x="17870" y="3722"/>
                  </a:moveTo>
                  <a:cubicBezTo>
                    <a:pt x="17448" y="3301"/>
                    <a:pt x="17030" y="2980"/>
                    <a:pt x="16617" y="2760"/>
                  </a:cubicBezTo>
                  <a:cubicBezTo>
                    <a:pt x="16204" y="2541"/>
                    <a:pt x="15795" y="2431"/>
                    <a:pt x="15390" y="2431"/>
                  </a:cubicBezTo>
                  <a:cubicBezTo>
                    <a:pt x="15002" y="2431"/>
                    <a:pt x="14698" y="2503"/>
                    <a:pt x="14479" y="2646"/>
                  </a:cubicBezTo>
                  <a:cubicBezTo>
                    <a:pt x="14260" y="2790"/>
                    <a:pt x="14116" y="2887"/>
                    <a:pt x="14049" y="2937"/>
                  </a:cubicBezTo>
                  <a:lnTo>
                    <a:pt x="2612" y="14408"/>
                  </a:lnTo>
                  <a:lnTo>
                    <a:pt x="2587" y="14408"/>
                  </a:lnTo>
                  <a:lnTo>
                    <a:pt x="2587" y="14434"/>
                  </a:lnTo>
                  <a:lnTo>
                    <a:pt x="2562" y="14434"/>
                  </a:lnTo>
                  <a:lnTo>
                    <a:pt x="2562" y="14459"/>
                  </a:lnTo>
                  <a:lnTo>
                    <a:pt x="2536" y="14459"/>
                  </a:lnTo>
                  <a:lnTo>
                    <a:pt x="2536" y="14484"/>
                  </a:lnTo>
                  <a:lnTo>
                    <a:pt x="2511" y="14510"/>
                  </a:lnTo>
                  <a:lnTo>
                    <a:pt x="2486" y="14535"/>
                  </a:lnTo>
                  <a:cubicBezTo>
                    <a:pt x="2486" y="14552"/>
                    <a:pt x="2477" y="14560"/>
                    <a:pt x="2460" y="14560"/>
                  </a:cubicBezTo>
                  <a:lnTo>
                    <a:pt x="2460" y="14586"/>
                  </a:lnTo>
                  <a:lnTo>
                    <a:pt x="2435" y="14611"/>
                  </a:lnTo>
                  <a:lnTo>
                    <a:pt x="2435" y="14636"/>
                  </a:lnTo>
                  <a:cubicBezTo>
                    <a:pt x="2418" y="14636"/>
                    <a:pt x="2410" y="14645"/>
                    <a:pt x="2410" y="14662"/>
                  </a:cubicBezTo>
                  <a:lnTo>
                    <a:pt x="2410" y="14687"/>
                  </a:lnTo>
                  <a:lnTo>
                    <a:pt x="2384" y="14687"/>
                  </a:lnTo>
                  <a:lnTo>
                    <a:pt x="2384" y="14712"/>
                  </a:lnTo>
                  <a:lnTo>
                    <a:pt x="2384" y="14738"/>
                  </a:lnTo>
                  <a:lnTo>
                    <a:pt x="2359" y="14738"/>
                  </a:lnTo>
                  <a:lnTo>
                    <a:pt x="82" y="20081"/>
                  </a:lnTo>
                  <a:cubicBezTo>
                    <a:pt x="82" y="20098"/>
                    <a:pt x="78" y="20110"/>
                    <a:pt x="69" y="20119"/>
                  </a:cubicBezTo>
                  <a:cubicBezTo>
                    <a:pt x="61" y="20127"/>
                    <a:pt x="57" y="20140"/>
                    <a:pt x="57" y="20157"/>
                  </a:cubicBezTo>
                  <a:cubicBezTo>
                    <a:pt x="6" y="20309"/>
                    <a:pt x="-11" y="20465"/>
                    <a:pt x="6" y="20625"/>
                  </a:cubicBezTo>
                  <a:cubicBezTo>
                    <a:pt x="23" y="20786"/>
                    <a:pt x="73" y="20933"/>
                    <a:pt x="158" y="21068"/>
                  </a:cubicBezTo>
                  <a:lnTo>
                    <a:pt x="158" y="21094"/>
                  </a:lnTo>
                  <a:lnTo>
                    <a:pt x="183" y="21119"/>
                  </a:lnTo>
                  <a:lnTo>
                    <a:pt x="183" y="21144"/>
                  </a:lnTo>
                  <a:cubicBezTo>
                    <a:pt x="200" y="21144"/>
                    <a:pt x="217" y="21161"/>
                    <a:pt x="234" y="21195"/>
                  </a:cubicBezTo>
                  <a:cubicBezTo>
                    <a:pt x="234" y="21212"/>
                    <a:pt x="238" y="21220"/>
                    <a:pt x="246" y="21220"/>
                  </a:cubicBezTo>
                  <a:cubicBezTo>
                    <a:pt x="255" y="21220"/>
                    <a:pt x="259" y="21229"/>
                    <a:pt x="259" y="21245"/>
                  </a:cubicBezTo>
                  <a:cubicBezTo>
                    <a:pt x="276" y="21245"/>
                    <a:pt x="293" y="21254"/>
                    <a:pt x="310" y="21271"/>
                  </a:cubicBezTo>
                  <a:cubicBezTo>
                    <a:pt x="394" y="21372"/>
                    <a:pt x="495" y="21448"/>
                    <a:pt x="613" y="21499"/>
                  </a:cubicBezTo>
                  <a:cubicBezTo>
                    <a:pt x="731" y="21549"/>
                    <a:pt x="849" y="21583"/>
                    <a:pt x="967" y="21600"/>
                  </a:cubicBezTo>
                  <a:cubicBezTo>
                    <a:pt x="984" y="21600"/>
                    <a:pt x="1001" y="21600"/>
                    <a:pt x="1018" y="21600"/>
                  </a:cubicBezTo>
                  <a:cubicBezTo>
                    <a:pt x="1035" y="21600"/>
                    <a:pt x="1052" y="21600"/>
                    <a:pt x="1069" y="21600"/>
                  </a:cubicBezTo>
                  <a:cubicBezTo>
                    <a:pt x="1136" y="21600"/>
                    <a:pt x="1208" y="21592"/>
                    <a:pt x="1284" y="21575"/>
                  </a:cubicBezTo>
                  <a:cubicBezTo>
                    <a:pt x="1360" y="21558"/>
                    <a:pt x="1431" y="21533"/>
                    <a:pt x="1499" y="21499"/>
                  </a:cubicBezTo>
                  <a:lnTo>
                    <a:pt x="6838" y="19220"/>
                  </a:lnTo>
                  <a:lnTo>
                    <a:pt x="6863" y="19220"/>
                  </a:lnTo>
                  <a:cubicBezTo>
                    <a:pt x="6863" y="19203"/>
                    <a:pt x="6871" y="19194"/>
                    <a:pt x="6888" y="19194"/>
                  </a:cubicBezTo>
                  <a:lnTo>
                    <a:pt x="6914" y="19194"/>
                  </a:lnTo>
                  <a:lnTo>
                    <a:pt x="6914" y="19169"/>
                  </a:lnTo>
                  <a:lnTo>
                    <a:pt x="6939" y="19169"/>
                  </a:lnTo>
                  <a:cubicBezTo>
                    <a:pt x="6955" y="19169"/>
                    <a:pt x="6964" y="19161"/>
                    <a:pt x="6964" y="19144"/>
                  </a:cubicBezTo>
                  <a:lnTo>
                    <a:pt x="6989" y="19144"/>
                  </a:lnTo>
                  <a:cubicBezTo>
                    <a:pt x="6989" y="19127"/>
                    <a:pt x="6998" y="19118"/>
                    <a:pt x="7015" y="19118"/>
                  </a:cubicBezTo>
                  <a:cubicBezTo>
                    <a:pt x="7031" y="19118"/>
                    <a:pt x="7040" y="19110"/>
                    <a:pt x="7040" y="19093"/>
                  </a:cubicBezTo>
                  <a:lnTo>
                    <a:pt x="7065" y="19093"/>
                  </a:lnTo>
                  <a:lnTo>
                    <a:pt x="7065" y="19068"/>
                  </a:lnTo>
                  <a:lnTo>
                    <a:pt x="7091" y="19068"/>
                  </a:lnTo>
                  <a:lnTo>
                    <a:pt x="7116" y="19042"/>
                  </a:lnTo>
                  <a:lnTo>
                    <a:pt x="7141" y="19017"/>
                  </a:lnTo>
                  <a:lnTo>
                    <a:pt x="7167" y="19017"/>
                  </a:lnTo>
                  <a:lnTo>
                    <a:pt x="7167" y="18992"/>
                  </a:lnTo>
                  <a:lnTo>
                    <a:pt x="18629" y="7521"/>
                  </a:lnTo>
                  <a:cubicBezTo>
                    <a:pt x="18679" y="7470"/>
                    <a:pt x="18776" y="7331"/>
                    <a:pt x="18920" y="7103"/>
                  </a:cubicBezTo>
                  <a:cubicBezTo>
                    <a:pt x="19063" y="6875"/>
                    <a:pt x="19135" y="6575"/>
                    <a:pt x="19135" y="6204"/>
                  </a:cubicBezTo>
                  <a:cubicBezTo>
                    <a:pt x="19135" y="5799"/>
                    <a:pt x="19029" y="5390"/>
                    <a:pt x="18818" y="4976"/>
                  </a:cubicBezTo>
                  <a:cubicBezTo>
                    <a:pt x="18607" y="4562"/>
                    <a:pt x="18291" y="4144"/>
                    <a:pt x="17870" y="3722"/>
                  </a:cubicBez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lnTo>
                    <a:pt x="17870" y="3722"/>
                  </a:lnTo>
                  <a:close/>
                  <a:moveTo>
                    <a:pt x="5648" y="15928"/>
                  </a:moveTo>
                  <a:cubicBezTo>
                    <a:pt x="6408" y="16704"/>
                    <a:pt x="6661" y="17472"/>
                    <a:pt x="6408" y="18232"/>
                  </a:cubicBezTo>
                  <a:lnTo>
                    <a:pt x="1069" y="20511"/>
                  </a:lnTo>
                  <a:lnTo>
                    <a:pt x="3042" y="15928"/>
                  </a:lnTo>
                  <a:lnTo>
                    <a:pt x="3371" y="15168"/>
                  </a:lnTo>
                  <a:cubicBezTo>
                    <a:pt x="3557" y="15050"/>
                    <a:pt x="3742" y="14991"/>
                    <a:pt x="3928" y="14991"/>
                  </a:cubicBezTo>
                  <a:cubicBezTo>
                    <a:pt x="4113" y="14991"/>
                    <a:pt x="4349" y="15054"/>
                    <a:pt x="4636" y="15181"/>
                  </a:cubicBezTo>
                  <a:cubicBezTo>
                    <a:pt x="4923" y="15307"/>
                    <a:pt x="5260" y="15557"/>
                    <a:pt x="5648" y="15928"/>
                  </a:cubicBezTo>
                  <a:lnTo>
                    <a:pt x="5648" y="15928"/>
                  </a:lnTo>
                  <a:lnTo>
                    <a:pt x="5648" y="15928"/>
                  </a:lnTo>
                  <a:lnTo>
                    <a:pt x="5648" y="15928"/>
                  </a:lnTo>
                  <a:lnTo>
                    <a:pt x="5648" y="15928"/>
                  </a:lnTo>
                  <a:lnTo>
                    <a:pt x="5648" y="15928"/>
                  </a:lnTo>
                  <a:close/>
                  <a:moveTo>
                    <a:pt x="17110" y="4482"/>
                  </a:moveTo>
                  <a:cubicBezTo>
                    <a:pt x="17870" y="5242"/>
                    <a:pt x="18123" y="6001"/>
                    <a:pt x="17870" y="6761"/>
                  </a:cubicBezTo>
                  <a:lnTo>
                    <a:pt x="7597" y="17042"/>
                  </a:lnTo>
                  <a:cubicBezTo>
                    <a:pt x="7512" y="16738"/>
                    <a:pt x="7373" y="16430"/>
                    <a:pt x="7179" y="16118"/>
                  </a:cubicBezTo>
                  <a:cubicBezTo>
                    <a:pt x="6985" y="15805"/>
                    <a:pt x="6728" y="15489"/>
                    <a:pt x="6408" y="15168"/>
                  </a:cubicBezTo>
                  <a:cubicBezTo>
                    <a:pt x="6104" y="14848"/>
                    <a:pt x="5796" y="14590"/>
                    <a:pt x="5484" y="14396"/>
                  </a:cubicBezTo>
                  <a:cubicBezTo>
                    <a:pt x="5172" y="14202"/>
                    <a:pt x="4855" y="14063"/>
                    <a:pt x="4535" y="13978"/>
                  </a:cubicBezTo>
                  <a:lnTo>
                    <a:pt x="14808" y="3722"/>
                  </a:lnTo>
                  <a:cubicBezTo>
                    <a:pt x="14993" y="3587"/>
                    <a:pt x="15187" y="3520"/>
                    <a:pt x="15390" y="3520"/>
                  </a:cubicBezTo>
                  <a:cubicBezTo>
                    <a:pt x="15575" y="3520"/>
                    <a:pt x="15811" y="3583"/>
                    <a:pt x="16098" y="3710"/>
                  </a:cubicBezTo>
                  <a:cubicBezTo>
                    <a:pt x="16385" y="3836"/>
                    <a:pt x="16722" y="4094"/>
                    <a:pt x="17110" y="4482"/>
                  </a:cubicBezTo>
                  <a:lnTo>
                    <a:pt x="17110" y="4482"/>
                  </a:lnTo>
                  <a:lnTo>
                    <a:pt x="17110" y="4482"/>
                  </a:lnTo>
                  <a:lnTo>
                    <a:pt x="17110" y="4482"/>
                  </a:lnTo>
                  <a:lnTo>
                    <a:pt x="17110" y="448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miter lim="400000"/>
            </a:ln>
          </p:spPr>
          <p:txBody>
            <a:bodyPr lIns="27428" tIns="27428" rIns="27428" bIns="27428" anchor="ctr"/>
            <a:lstStyle/>
            <a:p>
              <a:pPr marL="0" marR="0" lvl="0" indent="0" algn="l" defTabSz="3291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b="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lang="pt-BR" sz="1296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sym typeface="Gill Sans"/>
              </a:endParaRPr>
            </a:p>
          </p:txBody>
        </p:sp>
        <p:sp>
          <p:nvSpPr>
            <p:cNvPr id="1350" name="CaixaDeTexto 1349">
              <a:extLst>
                <a:ext uri="{FF2B5EF4-FFF2-40B4-BE49-F238E27FC236}">
                  <a16:creationId xmlns:a16="http://schemas.microsoft.com/office/drawing/2014/main" id="{C1A19E9F-C870-E752-AEA8-E9CC6E293AC7}"/>
                </a:ext>
              </a:extLst>
            </p:cNvPr>
            <p:cNvSpPr txBox="1"/>
            <p:nvPr/>
          </p:nvSpPr>
          <p:spPr>
            <a:xfrm>
              <a:off x="3090799" y="3242783"/>
              <a:ext cx="74276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3165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 err="1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Templates</a:t>
              </a:r>
              <a:endParaRPr kumimoji="0" lang="pt-BR" sz="9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endParaRPr>
            </a:p>
            <a:p>
              <a:pPr marL="0" marR="0" lvl="0" indent="0" algn="ctr" defTabSz="13165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digitais</a:t>
              </a:r>
            </a:p>
          </p:txBody>
        </p:sp>
      </p:grpSp>
      <p:cxnSp>
        <p:nvCxnSpPr>
          <p:cNvPr id="1351" name="Conector de Seta Reta 1350">
            <a:extLst>
              <a:ext uri="{FF2B5EF4-FFF2-40B4-BE49-F238E27FC236}">
                <a16:creationId xmlns:a16="http://schemas.microsoft.com/office/drawing/2014/main" id="{1F7019BE-8E59-7B3C-9CB5-33314051863B}"/>
              </a:ext>
            </a:extLst>
          </p:cNvPr>
          <p:cNvCxnSpPr>
            <a:cxnSpLocks/>
          </p:cNvCxnSpPr>
          <p:nvPr/>
        </p:nvCxnSpPr>
        <p:spPr>
          <a:xfrm>
            <a:off x="2499911" y="2928248"/>
            <a:ext cx="259007" cy="1876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2" name="Conector de Seta Reta 1351">
            <a:extLst>
              <a:ext uri="{FF2B5EF4-FFF2-40B4-BE49-F238E27FC236}">
                <a16:creationId xmlns:a16="http://schemas.microsoft.com/office/drawing/2014/main" id="{770C4DC6-A024-22A4-6A92-2106CDAEA1D0}"/>
              </a:ext>
            </a:extLst>
          </p:cNvPr>
          <p:cNvCxnSpPr>
            <a:cxnSpLocks/>
          </p:cNvCxnSpPr>
          <p:nvPr/>
        </p:nvCxnSpPr>
        <p:spPr>
          <a:xfrm>
            <a:off x="3732265" y="2945973"/>
            <a:ext cx="459844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3" name="Conector reto 1352">
            <a:extLst>
              <a:ext uri="{FF2B5EF4-FFF2-40B4-BE49-F238E27FC236}">
                <a16:creationId xmlns:a16="http://schemas.microsoft.com/office/drawing/2014/main" id="{64494D7C-D87E-A63E-B983-1B4A13DB6031}"/>
              </a:ext>
            </a:extLst>
          </p:cNvPr>
          <p:cNvCxnSpPr>
            <a:cxnSpLocks/>
          </p:cNvCxnSpPr>
          <p:nvPr/>
        </p:nvCxnSpPr>
        <p:spPr>
          <a:xfrm>
            <a:off x="2275129" y="2569308"/>
            <a:ext cx="203175" cy="5744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54" name="Agrupar 1353">
            <a:extLst>
              <a:ext uri="{FF2B5EF4-FFF2-40B4-BE49-F238E27FC236}">
                <a16:creationId xmlns:a16="http://schemas.microsoft.com/office/drawing/2014/main" id="{CEF0335F-79B5-2890-141A-3C74CFD9CE2F}"/>
              </a:ext>
            </a:extLst>
          </p:cNvPr>
          <p:cNvGrpSpPr>
            <a:grpSpLocks noChangeAspect="1"/>
          </p:cNvGrpSpPr>
          <p:nvPr/>
        </p:nvGrpSpPr>
        <p:grpSpPr>
          <a:xfrm>
            <a:off x="6910549" y="1845908"/>
            <a:ext cx="246331" cy="252000"/>
            <a:chOff x="3593573" y="5931938"/>
            <a:chExt cx="409670" cy="419100"/>
          </a:xfrm>
        </p:grpSpPr>
        <p:sp>
          <p:nvSpPr>
            <p:cNvPr id="1355" name="Forma Livre: Forma 1354">
              <a:extLst>
                <a:ext uri="{FF2B5EF4-FFF2-40B4-BE49-F238E27FC236}">
                  <a16:creationId xmlns:a16="http://schemas.microsoft.com/office/drawing/2014/main" id="{C283B655-4BF2-A021-62B3-4B88A2FDEFE9}"/>
                </a:ext>
              </a:extLst>
            </p:cNvPr>
            <p:cNvSpPr/>
            <p:nvPr/>
          </p:nvSpPr>
          <p:spPr>
            <a:xfrm>
              <a:off x="3593573" y="6122438"/>
              <a:ext cx="400050" cy="228600"/>
            </a:xfrm>
            <a:custGeom>
              <a:avLst/>
              <a:gdLst>
                <a:gd name="connsiteX0" fmla="*/ 263176 w 400050"/>
                <a:gd name="connsiteY0" fmla="*/ 95345 h 228600"/>
                <a:gd name="connsiteX1" fmla="*/ 200025 w 400050"/>
                <a:gd name="connsiteY1" fmla="*/ 114300 h 228600"/>
                <a:gd name="connsiteX2" fmla="*/ 136874 w 400050"/>
                <a:gd name="connsiteY2" fmla="*/ 95250 h 228600"/>
                <a:gd name="connsiteX3" fmla="*/ 0 w 400050"/>
                <a:gd name="connsiteY3" fmla="*/ 0 h 228600"/>
                <a:gd name="connsiteX4" fmla="*/ 0 w 400050"/>
                <a:gd name="connsiteY4" fmla="*/ 200025 h 228600"/>
                <a:gd name="connsiteX5" fmla="*/ 28575 w 400050"/>
                <a:gd name="connsiteY5" fmla="*/ 228600 h 228600"/>
                <a:gd name="connsiteX6" fmla="*/ 371475 w 400050"/>
                <a:gd name="connsiteY6" fmla="*/ 228600 h 228600"/>
                <a:gd name="connsiteX7" fmla="*/ 400050 w 400050"/>
                <a:gd name="connsiteY7" fmla="*/ 200025 h 228600"/>
                <a:gd name="connsiteX8" fmla="*/ 400050 w 400050"/>
                <a:gd name="connsiteY8" fmla="*/ 0 h 228600"/>
                <a:gd name="connsiteX9" fmla="*/ 263176 w 400050"/>
                <a:gd name="connsiteY9" fmla="*/ 95345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0050" h="228600">
                  <a:moveTo>
                    <a:pt x="263176" y="95345"/>
                  </a:moveTo>
                  <a:cubicBezTo>
                    <a:pt x="251650" y="102108"/>
                    <a:pt x="227552" y="114300"/>
                    <a:pt x="200025" y="114300"/>
                  </a:cubicBezTo>
                  <a:cubicBezTo>
                    <a:pt x="172498" y="114300"/>
                    <a:pt x="148400" y="102013"/>
                    <a:pt x="136874" y="95250"/>
                  </a:cubicBezTo>
                  <a:cubicBezTo>
                    <a:pt x="126301" y="89059"/>
                    <a:pt x="0" y="0"/>
                    <a:pt x="0" y="0"/>
                  </a:cubicBezTo>
                  <a:lnTo>
                    <a:pt x="0" y="200025"/>
                  </a:lnTo>
                  <a:cubicBezTo>
                    <a:pt x="0" y="215837"/>
                    <a:pt x="12764" y="228600"/>
                    <a:pt x="28575" y="228600"/>
                  </a:cubicBezTo>
                  <a:lnTo>
                    <a:pt x="371475" y="228600"/>
                  </a:lnTo>
                  <a:cubicBezTo>
                    <a:pt x="387287" y="228600"/>
                    <a:pt x="400050" y="215837"/>
                    <a:pt x="400050" y="200025"/>
                  </a:cubicBezTo>
                  <a:lnTo>
                    <a:pt x="400050" y="0"/>
                  </a:lnTo>
                  <a:cubicBezTo>
                    <a:pt x="400145" y="0"/>
                    <a:pt x="273749" y="89154"/>
                    <a:pt x="263176" y="95345"/>
                  </a:cubicBezTo>
                  <a:close/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6" name="Forma Livre: Forma 1355">
              <a:extLst>
                <a:ext uri="{FF2B5EF4-FFF2-40B4-BE49-F238E27FC236}">
                  <a16:creationId xmlns:a16="http://schemas.microsoft.com/office/drawing/2014/main" id="{DC3F6D8D-59A2-52DC-03B6-7045529B3637}"/>
                </a:ext>
              </a:extLst>
            </p:cNvPr>
            <p:cNvSpPr/>
            <p:nvPr/>
          </p:nvSpPr>
          <p:spPr>
            <a:xfrm>
              <a:off x="3860368" y="6217688"/>
              <a:ext cx="95250" cy="95250"/>
            </a:xfrm>
            <a:custGeom>
              <a:avLst/>
              <a:gdLst>
                <a:gd name="connsiteX0" fmla="*/ 0 w 95250"/>
                <a:gd name="connsiteY0" fmla="*/ 0 h 95250"/>
                <a:gd name="connsiteX1" fmla="*/ 95250 w 95250"/>
                <a:gd name="connsiteY1" fmla="*/ 95250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0" h="95250">
                  <a:moveTo>
                    <a:pt x="0" y="0"/>
                  </a:moveTo>
                  <a:lnTo>
                    <a:pt x="95250" y="95250"/>
                  </a:lnTo>
                </a:path>
              </a:pathLst>
            </a:custGeom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7" name="Forma Livre: Forma 1356">
              <a:extLst>
                <a:ext uri="{FF2B5EF4-FFF2-40B4-BE49-F238E27FC236}">
                  <a16:creationId xmlns:a16="http://schemas.microsoft.com/office/drawing/2014/main" id="{0519BF1A-F739-7487-7230-F13073B0563C}"/>
                </a:ext>
              </a:extLst>
            </p:cNvPr>
            <p:cNvSpPr/>
            <p:nvPr/>
          </p:nvSpPr>
          <p:spPr>
            <a:xfrm>
              <a:off x="3631768" y="6217688"/>
              <a:ext cx="95250" cy="95250"/>
            </a:xfrm>
            <a:custGeom>
              <a:avLst/>
              <a:gdLst>
                <a:gd name="connsiteX0" fmla="*/ 95250 w 95250"/>
                <a:gd name="connsiteY0" fmla="*/ 0 h 95250"/>
                <a:gd name="connsiteX1" fmla="*/ 0 w 95250"/>
                <a:gd name="connsiteY1" fmla="*/ 95250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0" h="95250">
                  <a:moveTo>
                    <a:pt x="95250" y="0"/>
                  </a:moveTo>
                  <a:lnTo>
                    <a:pt x="0" y="95250"/>
                  </a:lnTo>
                </a:path>
              </a:pathLst>
            </a:custGeom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8" name="Forma Livre: Forma 1357">
              <a:extLst>
                <a:ext uri="{FF2B5EF4-FFF2-40B4-BE49-F238E27FC236}">
                  <a16:creationId xmlns:a16="http://schemas.microsoft.com/office/drawing/2014/main" id="{8DFAF4B3-6E06-490A-1550-1E6417CF9473}"/>
                </a:ext>
              </a:extLst>
            </p:cNvPr>
            <p:cNvSpPr/>
            <p:nvPr/>
          </p:nvSpPr>
          <p:spPr>
            <a:xfrm>
              <a:off x="3927138" y="6041856"/>
              <a:ext cx="57150" cy="76200"/>
            </a:xfrm>
            <a:custGeom>
              <a:avLst/>
              <a:gdLst>
                <a:gd name="connsiteX0" fmla="*/ 66580 w 57150"/>
                <a:gd name="connsiteY0" fmla="*/ 80582 h 76200"/>
                <a:gd name="connsiteX1" fmla="*/ 66580 w 57150"/>
                <a:gd name="connsiteY1" fmla="*/ 71057 h 76200"/>
                <a:gd name="connsiteX2" fmla="*/ 52769 w 57150"/>
                <a:gd name="connsiteY2" fmla="*/ 45339 h 76200"/>
                <a:gd name="connsiteX3" fmla="*/ 0 w 57150"/>
                <a:gd name="connsiteY3" fmla="*/ 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" h="76200">
                  <a:moveTo>
                    <a:pt x="66580" y="80582"/>
                  </a:moveTo>
                  <a:lnTo>
                    <a:pt x="66580" y="71057"/>
                  </a:lnTo>
                  <a:cubicBezTo>
                    <a:pt x="66580" y="60103"/>
                    <a:pt x="60865" y="51816"/>
                    <a:pt x="52769" y="45339"/>
                  </a:cubicBezTo>
                  <a:lnTo>
                    <a:pt x="0" y="0"/>
                  </a:lnTo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9" name="Forma Livre: Forma 1358">
              <a:extLst>
                <a:ext uri="{FF2B5EF4-FFF2-40B4-BE49-F238E27FC236}">
                  <a16:creationId xmlns:a16="http://schemas.microsoft.com/office/drawing/2014/main" id="{F82971CE-0B2B-F844-67E8-DF7B2FDCB947}"/>
                </a:ext>
              </a:extLst>
            </p:cNvPr>
            <p:cNvSpPr/>
            <p:nvPr/>
          </p:nvSpPr>
          <p:spPr>
            <a:xfrm>
              <a:off x="3593668" y="6041761"/>
              <a:ext cx="66675" cy="76200"/>
            </a:xfrm>
            <a:custGeom>
              <a:avLst/>
              <a:gdLst>
                <a:gd name="connsiteX0" fmla="*/ 0 w 66675"/>
                <a:gd name="connsiteY0" fmla="*/ 80677 h 76200"/>
                <a:gd name="connsiteX1" fmla="*/ 0 w 66675"/>
                <a:gd name="connsiteY1" fmla="*/ 71152 h 76200"/>
                <a:gd name="connsiteX2" fmla="*/ 13811 w 66675"/>
                <a:gd name="connsiteY2" fmla="*/ 45434 h 76200"/>
                <a:gd name="connsiteX3" fmla="*/ 66675 w 66675"/>
                <a:gd name="connsiteY3" fmla="*/ 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5" h="76200">
                  <a:moveTo>
                    <a:pt x="0" y="80677"/>
                  </a:moveTo>
                  <a:lnTo>
                    <a:pt x="0" y="71152"/>
                  </a:lnTo>
                  <a:cubicBezTo>
                    <a:pt x="0" y="60198"/>
                    <a:pt x="5715" y="51911"/>
                    <a:pt x="13811" y="45434"/>
                  </a:cubicBezTo>
                  <a:lnTo>
                    <a:pt x="66675" y="0"/>
                  </a:lnTo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0" name="Forma Livre: Forma 1359">
              <a:extLst>
                <a:ext uri="{FF2B5EF4-FFF2-40B4-BE49-F238E27FC236}">
                  <a16:creationId xmlns:a16="http://schemas.microsoft.com/office/drawing/2014/main" id="{DF8C7CF1-7EDA-35CE-F8EF-218F2B76AB64}"/>
                </a:ext>
              </a:extLst>
            </p:cNvPr>
            <p:cNvSpPr/>
            <p:nvPr/>
          </p:nvSpPr>
          <p:spPr>
            <a:xfrm>
              <a:off x="3927043" y="5931938"/>
              <a:ext cx="76200" cy="47625"/>
            </a:xfrm>
            <a:custGeom>
              <a:avLst/>
              <a:gdLst>
                <a:gd name="connsiteX0" fmla="*/ 28575 w 76200"/>
                <a:gd name="connsiteY0" fmla="*/ 47625 h 47625"/>
                <a:gd name="connsiteX1" fmla="*/ 76200 w 76200"/>
                <a:gd name="connsiteY1" fmla="*/ 47625 h 47625"/>
                <a:gd name="connsiteX2" fmla="*/ 76200 w 76200"/>
                <a:gd name="connsiteY2" fmla="*/ 38100 h 47625"/>
                <a:gd name="connsiteX3" fmla="*/ 38100 w 76200"/>
                <a:gd name="connsiteY3" fmla="*/ 0 h 47625"/>
                <a:gd name="connsiteX4" fmla="*/ 0 w 76200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7625">
                  <a:moveTo>
                    <a:pt x="28575" y="47625"/>
                  </a:moveTo>
                  <a:lnTo>
                    <a:pt x="76200" y="47625"/>
                  </a:lnTo>
                  <a:lnTo>
                    <a:pt x="76200" y="38100"/>
                  </a:lnTo>
                  <a:cubicBezTo>
                    <a:pt x="76200" y="16193"/>
                    <a:pt x="59150" y="0"/>
                    <a:pt x="38100" y="0"/>
                  </a:cubicBezTo>
                  <a:lnTo>
                    <a:pt x="0" y="0"/>
                  </a:lnTo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1" name="Forma Livre: Forma 1360">
              <a:extLst>
                <a:ext uri="{FF2B5EF4-FFF2-40B4-BE49-F238E27FC236}">
                  <a16:creationId xmlns:a16="http://schemas.microsoft.com/office/drawing/2014/main" id="{A7889F96-95A3-0DE5-5076-7700D34B6E4E}"/>
                </a:ext>
              </a:extLst>
            </p:cNvPr>
            <p:cNvSpPr/>
            <p:nvPr/>
          </p:nvSpPr>
          <p:spPr>
            <a:xfrm>
              <a:off x="3660343" y="5931938"/>
              <a:ext cx="304800" cy="238125"/>
            </a:xfrm>
            <a:custGeom>
              <a:avLst/>
              <a:gdLst>
                <a:gd name="connsiteX0" fmla="*/ 0 w 304800"/>
                <a:gd name="connsiteY0" fmla="*/ 238125 h 238125"/>
                <a:gd name="connsiteX1" fmla="*/ 0 w 304800"/>
                <a:gd name="connsiteY1" fmla="*/ 47625 h 238125"/>
                <a:gd name="connsiteX2" fmla="*/ 47625 w 304800"/>
                <a:gd name="connsiteY2" fmla="*/ 0 h 238125"/>
                <a:gd name="connsiteX3" fmla="*/ 314325 w 304800"/>
                <a:gd name="connsiteY3" fmla="*/ 0 h 238125"/>
                <a:gd name="connsiteX4" fmla="*/ 266700 w 304800"/>
                <a:gd name="connsiteY4" fmla="*/ 47625 h 238125"/>
                <a:gd name="connsiteX5" fmla="*/ 266700 w 304800"/>
                <a:gd name="connsiteY5" fmla="*/ 238125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4800" h="238125">
                  <a:moveTo>
                    <a:pt x="0" y="238125"/>
                  </a:moveTo>
                  <a:lnTo>
                    <a:pt x="0" y="47625"/>
                  </a:lnTo>
                  <a:cubicBezTo>
                    <a:pt x="0" y="21336"/>
                    <a:pt x="21336" y="0"/>
                    <a:pt x="47625" y="0"/>
                  </a:cubicBezTo>
                  <a:lnTo>
                    <a:pt x="314325" y="0"/>
                  </a:lnTo>
                  <a:cubicBezTo>
                    <a:pt x="288036" y="0"/>
                    <a:pt x="266700" y="21336"/>
                    <a:pt x="266700" y="47625"/>
                  </a:cubicBezTo>
                  <a:lnTo>
                    <a:pt x="266700" y="238125"/>
                  </a:lnTo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2" name="Forma Livre: Forma 1361">
              <a:extLst>
                <a:ext uri="{FF2B5EF4-FFF2-40B4-BE49-F238E27FC236}">
                  <a16:creationId xmlns:a16="http://schemas.microsoft.com/office/drawing/2014/main" id="{E01734AB-DEA6-CD8D-B29F-2A8C7EC67C74}"/>
                </a:ext>
              </a:extLst>
            </p:cNvPr>
            <p:cNvSpPr/>
            <p:nvPr/>
          </p:nvSpPr>
          <p:spPr>
            <a:xfrm>
              <a:off x="3717493" y="6017663"/>
              <a:ext cx="152400" cy="9525"/>
            </a:xfrm>
            <a:custGeom>
              <a:avLst/>
              <a:gdLst>
                <a:gd name="connsiteX0" fmla="*/ 0 w 152400"/>
                <a:gd name="connsiteY0" fmla="*/ 0 h 0"/>
                <a:gd name="connsiteX1" fmla="*/ 152400 w 1524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2400">
                  <a:moveTo>
                    <a:pt x="0" y="0"/>
                  </a:moveTo>
                  <a:lnTo>
                    <a:pt x="152400" y="0"/>
                  </a:lnTo>
                </a:path>
              </a:pathLst>
            </a:custGeom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8" name="Forma Livre: Forma 1377">
              <a:extLst>
                <a:ext uri="{FF2B5EF4-FFF2-40B4-BE49-F238E27FC236}">
                  <a16:creationId xmlns:a16="http://schemas.microsoft.com/office/drawing/2014/main" id="{3BBE2565-6591-2431-837F-91766D52DC82}"/>
                </a:ext>
              </a:extLst>
            </p:cNvPr>
            <p:cNvSpPr/>
            <p:nvPr/>
          </p:nvSpPr>
          <p:spPr>
            <a:xfrm>
              <a:off x="3717493" y="6065288"/>
              <a:ext cx="152400" cy="9525"/>
            </a:xfrm>
            <a:custGeom>
              <a:avLst/>
              <a:gdLst>
                <a:gd name="connsiteX0" fmla="*/ 0 w 152400"/>
                <a:gd name="connsiteY0" fmla="*/ 0 h 0"/>
                <a:gd name="connsiteX1" fmla="*/ 152400 w 1524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2400">
                  <a:moveTo>
                    <a:pt x="0" y="0"/>
                  </a:moveTo>
                  <a:lnTo>
                    <a:pt x="152400" y="0"/>
                  </a:lnTo>
                </a:path>
              </a:pathLst>
            </a:custGeom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9" name="Forma Livre: Forma 1378">
              <a:extLst>
                <a:ext uri="{FF2B5EF4-FFF2-40B4-BE49-F238E27FC236}">
                  <a16:creationId xmlns:a16="http://schemas.microsoft.com/office/drawing/2014/main" id="{08A6CAFB-A3C3-72AB-FE41-2839C57F188F}"/>
                </a:ext>
              </a:extLst>
            </p:cNvPr>
            <p:cNvSpPr/>
            <p:nvPr/>
          </p:nvSpPr>
          <p:spPr>
            <a:xfrm>
              <a:off x="3717493" y="6112913"/>
              <a:ext cx="85725" cy="9525"/>
            </a:xfrm>
            <a:custGeom>
              <a:avLst/>
              <a:gdLst>
                <a:gd name="connsiteX0" fmla="*/ 0 w 85725"/>
                <a:gd name="connsiteY0" fmla="*/ 0 h 0"/>
                <a:gd name="connsiteX1" fmla="*/ 93059 w 8572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25">
                  <a:moveTo>
                    <a:pt x="0" y="0"/>
                  </a:moveTo>
                  <a:lnTo>
                    <a:pt x="93059" y="0"/>
                  </a:lnTo>
                </a:path>
              </a:pathLst>
            </a:custGeom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380" name="CaixaDeTexto 1379">
            <a:extLst>
              <a:ext uri="{FF2B5EF4-FFF2-40B4-BE49-F238E27FC236}">
                <a16:creationId xmlns:a16="http://schemas.microsoft.com/office/drawing/2014/main" id="{651A54FD-BB8E-6361-EFD9-42E0FBF8BB0D}"/>
              </a:ext>
            </a:extLst>
          </p:cNvPr>
          <p:cNvSpPr txBox="1"/>
          <p:nvPr/>
        </p:nvSpPr>
        <p:spPr>
          <a:xfrm>
            <a:off x="6543706" y="2056049"/>
            <a:ext cx="102904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165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Correspondência</a:t>
            </a:r>
          </a:p>
        </p:txBody>
      </p:sp>
      <p:cxnSp>
        <p:nvCxnSpPr>
          <p:cNvPr id="1381" name="Conector de Seta Reta 1476">
            <a:extLst>
              <a:ext uri="{FF2B5EF4-FFF2-40B4-BE49-F238E27FC236}">
                <a16:creationId xmlns:a16="http://schemas.microsoft.com/office/drawing/2014/main" id="{2F9DF845-25E4-962B-1028-AB98EFCA0FD9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5885530" y="2202589"/>
            <a:ext cx="1189992" cy="668542"/>
          </a:xfrm>
          <a:prstGeom prst="bentConnector3">
            <a:avLst>
              <a:gd name="adj1" fmla="val 100553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2" name="Forma">
            <a:extLst>
              <a:ext uri="{FF2B5EF4-FFF2-40B4-BE49-F238E27FC236}">
                <a16:creationId xmlns:a16="http://schemas.microsoft.com/office/drawing/2014/main" id="{9317869E-AAA4-1ABC-3354-C975A2338B36}"/>
              </a:ext>
            </a:extLst>
          </p:cNvPr>
          <p:cNvSpPr>
            <a:spLocks noChangeAspect="1"/>
          </p:cNvSpPr>
          <p:nvPr/>
        </p:nvSpPr>
        <p:spPr>
          <a:xfrm>
            <a:off x="6924992" y="3644503"/>
            <a:ext cx="339740" cy="216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05" h="21600" extrusionOk="0">
                <a:moveTo>
                  <a:pt x="20523" y="6151"/>
                </a:moveTo>
                <a:lnTo>
                  <a:pt x="20523" y="20044"/>
                </a:lnTo>
                <a:lnTo>
                  <a:pt x="507" y="20044"/>
                </a:lnTo>
                <a:cubicBezTo>
                  <a:pt x="370" y="20044"/>
                  <a:pt x="251" y="20117"/>
                  <a:pt x="152" y="20261"/>
                </a:cubicBezTo>
                <a:cubicBezTo>
                  <a:pt x="53" y="20406"/>
                  <a:pt x="3" y="20587"/>
                  <a:pt x="3" y="20804"/>
                </a:cubicBezTo>
                <a:cubicBezTo>
                  <a:pt x="-12" y="21021"/>
                  <a:pt x="30" y="21208"/>
                  <a:pt x="129" y="21365"/>
                </a:cubicBezTo>
                <a:cubicBezTo>
                  <a:pt x="228" y="21522"/>
                  <a:pt x="347" y="21600"/>
                  <a:pt x="484" y="21600"/>
                </a:cubicBezTo>
                <a:lnTo>
                  <a:pt x="20523" y="21600"/>
                </a:lnTo>
                <a:cubicBezTo>
                  <a:pt x="20783" y="21600"/>
                  <a:pt x="21008" y="21450"/>
                  <a:pt x="21199" y="21148"/>
                </a:cubicBezTo>
                <a:cubicBezTo>
                  <a:pt x="21389" y="20846"/>
                  <a:pt x="21485" y="20478"/>
                  <a:pt x="21485" y="20044"/>
                </a:cubicBezTo>
                <a:lnTo>
                  <a:pt x="21485" y="4631"/>
                </a:lnTo>
                <a:lnTo>
                  <a:pt x="20523" y="6151"/>
                </a:lnTo>
                <a:lnTo>
                  <a:pt x="20523" y="6151"/>
                </a:lnTo>
                <a:close/>
                <a:moveTo>
                  <a:pt x="4881" y="0"/>
                </a:moveTo>
                <a:cubicBezTo>
                  <a:pt x="4438" y="0"/>
                  <a:pt x="4137" y="326"/>
                  <a:pt x="3977" y="977"/>
                </a:cubicBezTo>
                <a:cubicBezTo>
                  <a:pt x="3816" y="1628"/>
                  <a:pt x="3904" y="2195"/>
                  <a:pt x="4240" y="2677"/>
                </a:cubicBezTo>
                <a:lnTo>
                  <a:pt x="12050" y="13495"/>
                </a:lnTo>
                <a:cubicBezTo>
                  <a:pt x="12233" y="13761"/>
                  <a:pt x="12450" y="13893"/>
                  <a:pt x="12702" y="13893"/>
                </a:cubicBezTo>
                <a:cubicBezTo>
                  <a:pt x="12954" y="13893"/>
                  <a:pt x="13172" y="13761"/>
                  <a:pt x="13355" y="13495"/>
                </a:cubicBezTo>
                <a:lnTo>
                  <a:pt x="21164" y="2677"/>
                </a:lnTo>
                <a:cubicBezTo>
                  <a:pt x="21500" y="2195"/>
                  <a:pt x="21588" y="1628"/>
                  <a:pt x="21428" y="977"/>
                </a:cubicBezTo>
                <a:cubicBezTo>
                  <a:pt x="21267" y="326"/>
                  <a:pt x="20966" y="0"/>
                  <a:pt x="20523" y="0"/>
                </a:cubicBezTo>
                <a:lnTo>
                  <a:pt x="4881" y="0"/>
                </a:lnTo>
                <a:lnTo>
                  <a:pt x="4881" y="0"/>
                </a:lnTo>
                <a:lnTo>
                  <a:pt x="4881" y="0"/>
                </a:lnTo>
                <a:close/>
                <a:moveTo>
                  <a:pt x="12691" y="12084"/>
                </a:moveTo>
                <a:lnTo>
                  <a:pt x="4790" y="1520"/>
                </a:lnTo>
                <a:lnTo>
                  <a:pt x="20615" y="1520"/>
                </a:lnTo>
                <a:lnTo>
                  <a:pt x="12691" y="12084"/>
                </a:lnTo>
                <a:lnTo>
                  <a:pt x="12691" y="12084"/>
                </a:lnTo>
                <a:lnTo>
                  <a:pt x="12691" y="12084"/>
                </a:lnTo>
                <a:close/>
                <a:moveTo>
                  <a:pt x="2099" y="12103"/>
                </a:moveTo>
                <a:cubicBezTo>
                  <a:pt x="1999" y="11946"/>
                  <a:pt x="1950" y="11771"/>
                  <a:pt x="1950" y="11578"/>
                </a:cubicBezTo>
                <a:cubicBezTo>
                  <a:pt x="1950" y="11361"/>
                  <a:pt x="1999" y="11174"/>
                  <a:pt x="2099" y="11017"/>
                </a:cubicBezTo>
                <a:cubicBezTo>
                  <a:pt x="2198" y="10860"/>
                  <a:pt x="2309" y="10782"/>
                  <a:pt x="2431" y="10782"/>
                </a:cubicBezTo>
                <a:lnTo>
                  <a:pt x="4400" y="10782"/>
                </a:lnTo>
                <a:cubicBezTo>
                  <a:pt x="4522" y="10782"/>
                  <a:pt x="4633" y="10860"/>
                  <a:pt x="4733" y="11017"/>
                </a:cubicBezTo>
                <a:cubicBezTo>
                  <a:pt x="4832" y="11174"/>
                  <a:pt x="4881" y="11361"/>
                  <a:pt x="4881" y="11578"/>
                </a:cubicBezTo>
                <a:cubicBezTo>
                  <a:pt x="4881" y="11771"/>
                  <a:pt x="4832" y="11946"/>
                  <a:pt x="4733" y="12103"/>
                </a:cubicBezTo>
                <a:cubicBezTo>
                  <a:pt x="4633" y="12260"/>
                  <a:pt x="4522" y="12338"/>
                  <a:pt x="4400" y="12338"/>
                </a:cubicBezTo>
                <a:lnTo>
                  <a:pt x="2431" y="12338"/>
                </a:lnTo>
                <a:lnTo>
                  <a:pt x="2431" y="12338"/>
                </a:lnTo>
                <a:lnTo>
                  <a:pt x="2431" y="12338"/>
                </a:lnTo>
                <a:cubicBezTo>
                  <a:pt x="2309" y="12338"/>
                  <a:pt x="2198" y="12260"/>
                  <a:pt x="2099" y="12103"/>
                </a:cubicBezTo>
                <a:lnTo>
                  <a:pt x="2099" y="12103"/>
                </a:lnTo>
                <a:close/>
                <a:moveTo>
                  <a:pt x="1469" y="16969"/>
                </a:moveTo>
                <a:cubicBezTo>
                  <a:pt x="1332" y="16969"/>
                  <a:pt x="1213" y="16891"/>
                  <a:pt x="1114" y="16734"/>
                </a:cubicBezTo>
                <a:cubicBezTo>
                  <a:pt x="1015" y="16577"/>
                  <a:pt x="965" y="16402"/>
                  <a:pt x="965" y="16209"/>
                </a:cubicBezTo>
                <a:cubicBezTo>
                  <a:pt x="965" y="15992"/>
                  <a:pt x="1015" y="15805"/>
                  <a:pt x="1114" y="15648"/>
                </a:cubicBezTo>
                <a:cubicBezTo>
                  <a:pt x="1213" y="15491"/>
                  <a:pt x="1332" y="15413"/>
                  <a:pt x="1469" y="15413"/>
                </a:cubicBezTo>
                <a:lnTo>
                  <a:pt x="5362" y="15413"/>
                </a:lnTo>
                <a:cubicBezTo>
                  <a:pt x="5500" y="15413"/>
                  <a:pt x="5618" y="15491"/>
                  <a:pt x="5717" y="15648"/>
                </a:cubicBezTo>
                <a:cubicBezTo>
                  <a:pt x="5816" y="15805"/>
                  <a:pt x="5866" y="15992"/>
                  <a:pt x="5866" y="16209"/>
                </a:cubicBezTo>
                <a:cubicBezTo>
                  <a:pt x="5866" y="16402"/>
                  <a:pt x="5816" y="16577"/>
                  <a:pt x="5717" y="16734"/>
                </a:cubicBezTo>
                <a:cubicBezTo>
                  <a:pt x="5618" y="16891"/>
                  <a:pt x="5500" y="16969"/>
                  <a:pt x="5362" y="16969"/>
                </a:cubicBezTo>
                <a:lnTo>
                  <a:pt x="1469" y="16969"/>
                </a:lnTo>
                <a:lnTo>
                  <a:pt x="1469" y="16969"/>
                </a:lnTo>
                <a:lnTo>
                  <a:pt x="1469" y="16969"/>
                </a:lnTo>
                <a:lnTo>
                  <a:pt x="1469" y="16969"/>
                </a:lnTo>
                <a:lnTo>
                  <a:pt x="1469" y="16969"/>
                </a:lnTo>
                <a:close/>
                <a:moveTo>
                  <a:pt x="2935" y="7707"/>
                </a:moveTo>
                <a:lnTo>
                  <a:pt x="2935" y="6151"/>
                </a:lnTo>
                <a:lnTo>
                  <a:pt x="3897" y="6151"/>
                </a:lnTo>
                <a:lnTo>
                  <a:pt x="3897" y="7707"/>
                </a:lnTo>
                <a:lnTo>
                  <a:pt x="2935" y="7707"/>
                </a:lnTo>
                <a:lnTo>
                  <a:pt x="2935" y="7707"/>
                </a:lnTo>
                <a:lnTo>
                  <a:pt x="2935" y="7707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>
            <a:miter lim="400000"/>
          </a:ln>
        </p:spPr>
        <p:txBody>
          <a:bodyPr lIns="27428" tIns="27428" rIns="27428" bIns="27428" anchor="ctr"/>
          <a:lstStyle/>
          <a:p>
            <a:pPr marL="0" marR="0" lvl="0" indent="0" algn="l" defTabSz="3291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lang="pt-BR" sz="129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383" name="Forma">
            <a:extLst>
              <a:ext uri="{FF2B5EF4-FFF2-40B4-BE49-F238E27FC236}">
                <a16:creationId xmlns:a16="http://schemas.microsoft.com/office/drawing/2014/main" id="{F6FC83CD-EE09-1C27-4E42-3B09240AA02A}"/>
              </a:ext>
            </a:extLst>
          </p:cNvPr>
          <p:cNvSpPr>
            <a:spLocks noChangeAspect="1"/>
          </p:cNvSpPr>
          <p:nvPr/>
        </p:nvSpPr>
        <p:spPr>
          <a:xfrm>
            <a:off x="6978419" y="2900578"/>
            <a:ext cx="265385" cy="252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54" extrusionOk="0">
                <a:moveTo>
                  <a:pt x="12950" y="0"/>
                </a:moveTo>
                <a:cubicBezTo>
                  <a:pt x="14147" y="0"/>
                  <a:pt x="15268" y="239"/>
                  <a:pt x="16314" y="718"/>
                </a:cubicBezTo>
                <a:cubicBezTo>
                  <a:pt x="17359" y="1196"/>
                  <a:pt x="18274" y="1847"/>
                  <a:pt x="19058" y="2671"/>
                </a:cubicBezTo>
                <a:cubicBezTo>
                  <a:pt x="19842" y="3495"/>
                  <a:pt x="20462" y="4457"/>
                  <a:pt x="20917" y="5555"/>
                </a:cubicBezTo>
                <a:cubicBezTo>
                  <a:pt x="21372" y="6654"/>
                  <a:pt x="21600" y="7832"/>
                  <a:pt x="21600" y="9090"/>
                </a:cubicBezTo>
                <a:lnTo>
                  <a:pt x="21600" y="10207"/>
                </a:lnTo>
                <a:cubicBezTo>
                  <a:pt x="21600" y="11465"/>
                  <a:pt x="21372" y="12643"/>
                  <a:pt x="20917" y="13742"/>
                </a:cubicBezTo>
                <a:cubicBezTo>
                  <a:pt x="20462" y="14840"/>
                  <a:pt x="19842" y="15802"/>
                  <a:pt x="19058" y="16625"/>
                </a:cubicBezTo>
                <a:cubicBezTo>
                  <a:pt x="18274" y="17449"/>
                  <a:pt x="17359" y="18101"/>
                  <a:pt x="16314" y="18579"/>
                </a:cubicBezTo>
                <a:cubicBezTo>
                  <a:pt x="15268" y="19058"/>
                  <a:pt x="14147" y="19297"/>
                  <a:pt x="12950" y="19297"/>
                </a:cubicBezTo>
                <a:lnTo>
                  <a:pt x="8094" y="19297"/>
                </a:lnTo>
                <a:lnTo>
                  <a:pt x="2352" y="21529"/>
                </a:lnTo>
                <a:cubicBezTo>
                  <a:pt x="2015" y="21600"/>
                  <a:pt x="1720" y="21521"/>
                  <a:pt x="1467" y="21290"/>
                </a:cubicBezTo>
                <a:cubicBezTo>
                  <a:pt x="1214" y="21060"/>
                  <a:pt x="1088" y="20768"/>
                  <a:pt x="1088" y="20413"/>
                </a:cubicBezTo>
                <a:lnTo>
                  <a:pt x="1088" y="14619"/>
                </a:lnTo>
                <a:cubicBezTo>
                  <a:pt x="750" y="13963"/>
                  <a:pt x="485" y="13263"/>
                  <a:pt x="291" y="12519"/>
                </a:cubicBezTo>
                <a:cubicBezTo>
                  <a:pt x="97" y="11775"/>
                  <a:pt x="0" y="11004"/>
                  <a:pt x="0" y="10207"/>
                </a:cubicBezTo>
                <a:lnTo>
                  <a:pt x="0" y="9090"/>
                </a:lnTo>
                <a:cubicBezTo>
                  <a:pt x="0" y="7832"/>
                  <a:pt x="228" y="6654"/>
                  <a:pt x="683" y="5555"/>
                </a:cubicBezTo>
                <a:cubicBezTo>
                  <a:pt x="1138" y="4457"/>
                  <a:pt x="1758" y="3495"/>
                  <a:pt x="2542" y="2671"/>
                </a:cubicBezTo>
                <a:cubicBezTo>
                  <a:pt x="3326" y="1847"/>
                  <a:pt x="4241" y="1196"/>
                  <a:pt x="5286" y="718"/>
                </a:cubicBezTo>
                <a:cubicBezTo>
                  <a:pt x="6332" y="239"/>
                  <a:pt x="7453" y="0"/>
                  <a:pt x="8650" y="0"/>
                </a:cubicBezTo>
                <a:lnTo>
                  <a:pt x="12950" y="0"/>
                </a:lnTo>
                <a:lnTo>
                  <a:pt x="12950" y="0"/>
                </a:lnTo>
                <a:lnTo>
                  <a:pt x="12950" y="0"/>
                </a:lnTo>
                <a:close/>
                <a:moveTo>
                  <a:pt x="20512" y="10207"/>
                </a:moveTo>
                <a:lnTo>
                  <a:pt x="20512" y="9090"/>
                </a:lnTo>
                <a:cubicBezTo>
                  <a:pt x="20512" y="8541"/>
                  <a:pt x="20462" y="8010"/>
                  <a:pt x="20361" y="7495"/>
                </a:cubicBezTo>
                <a:cubicBezTo>
                  <a:pt x="20259" y="6982"/>
                  <a:pt x="20116" y="6477"/>
                  <a:pt x="19931" y="5980"/>
                </a:cubicBezTo>
                <a:cubicBezTo>
                  <a:pt x="19728" y="5520"/>
                  <a:pt x="19492" y="5077"/>
                  <a:pt x="19222" y="4651"/>
                </a:cubicBezTo>
                <a:cubicBezTo>
                  <a:pt x="18953" y="4226"/>
                  <a:pt x="18649" y="3827"/>
                  <a:pt x="18312" y="3455"/>
                </a:cubicBezTo>
                <a:cubicBezTo>
                  <a:pt x="17958" y="3101"/>
                  <a:pt x="17578" y="2782"/>
                  <a:pt x="17174" y="2498"/>
                </a:cubicBezTo>
                <a:cubicBezTo>
                  <a:pt x="16769" y="2215"/>
                  <a:pt x="16348" y="1967"/>
                  <a:pt x="15909" y="1754"/>
                </a:cubicBezTo>
                <a:cubicBezTo>
                  <a:pt x="15437" y="1559"/>
                  <a:pt x="14956" y="1409"/>
                  <a:pt x="14467" y="1302"/>
                </a:cubicBezTo>
                <a:cubicBezTo>
                  <a:pt x="13978" y="1196"/>
                  <a:pt x="13473" y="1143"/>
                  <a:pt x="12950" y="1143"/>
                </a:cubicBezTo>
                <a:lnTo>
                  <a:pt x="8650" y="1143"/>
                </a:lnTo>
                <a:cubicBezTo>
                  <a:pt x="8127" y="1143"/>
                  <a:pt x="7622" y="1196"/>
                  <a:pt x="7133" y="1302"/>
                </a:cubicBezTo>
                <a:cubicBezTo>
                  <a:pt x="6644" y="1409"/>
                  <a:pt x="6163" y="1559"/>
                  <a:pt x="5691" y="1754"/>
                </a:cubicBezTo>
                <a:cubicBezTo>
                  <a:pt x="5252" y="1967"/>
                  <a:pt x="4831" y="2215"/>
                  <a:pt x="4426" y="2498"/>
                </a:cubicBezTo>
                <a:cubicBezTo>
                  <a:pt x="4022" y="2782"/>
                  <a:pt x="3642" y="3101"/>
                  <a:pt x="3288" y="3455"/>
                </a:cubicBezTo>
                <a:cubicBezTo>
                  <a:pt x="2951" y="3827"/>
                  <a:pt x="2647" y="4226"/>
                  <a:pt x="2378" y="4651"/>
                </a:cubicBezTo>
                <a:cubicBezTo>
                  <a:pt x="2108" y="5077"/>
                  <a:pt x="1872" y="5520"/>
                  <a:pt x="1669" y="5980"/>
                </a:cubicBezTo>
                <a:cubicBezTo>
                  <a:pt x="1484" y="6477"/>
                  <a:pt x="1341" y="6982"/>
                  <a:pt x="1239" y="7495"/>
                </a:cubicBezTo>
                <a:cubicBezTo>
                  <a:pt x="1138" y="8010"/>
                  <a:pt x="1088" y="8541"/>
                  <a:pt x="1088" y="9090"/>
                </a:cubicBezTo>
                <a:lnTo>
                  <a:pt x="1088" y="10207"/>
                </a:lnTo>
                <a:cubicBezTo>
                  <a:pt x="1088" y="10738"/>
                  <a:pt x="1138" y="11266"/>
                  <a:pt x="1239" y="11788"/>
                </a:cubicBezTo>
                <a:cubicBezTo>
                  <a:pt x="1341" y="12311"/>
                  <a:pt x="1484" y="12811"/>
                  <a:pt x="1669" y="13290"/>
                </a:cubicBezTo>
                <a:cubicBezTo>
                  <a:pt x="1754" y="13467"/>
                  <a:pt x="1834" y="13640"/>
                  <a:pt x="1910" y="13808"/>
                </a:cubicBezTo>
                <a:cubicBezTo>
                  <a:pt x="1985" y="13977"/>
                  <a:pt x="2074" y="14140"/>
                  <a:pt x="2175" y="14300"/>
                </a:cubicBezTo>
                <a:lnTo>
                  <a:pt x="2175" y="20413"/>
                </a:lnTo>
                <a:lnTo>
                  <a:pt x="7563" y="18154"/>
                </a:lnTo>
                <a:lnTo>
                  <a:pt x="12950" y="18154"/>
                </a:lnTo>
                <a:cubicBezTo>
                  <a:pt x="13473" y="18154"/>
                  <a:pt x="13978" y="18101"/>
                  <a:pt x="14467" y="17994"/>
                </a:cubicBezTo>
                <a:cubicBezTo>
                  <a:pt x="14956" y="17888"/>
                  <a:pt x="15437" y="17738"/>
                  <a:pt x="15909" y="17542"/>
                </a:cubicBezTo>
                <a:cubicBezTo>
                  <a:pt x="16348" y="17330"/>
                  <a:pt x="16769" y="17082"/>
                  <a:pt x="17174" y="16798"/>
                </a:cubicBezTo>
                <a:cubicBezTo>
                  <a:pt x="17578" y="16515"/>
                  <a:pt x="17958" y="16196"/>
                  <a:pt x="18312" y="15841"/>
                </a:cubicBezTo>
                <a:cubicBezTo>
                  <a:pt x="18649" y="15469"/>
                  <a:pt x="18953" y="15071"/>
                  <a:pt x="19222" y="14645"/>
                </a:cubicBezTo>
                <a:cubicBezTo>
                  <a:pt x="19492" y="14220"/>
                  <a:pt x="19728" y="13777"/>
                  <a:pt x="19931" y="13316"/>
                </a:cubicBezTo>
                <a:cubicBezTo>
                  <a:pt x="20116" y="12820"/>
                  <a:pt x="20259" y="12315"/>
                  <a:pt x="20361" y="11801"/>
                </a:cubicBezTo>
                <a:cubicBezTo>
                  <a:pt x="20462" y="11288"/>
                  <a:pt x="20512" y="10756"/>
                  <a:pt x="20512" y="10207"/>
                </a:cubicBezTo>
                <a:lnTo>
                  <a:pt x="20512" y="10207"/>
                </a:lnTo>
                <a:lnTo>
                  <a:pt x="20512" y="10207"/>
                </a:lnTo>
                <a:close/>
                <a:moveTo>
                  <a:pt x="16744" y="10207"/>
                </a:moveTo>
                <a:cubicBezTo>
                  <a:pt x="16879" y="10207"/>
                  <a:pt x="17001" y="10153"/>
                  <a:pt x="17111" y="10047"/>
                </a:cubicBezTo>
                <a:cubicBezTo>
                  <a:pt x="17220" y="9941"/>
                  <a:pt x="17275" y="9808"/>
                  <a:pt x="17275" y="9648"/>
                </a:cubicBezTo>
                <a:cubicBezTo>
                  <a:pt x="17275" y="9489"/>
                  <a:pt x="17220" y="9356"/>
                  <a:pt x="17111" y="9250"/>
                </a:cubicBezTo>
                <a:cubicBezTo>
                  <a:pt x="17001" y="9143"/>
                  <a:pt x="16879" y="9090"/>
                  <a:pt x="16744" y="9090"/>
                </a:cubicBezTo>
                <a:lnTo>
                  <a:pt x="4856" y="9090"/>
                </a:lnTo>
                <a:cubicBezTo>
                  <a:pt x="4721" y="9090"/>
                  <a:pt x="4599" y="9143"/>
                  <a:pt x="4489" y="9250"/>
                </a:cubicBezTo>
                <a:cubicBezTo>
                  <a:pt x="4380" y="9356"/>
                  <a:pt x="4325" y="9489"/>
                  <a:pt x="4325" y="9648"/>
                </a:cubicBezTo>
                <a:cubicBezTo>
                  <a:pt x="4325" y="9808"/>
                  <a:pt x="4380" y="9941"/>
                  <a:pt x="4489" y="10047"/>
                </a:cubicBezTo>
                <a:cubicBezTo>
                  <a:pt x="4599" y="10153"/>
                  <a:pt x="4721" y="10207"/>
                  <a:pt x="4856" y="10207"/>
                </a:cubicBezTo>
                <a:lnTo>
                  <a:pt x="16744" y="10207"/>
                </a:lnTo>
                <a:lnTo>
                  <a:pt x="16744" y="10207"/>
                </a:lnTo>
                <a:lnTo>
                  <a:pt x="16744" y="10207"/>
                </a:lnTo>
                <a:lnTo>
                  <a:pt x="16744" y="10207"/>
                </a:lnTo>
                <a:lnTo>
                  <a:pt x="16744" y="10207"/>
                </a:lnTo>
                <a:close/>
                <a:moveTo>
                  <a:pt x="13506" y="7947"/>
                </a:moveTo>
                <a:cubicBezTo>
                  <a:pt x="13641" y="7947"/>
                  <a:pt x="13763" y="7890"/>
                  <a:pt x="13873" y="7775"/>
                </a:cubicBezTo>
                <a:cubicBezTo>
                  <a:pt x="13983" y="7659"/>
                  <a:pt x="14037" y="7531"/>
                  <a:pt x="14037" y="7389"/>
                </a:cubicBezTo>
                <a:cubicBezTo>
                  <a:pt x="14037" y="7230"/>
                  <a:pt x="13983" y="7093"/>
                  <a:pt x="13873" y="6977"/>
                </a:cubicBezTo>
                <a:cubicBezTo>
                  <a:pt x="13763" y="6862"/>
                  <a:pt x="13641" y="6804"/>
                  <a:pt x="13506" y="6804"/>
                </a:cubicBezTo>
                <a:lnTo>
                  <a:pt x="8094" y="6804"/>
                </a:lnTo>
                <a:cubicBezTo>
                  <a:pt x="7959" y="6804"/>
                  <a:pt x="7837" y="6862"/>
                  <a:pt x="7727" y="6977"/>
                </a:cubicBezTo>
                <a:cubicBezTo>
                  <a:pt x="7617" y="7093"/>
                  <a:pt x="7563" y="7230"/>
                  <a:pt x="7563" y="7389"/>
                </a:cubicBezTo>
                <a:cubicBezTo>
                  <a:pt x="7563" y="7531"/>
                  <a:pt x="7617" y="7659"/>
                  <a:pt x="7727" y="7775"/>
                </a:cubicBezTo>
                <a:cubicBezTo>
                  <a:pt x="7837" y="7890"/>
                  <a:pt x="7959" y="7947"/>
                  <a:pt x="8094" y="7947"/>
                </a:cubicBezTo>
                <a:lnTo>
                  <a:pt x="13506" y="7947"/>
                </a:lnTo>
                <a:lnTo>
                  <a:pt x="13506" y="7947"/>
                </a:lnTo>
                <a:lnTo>
                  <a:pt x="13506" y="7947"/>
                </a:lnTo>
                <a:lnTo>
                  <a:pt x="13506" y="7947"/>
                </a:lnTo>
                <a:lnTo>
                  <a:pt x="13506" y="7947"/>
                </a:lnTo>
                <a:close/>
                <a:moveTo>
                  <a:pt x="13873" y="12320"/>
                </a:moveTo>
                <a:cubicBezTo>
                  <a:pt x="13983" y="12205"/>
                  <a:pt x="14037" y="12067"/>
                  <a:pt x="14037" y="11908"/>
                </a:cubicBezTo>
                <a:cubicBezTo>
                  <a:pt x="14037" y="11766"/>
                  <a:pt x="13983" y="11638"/>
                  <a:pt x="13873" y="11522"/>
                </a:cubicBezTo>
                <a:cubicBezTo>
                  <a:pt x="13763" y="11407"/>
                  <a:pt x="13641" y="11349"/>
                  <a:pt x="13506" y="11349"/>
                </a:cubicBezTo>
                <a:lnTo>
                  <a:pt x="8094" y="11349"/>
                </a:lnTo>
                <a:cubicBezTo>
                  <a:pt x="7959" y="11349"/>
                  <a:pt x="7837" y="11407"/>
                  <a:pt x="7727" y="11522"/>
                </a:cubicBezTo>
                <a:cubicBezTo>
                  <a:pt x="7617" y="11638"/>
                  <a:pt x="7563" y="11766"/>
                  <a:pt x="7563" y="11908"/>
                </a:cubicBezTo>
                <a:cubicBezTo>
                  <a:pt x="7563" y="12067"/>
                  <a:pt x="7617" y="12205"/>
                  <a:pt x="7727" y="12320"/>
                </a:cubicBezTo>
                <a:cubicBezTo>
                  <a:pt x="7837" y="12435"/>
                  <a:pt x="7959" y="12492"/>
                  <a:pt x="8094" y="12492"/>
                </a:cubicBezTo>
                <a:lnTo>
                  <a:pt x="13506" y="12492"/>
                </a:lnTo>
                <a:lnTo>
                  <a:pt x="13506" y="12492"/>
                </a:lnTo>
                <a:lnTo>
                  <a:pt x="13506" y="12492"/>
                </a:lnTo>
                <a:cubicBezTo>
                  <a:pt x="13641" y="12492"/>
                  <a:pt x="13763" y="12435"/>
                  <a:pt x="13873" y="12320"/>
                </a:cubicBezTo>
                <a:lnTo>
                  <a:pt x="13873" y="12320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>
            <a:miter lim="400000"/>
          </a:ln>
        </p:spPr>
        <p:txBody>
          <a:bodyPr lIns="27428" tIns="27428" rIns="27428" bIns="27428" anchor="ctr"/>
          <a:lstStyle/>
          <a:p>
            <a:pPr marL="0" marR="0" lvl="0" indent="0" algn="l" defTabSz="3291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29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grpSp>
        <p:nvGrpSpPr>
          <p:cNvPr id="1384" name="Agrupar 1383">
            <a:extLst>
              <a:ext uri="{FF2B5EF4-FFF2-40B4-BE49-F238E27FC236}">
                <a16:creationId xmlns:a16="http://schemas.microsoft.com/office/drawing/2014/main" id="{D3E94B64-116F-949A-E4F2-CB55D6120D97}"/>
              </a:ext>
            </a:extLst>
          </p:cNvPr>
          <p:cNvGrpSpPr/>
          <p:nvPr/>
        </p:nvGrpSpPr>
        <p:grpSpPr>
          <a:xfrm>
            <a:off x="7435442" y="2346853"/>
            <a:ext cx="848111" cy="518633"/>
            <a:chOff x="768272" y="3213880"/>
            <a:chExt cx="848111" cy="518631"/>
          </a:xfrm>
        </p:grpSpPr>
        <p:sp>
          <p:nvSpPr>
            <p:cNvPr id="1385" name="Forma">
              <a:extLst>
                <a:ext uri="{FF2B5EF4-FFF2-40B4-BE49-F238E27FC236}">
                  <a16:creationId xmlns:a16="http://schemas.microsoft.com/office/drawing/2014/main" id="{1F177CF1-3758-D924-965E-EABD7E1ACB7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9235" y="3213880"/>
              <a:ext cx="201906" cy="288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429" y="7369"/>
                  </a:moveTo>
                  <a:cubicBezTo>
                    <a:pt x="5225" y="6525"/>
                    <a:pt x="4623" y="5504"/>
                    <a:pt x="4623" y="4305"/>
                  </a:cubicBezTo>
                  <a:cubicBezTo>
                    <a:pt x="4623" y="3123"/>
                    <a:pt x="5225" y="2110"/>
                    <a:pt x="6429" y="1266"/>
                  </a:cubicBezTo>
                  <a:cubicBezTo>
                    <a:pt x="7633" y="422"/>
                    <a:pt x="9090" y="0"/>
                    <a:pt x="10800" y="0"/>
                  </a:cubicBezTo>
                  <a:cubicBezTo>
                    <a:pt x="12510" y="0"/>
                    <a:pt x="13966" y="422"/>
                    <a:pt x="15171" y="1266"/>
                  </a:cubicBezTo>
                  <a:cubicBezTo>
                    <a:pt x="16375" y="2110"/>
                    <a:pt x="16977" y="3123"/>
                    <a:pt x="16977" y="4305"/>
                  </a:cubicBezTo>
                  <a:cubicBezTo>
                    <a:pt x="16977" y="5504"/>
                    <a:pt x="16375" y="6525"/>
                    <a:pt x="15171" y="7369"/>
                  </a:cubicBezTo>
                  <a:cubicBezTo>
                    <a:pt x="13966" y="8213"/>
                    <a:pt x="12510" y="8635"/>
                    <a:pt x="10800" y="8635"/>
                  </a:cubicBezTo>
                  <a:cubicBezTo>
                    <a:pt x="9090" y="8635"/>
                    <a:pt x="7633" y="8213"/>
                    <a:pt x="6429" y="7369"/>
                  </a:cubicBezTo>
                  <a:lnTo>
                    <a:pt x="6429" y="7369"/>
                  </a:lnTo>
                  <a:close/>
                  <a:moveTo>
                    <a:pt x="7513" y="2026"/>
                  </a:moveTo>
                  <a:cubicBezTo>
                    <a:pt x="7080" y="2330"/>
                    <a:pt x="6748" y="2680"/>
                    <a:pt x="6520" y="3077"/>
                  </a:cubicBezTo>
                  <a:cubicBezTo>
                    <a:pt x="6291" y="3474"/>
                    <a:pt x="6177" y="3883"/>
                    <a:pt x="6177" y="4305"/>
                  </a:cubicBezTo>
                  <a:cubicBezTo>
                    <a:pt x="6177" y="4744"/>
                    <a:pt x="6291" y="5162"/>
                    <a:pt x="6520" y="5558"/>
                  </a:cubicBezTo>
                  <a:cubicBezTo>
                    <a:pt x="6748" y="5955"/>
                    <a:pt x="7080" y="6305"/>
                    <a:pt x="7513" y="6609"/>
                  </a:cubicBezTo>
                  <a:cubicBezTo>
                    <a:pt x="7970" y="6913"/>
                    <a:pt x="8476" y="7145"/>
                    <a:pt x="9030" y="7306"/>
                  </a:cubicBezTo>
                  <a:cubicBezTo>
                    <a:pt x="9584" y="7466"/>
                    <a:pt x="10174" y="7546"/>
                    <a:pt x="10800" y="7546"/>
                  </a:cubicBezTo>
                  <a:cubicBezTo>
                    <a:pt x="11426" y="7546"/>
                    <a:pt x="12016" y="7466"/>
                    <a:pt x="12570" y="7306"/>
                  </a:cubicBezTo>
                  <a:cubicBezTo>
                    <a:pt x="13124" y="7145"/>
                    <a:pt x="13629" y="6913"/>
                    <a:pt x="14087" y="6609"/>
                  </a:cubicBezTo>
                  <a:cubicBezTo>
                    <a:pt x="14520" y="6305"/>
                    <a:pt x="14851" y="5955"/>
                    <a:pt x="15080" y="5558"/>
                  </a:cubicBezTo>
                  <a:cubicBezTo>
                    <a:pt x="15309" y="5162"/>
                    <a:pt x="15423" y="4744"/>
                    <a:pt x="15423" y="4305"/>
                  </a:cubicBezTo>
                  <a:cubicBezTo>
                    <a:pt x="15423" y="3883"/>
                    <a:pt x="15309" y="3474"/>
                    <a:pt x="15080" y="3077"/>
                  </a:cubicBezTo>
                  <a:cubicBezTo>
                    <a:pt x="14851" y="2680"/>
                    <a:pt x="14520" y="2330"/>
                    <a:pt x="14087" y="2026"/>
                  </a:cubicBezTo>
                  <a:cubicBezTo>
                    <a:pt x="13629" y="1722"/>
                    <a:pt x="13124" y="1486"/>
                    <a:pt x="12570" y="1317"/>
                  </a:cubicBezTo>
                  <a:cubicBezTo>
                    <a:pt x="12016" y="1148"/>
                    <a:pt x="11426" y="1064"/>
                    <a:pt x="10800" y="1064"/>
                  </a:cubicBezTo>
                  <a:cubicBezTo>
                    <a:pt x="10174" y="1064"/>
                    <a:pt x="9584" y="1148"/>
                    <a:pt x="9030" y="1317"/>
                  </a:cubicBezTo>
                  <a:cubicBezTo>
                    <a:pt x="8476" y="1486"/>
                    <a:pt x="7970" y="1722"/>
                    <a:pt x="7513" y="2026"/>
                  </a:cubicBezTo>
                  <a:lnTo>
                    <a:pt x="7513" y="2026"/>
                  </a:lnTo>
                  <a:lnTo>
                    <a:pt x="7513" y="2026"/>
                  </a:lnTo>
                  <a:close/>
                  <a:moveTo>
                    <a:pt x="14990" y="19118"/>
                  </a:moveTo>
                  <a:cubicBezTo>
                    <a:pt x="15207" y="18966"/>
                    <a:pt x="15345" y="18785"/>
                    <a:pt x="15405" y="18574"/>
                  </a:cubicBezTo>
                  <a:cubicBezTo>
                    <a:pt x="15465" y="18363"/>
                    <a:pt x="15435" y="18156"/>
                    <a:pt x="15315" y="17954"/>
                  </a:cubicBezTo>
                  <a:lnTo>
                    <a:pt x="12245" y="12560"/>
                  </a:lnTo>
                  <a:cubicBezTo>
                    <a:pt x="12221" y="12543"/>
                    <a:pt x="12203" y="12522"/>
                    <a:pt x="12191" y="12497"/>
                  </a:cubicBezTo>
                  <a:cubicBezTo>
                    <a:pt x="12178" y="12471"/>
                    <a:pt x="12160" y="12442"/>
                    <a:pt x="12136" y="12408"/>
                  </a:cubicBezTo>
                  <a:cubicBezTo>
                    <a:pt x="12209" y="12341"/>
                    <a:pt x="12263" y="12260"/>
                    <a:pt x="12299" y="12167"/>
                  </a:cubicBezTo>
                  <a:cubicBezTo>
                    <a:pt x="12335" y="12075"/>
                    <a:pt x="12353" y="11977"/>
                    <a:pt x="12353" y="11876"/>
                  </a:cubicBezTo>
                  <a:cubicBezTo>
                    <a:pt x="12353" y="11860"/>
                    <a:pt x="12353" y="11838"/>
                    <a:pt x="12353" y="11813"/>
                  </a:cubicBezTo>
                  <a:cubicBezTo>
                    <a:pt x="12353" y="11788"/>
                    <a:pt x="12341" y="11758"/>
                    <a:pt x="12317" y="11724"/>
                  </a:cubicBezTo>
                  <a:cubicBezTo>
                    <a:pt x="12317" y="11708"/>
                    <a:pt x="12317" y="11691"/>
                    <a:pt x="12317" y="11674"/>
                  </a:cubicBezTo>
                  <a:cubicBezTo>
                    <a:pt x="12293" y="11572"/>
                    <a:pt x="12250" y="11480"/>
                    <a:pt x="12191" y="11395"/>
                  </a:cubicBezTo>
                  <a:cubicBezTo>
                    <a:pt x="12130" y="11311"/>
                    <a:pt x="12052" y="11227"/>
                    <a:pt x="11956" y="11142"/>
                  </a:cubicBezTo>
                  <a:lnTo>
                    <a:pt x="11920" y="11142"/>
                  </a:lnTo>
                  <a:cubicBezTo>
                    <a:pt x="11920" y="11125"/>
                    <a:pt x="11896" y="11108"/>
                    <a:pt x="11847" y="11091"/>
                  </a:cubicBezTo>
                  <a:cubicBezTo>
                    <a:pt x="11847" y="11075"/>
                    <a:pt x="11835" y="11066"/>
                    <a:pt x="11811" y="11066"/>
                  </a:cubicBezTo>
                  <a:cubicBezTo>
                    <a:pt x="11811" y="11049"/>
                    <a:pt x="11787" y="11032"/>
                    <a:pt x="11739" y="11015"/>
                  </a:cubicBezTo>
                  <a:lnTo>
                    <a:pt x="11703" y="11015"/>
                  </a:lnTo>
                  <a:cubicBezTo>
                    <a:pt x="11679" y="10999"/>
                    <a:pt x="11654" y="10982"/>
                    <a:pt x="11631" y="10965"/>
                  </a:cubicBezTo>
                  <a:cubicBezTo>
                    <a:pt x="11607" y="10948"/>
                    <a:pt x="11571" y="10939"/>
                    <a:pt x="11522" y="10939"/>
                  </a:cubicBezTo>
                  <a:lnTo>
                    <a:pt x="11522" y="10914"/>
                  </a:lnTo>
                  <a:lnTo>
                    <a:pt x="11486" y="10914"/>
                  </a:lnTo>
                  <a:lnTo>
                    <a:pt x="11450" y="10889"/>
                  </a:lnTo>
                  <a:lnTo>
                    <a:pt x="11414" y="10889"/>
                  </a:lnTo>
                  <a:lnTo>
                    <a:pt x="11378" y="10889"/>
                  </a:lnTo>
                  <a:cubicBezTo>
                    <a:pt x="11378" y="10872"/>
                    <a:pt x="11366" y="10863"/>
                    <a:pt x="11342" y="10863"/>
                  </a:cubicBezTo>
                  <a:cubicBezTo>
                    <a:pt x="11318" y="10863"/>
                    <a:pt x="11300" y="10863"/>
                    <a:pt x="11288" y="10863"/>
                  </a:cubicBezTo>
                  <a:cubicBezTo>
                    <a:pt x="11275" y="10863"/>
                    <a:pt x="11270" y="10855"/>
                    <a:pt x="11270" y="10838"/>
                  </a:cubicBezTo>
                  <a:cubicBezTo>
                    <a:pt x="11245" y="10838"/>
                    <a:pt x="11221" y="10838"/>
                    <a:pt x="11197" y="10838"/>
                  </a:cubicBezTo>
                  <a:lnTo>
                    <a:pt x="11161" y="10838"/>
                  </a:lnTo>
                  <a:lnTo>
                    <a:pt x="11125" y="10813"/>
                  </a:lnTo>
                  <a:lnTo>
                    <a:pt x="11089" y="10813"/>
                  </a:lnTo>
                  <a:lnTo>
                    <a:pt x="11053" y="10813"/>
                  </a:lnTo>
                  <a:lnTo>
                    <a:pt x="11017" y="10813"/>
                  </a:lnTo>
                  <a:lnTo>
                    <a:pt x="10981" y="10813"/>
                  </a:lnTo>
                  <a:lnTo>
                    <a:pt x="10944" y="10813"/>
                  </a:lnTo>
                  <a:lnTo>
                    <a:pt x="10908" y="10813"/>
                  </a:lnTo>
                  <a:lnTo>
                    <a:pt x="10872" y="10813"/>
                  </a:lnTo>
                  <a:lnTo>
                    <a:pt x="10836" y="10813"/>
                  </a:lnTo>
                  <a:lnTo>
                    <a:pt x="10800" y="10813"/>
                  </a:lnTo>
                  <a:lnTo>
                    <a:pt x="10764" y="10813"/>
                  </a:lnTo>
                  <a:lnTo>
                    <a:pt x="10728" y="10813"/>
                  </a:lnTo>
                  <a:lnTo>
                    <a:pt x="10692" y="10813"/>
                  </a:lnTo>
                  <a:lnTo>
                    <a:pt x="10656" y="10813"/>
                  </a:lnTo>
                  <a:lnTo>
                    <a:pt x="10619" y="10813"/>
                  </a:lnTo>
                  <a:lnTo>
                    <a:pt x="10583" y="10813"/>
                  </a:lnTo>
                  <a:lnTo>
                    <a:pt x="10547" y="10813"/>
                  </a:lnTo>
                  <a:lnTo>
                    <a:pt x="10511" y="10813"/>
                  </a:lnTo>
                  <a:lnTo>
                    <a:pt x="10475" y="10813"/>
                  </a:lnTo>
                  <a:lnTo>
                    <a:pt x="10439" y="10838"/>
                  </a:lnTo>
                  <a:lnTo>
                    <a:pt x="10403" y="10838"/>
                  </a:lnTo>
                  <a:cubicBezTo>
                    <a:pt x="10379" y="10838"/>
                    <a:pt x="10354" y="10838"/>
                    <a:pt x="10330" y="10838"/>
                  </a:cubicBezTo>
                  <a:cubicBezTo>
                    <a:pt x="10306" y="10855"/>
                    <a:pt x="10282" y="10863"/>
                    <a:pt x="10258" y="10863"/>
                  </a:cubicBezTo>
                  <a:cubicBezTo>
                    <a:pt x="10234" y="10863"/>
                    <a:pt x="10222" y="10872"/>
                    <a:pt x="10222" y="10889"/>
                  </a:cubicBezTo>
                  <a:lnTo>
                    <a:pt x="10186" y="10889"/>
                  </a:lnTo>
                  <a:lnTo>
                    <a:pt x="10150" y="10889"/>
                  </a:lnTo>
                  <a:lnTo>
                    <a:pt x="10114" y="10914"/>
                  </a:lnTo>
                  <a:lnTo>
                    <a:pt x="10078" y="10914"/>
                  </a:lnTo>
                  <a:lnTo>
                    <a:pt x="10078" y="10939"/>
                  </a:lnTo>
                  <a:cubicBezTo>
                    <a:pt x="10029" y="10939"/>
                    <a:pt x="9993" y="10948"/>
                    <a:pt x="9969" y="10965"/>
                  </a:cubicBezTo>
                  <a:cubicBezTo>
                    <a:pt x="9945" y="10982"/>
                    <a:pt x="9921" y="10999"/>
                    <a:pt x="9897" y="11015"/>
                  </a:cubicBezTo>
                  <a:lnTo>
                    <a:pt x="9861" y="11015"/>
                  </a:lnTo>
                  <a:cubicBezTo>
                    <a:pt x="9812" y="11032"/>
                    <a:pt x="9789" y="11049"/>
                    <a:pt x="9789" y="11066"/>
                  </a:cubicBezTo>
                  <a:cubicBezTo>
                    <a:pt x="9765" y="11066"/>
                    <a:pt x="9753" y="11075"/>
                    <a:pt x="9753" y="11091"/>
                  </a:cubicBezTo>
                  <a:cubicBezTo>
                    <a:pt x="9704" y="11108"/>
                    <a:pt x="9680" y="11125"/>
                    <a:pt x="9680" y="11142"/>
                  </a:cubicBezTo>
                  <a:lnTo>
                    <a:pt x="9644" y="11142"/>
                  </a:lnTo>
                  <a:cubicBezTo>
                    <a:pt x="9548" y="11227"/>
                    <a:pt x="9469" y="11311"/>
                    <a:pt x="9409" y="11395"/>
                  </a:cubicBezTo>
                  <a:cubicBezTo>
                    <a:pt x="9349" y="11480"/>
                    <a:pt x="9307" y="11572"/>
                    <a:pt x="9283" y="11674"/>
                  </a:cubicBezTo>
                  <a:cubicBezTo>
                    <a:pt x="9283" y="11691"/>
                    <a:pt x="9283" y="11708"/>
                    <a:pt x="9283" y="11724"/>
                  </a:cubicBezTo>
                  <a:cubicBezTo>
                    <a:pt x="9259" y="11758"/>
                    <a:pt x="9247" y="11788"/>
                    <a:pt x="9247" y="11813"/>
                  </a:cubicBezTo>
                  <a:cubicBezTo>
                    <a:pt x="9247" y="11838"/>
                    <a:pt x="9247" y="11860"/>
                    <a:pt x="9247" y="11876"/>
                  </a:cubicBezTo>
                  <a:cubicBezTo>
                    <a:pt x="9247" y="11977"/>
                    <a:pt x="9265" y="12075"/>
                    <a:pt x="9301" y="12167"/>
                  </a:cubicBezTo>
                  <a:cubicBezTo>
                    <a:pt x="9337" y="12260"/>
                    <a:pt x="9391" y="12341"/>
                    <a:pt x="9464" y="12408"/>
                  </a:cubicBezTo>
                  <a:cubicBezTo>
                    <a:pt x="9439" y="12442"/>
                    <a:pt x="9421" y="12467"/>
                    <a:pt x="9409" y="12484"/>
                  </a:cubicBezTo>
                  <a:cubicBezTo>
                    <a:pt x="9397" y="12501"/>
                    <a:pt x="9379" y="12526"/>
                    <a:pt x="9355" y="12560"/>
                  </a:cubicBezTo>
                  <a:lnTo>
                    <a:pt x="6285" y="17954"/>
                  </a:lnTo>
                  <a:cubicBezTo>
                    <a:pt x="6164" y="18156"/>
                    <a:pt x="6134" y="18363"/>
                    <a:pt x="6195" y="18574"/>
                  </a:cubicBezTo>
                  <a:cubicBezTo>
                    <a:pt x="6254" y="18785"/>
                    <a:pt x="6393" y="18966"/>
                    <a:pt x="6610" y="19118"/>
                  </a:cubicBezTo>
                  <a:lnTo>
                    <a:pt x="9716" y="21296"/>
                  </a:lnTo>
                  <a:cubicBezTo>
                    <a:pt x="9861" y="21397"/>
                    <a:pt x="10029" y="21473"/>
                    <a:pt x="10222" y="21524"/>
                  </a:cubicBezTo>
                  <a:cubicBezTo>
                    <a:pt x="10415" y="21575"/>
                    <a:pt x="10607" y="21600"/>
                    <a:pt x="10800" y="21600"/>
                  </a:cubicBezTo>
                  <a:cubicBezTo>
                    <a:pt x="10993" y="21600"/>
                    <a:pt x="11185" y="21575"/>
                    <a:pt x="11378" y="21524"/>
                  </a:cubicBezTo>
                  <a:cubicBezTo>
                    <a:pt x="11571" y="21473"/>
                    <a:pt x="11739" y="21397"/>
                    <a:pt x="11884" y="21296"/>
                  </a:cubicBez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lnTo>
                    <a:pt x="14990" y="19118"/>
                  </a:lnTo>
                  <a:close/>
                  <a:moveTo>
                    <a:pt x="6429" y="20511"/>
                  </a:moveTo>
                  <a:lnTo>
                    <a:pt x="1553" y="20511"/>
                  </a:lnTo>
                  <a:lnTo>
                    <a:pt x="1553" y="17270"/>
                  </a:lnTo>
                  <a:cubicBezTo>
                    <a:pt x="1553" y="16915"/>
                    <a:pt x="1601" y="16561"/>
                    <a:pt x="1698" y="16206"/>
                  </a:cubicBezTo>
                  <a:cubicBezTo>
                    <a:pt x="1794" y="15852"/>
                    <a:pt x="1951" y="15514"/>
                    <a:pt x="2167" y="15193"/>
                  </a:cubicBezTo>
                  <a:cubicBezTo>
                    <a:pt x="2360" y="14873"/>
                    <a:pt x="2595" y="14565"/>
                    <a:pt x="2872" y="14269"/>
                  </a:cubicBezTo>
                  <a:cubicBezTo>
                    <a:pt x="3148" y="13974"/>
                    <a:pt x="3468" y="13708"/>
                    <a:pt x="3829" y="13472"/>
                  </a:cubicBezTo>
                  <a:cubicBezTo>
                    <a:pt x="4166" y="13218"/>
                    <a:pt x="4545" y="12995"/>
                    <a:pt x="4967" y="12800"/>
                  </a:cubicBezTo>
                  <a:cubicBezTo>
                    <a:pt x="5388" y="12607"/>
                    <a:pt x="5827" y="12442"/>
                    <a:pt x="6285" y="12307"/>
                  </a:cubicBezTo>
                  <a:cubicBezTo>
                    <a:pt x="6502" y="12239"/>
                    <a:pt x="6730" y="12176"/>
                    <a:pt x="6971" y="12117"/>
                  </a:cubicBezTo>
                  <a:cubicBezTo>
                    <a:pt x="7212" y="12058"/>
                    <a:pt x="7465" y="12012"/>
                    <a:pt x="7730" y="11977"/>
                  </a:cubicBezTo>
                  <a:cubicBezTo>
                    <a:pt x="7730" y="11961"/>
                    <a:pt x="7730" y="11944"/>
                    <a:pt x="7730" y="11927"/>
                  </a:cubicBezTo>
                  <a:cubicBezTo>
                    <a:pt x="7730" y="11910"/>
                    <a:pt x="7730" y="11893"/>
                    <a:pt x="7730" y="11876"/>
                  </a:cubicBezTo>
                  <a:cubicBezTo>
                    <a:pt x="7730" y="11691"/>
                    <a:pt x="7760" y="11509"/>
                    <a:pt x="7820" y="11332"/>
                  </a:cubicBezTo>
                  <a:cubicBezTo>
                    <a:pt x="7880" y="11155"/>
                    <a:pt x="7970" y="10990"/>
                    <a:pt x="8091" y="10838"/>
                  </a:cubicBezTo>
                  <a:cubicBezTo>
                    <a:pt x="6959" y="10939"/>
                    <a:pt x="5900" y="11184"/>
                    <a:pt x="4912" y="11572"/>
                  </a:cubicBezTo>
                  <a:cubicBezTo>
                    <a:pt x="3925" y="11944"/>
                    <a:pt x="3070" y="12417"/>
                    <a:pt x="2348" y="12990"/>
                  </a:cubicBezTo>
                  <a:cubicBezTo>
                    <a:pt x="1625" y="13564"/>
                    <a:pt x="1060" y="14215"/>
                    <a:pt x="650" y="14940"/>
                  </a:cubicBezTo>
                  <a:cubicBezTo>
                    <a:pt x="217" y="15683"/>
                    <a:pt x="0" y="16460"/>
                    <a:pt x="0" y="17270"/>
                  </a:cubicBezTo>
                  <a:lnTo>
                    <a:pt x="0" y="20511"/>
                  </a:lnTo>
                  <a:cubicBezTo>
                    <a:pt x="0" y="20815"/>
                    <a:pt x="150" y="21073"/>
                    <a:pt x="452" y="21283"/>
                  </a:cubicBezTo>
                  <a:cubicBezTo>
                    <a:pt x="753" y="21495"/>
                    <a:pt x="1120" y="21600"/>
                    <a:pt x="1553" y="21600"/>
                  </a:cubicBezTo>
                  <a:lnTo>
                    <a:pt x="7983" y="21600"/>
                  </a:lnTo>
                  <a:lnTo>
                    <a:pt x="6429" y="20511"/>
                  </a:lnTo>
                  <a:lnTo>
                    <a:pt x="6429" y="20511"/>
                  </a:lnTo>
                  <a:lnTo>
                    <a:pt x="6429" y="20511"/>
                  </a:lnTo>
                  <a:lnTo>
                    <a:pt x="6429" y="20511"/>
                  </a:lnTo>
                  <a:lnTo>
                    <a:pt x="6429" y="20511"/>
                  </a:lnTo>
                  <a:lnTo>
                    <a:pt x="6429" y="20511"/>
                  </a:lnTo>
                  <a:close/>
                  <a:moveTo>
                    <a:pt x="21600" y="17270"/>
                  </a:moveTo>
                  <a:cubicBezTo>
                    <a:pt x="21600" y="16460"/>
                    <a:pt x="21383" y="15683"/>
                    <a:pt x="20950" y="14940"/>
                  </a:cubicBezTo>
                  <a:cubicBezTo>
                    <a:pt x="20540" y="14215"/>
                    <a:pt x="19975" y="13564"/>
                    <a:pt x="19252" y="12990"/>
                  </a:cubicBezTo>
                  <a:cubicBezTo>
                    <a:pt x="18530" y="12417"/>
                    <a:pt x="17675" y="11944"/>
                    <a:pt x="16688" y="11572"/>
                  </a:cubicBezTo>
                  <a:cubicBezTo>
                    <a:pt x="15700" y="11184"/>
                    <a:pt x="14641" y="10939"/>
                    <a:pt x="13509" y="10838"/>
                  </a:cubicBezTo>
                  <a:cubicBezTo>
                    <a:pt x="13629" y="11007"/>
                    <a:pt x="13720" y="11176"/>
                    <a:pt x="13780" y="11344"/>
                  </a:cubicBezTo>
                  <a:cubicBezTo>
                    <a:pt x="13840" y="11513"/>
                    <a:pt x="13870" y="11691"/>
                    <a:pt x="13870" y="11876"/>
                  </a:cubicBezTo>
                  <a:cubicBezTo>
                    <a:pt x="13870" y="11893"/>
                    <a:pt x="13870" y="11910"/>
                    <a:pt x="13870" y="11927"/>
                  </a:cubicBezTo>
                  <a:cubicBezTo>
                    <a:pt x="13870" y="11944"/>
                    <a:pt x="13870" y="11961"/>
                    <a:pt x="13870" y="11977"/>
                  </a:cubicBezTo>
                  <a:cubicBezTo>
                    <a:pt x="14111" y="12012"/>
                    <a:pt x="14358" y="12058"/>
                    <a:pt x="14611" y="12117"/>
                  </a:cubicBezTo>
                  <a:cubicBezTo>
                    <a:pt x="14864" y="12176"/>
                    <a:pt x="15098" y="12239"/>
                    <a:pt x="15315" y="12307"/>
                  </a:cubicBezTo>
                  <a:cubicBezTo>
                    <a:pt x="15772" y="12442"/>
                    <a:pt x="16212" y="12607"/>
                    <a:pt x="16633" y="12800"/>
                  </a:cubicBezTo>
                  <a:cubicBezTo>
                    <a:pt x="17054" y="12995"/>
                    <a:pt x="17434" y="13218"/>
                    <a:pt x="17771" y="13472"/>
                  </a:cubicBezTo>
                  <a:cubicBezTo>
                    <a:pt x="18132" y="13725"/>
                    <a:pt x="18452" y="13995"/>
                    <a:pt x="18728" y="14282"/>
                  </a:cubicBezTo>
                  <a:cubicBezTo>
                    <a:pt x="19005" y="14569"/>
                    <a:pt x="19240" y="14873"/>
                    <a:pt x="19433" y="15193"/>
                  </a:cubicBezTo>
                  <a:cubicBezTo>
                    <a:pt x="19649" y="15514"/>
                    <a:pt x="19806" y="15852"/>
                    <a:pt x="19902" y="16206"/>
                  </a:cubicBezTo>
                  <a:cubicBezTo>
                    <a:pt x="19998" y="16561"/>
                    <a:pt x="20047" y="16915"/>
                    <a:pt x="20047" y="17270"/>
                  </a:cubicBezTo>
                  <a:lnTo>
                    <a:pt x="20047" y="20511"/>
                  </a:lnTo>
                  <a:lnTo>
                    <a:pt x="15171" y="20511"/>
                  </a:lnTo>
                  <a:lnTo>
                    <a:pt x="13617" y="21600"/>
                  </a:lnTo>
                  <a:lnTo>
                    <a:pt x="20047" y="21600"/>
                  </a:lnTo>
                  <a:cubicBezTo>
                    <a:pt x="20480" y="21600"/>
                    <a:pt x="20847" y="21495"/>
                    <a:pt x="21148" y="21283"/>
                  </a:cubicBezTo>
                  <a:cubicBezTo>
                    <a:pt x="21449" y="21073"/>
                    <a:pt x="21600" y="20815"/>
                    <a:pt x="21600" y="20511"/>
                  </a:cubicBezTo>
                  <a:lnTo>
                    <a:pt x="21600" y="17270"/>
                  </a:lnTo>
                  <a:lnTo>
                    <a:pt x="21600" y="17270"/>
                  </a:lnTo>
                  <a:lnTo>
                    <a:pt x="21600" y="17270"/>
                  </a:lnTo>
                  <a:lnTo>
                    <a:pt x="21600" y="17270"/>
                  </a:lnTo>
                  <a:lnTo>
                    <a:pt x="21600" y="17270"/>
                  </a:lnTo>
                  <a:lnTo>
                    <a:pt x="21600" y="1727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miter lim="400000"/>
            </a:ln>
          </p:spPr>
          <p:txBody>
            <a:bodyPr lIns="27428" tIns="27428" rIns="27428" bIns="27428" anchor="ctr"/>
            <a:lstStyle/>
            <a:p>
              <a:pPr marL="0" marR="0" lvl="0" indent="0" algn="l" defTabSz="3291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b="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1296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sym typeface="Gill Sans"/>
              </a:endParaRPr>
            </a:p>
          </p:txBody>
        </p:sp>
        <p:sp>
          <p:nvSpPr>
            <p:cNvPr id="1386" name="CaixaDeTexto 1385">
              <a:extLst>
                <a:ext uri="{FF2B5EF4-FFF2-40B4-BE49-F238E27FC236}">
                  <a16:creationId xmlns:a16="http://schemas.microsoft.com/office/drawing/2014/main" id="{BE3FBF62-5250-2068-25EB-85766689C920}"/>
                </a:ext>
              </a:extLst>
            </p:cNvPr>
            <p:cNvSpPr txBox="1"/>
            <p:nvPr/>
          </p:nvSpPr>
          <p:spPr>
            <a:xfrm>
              <a:off x="768272" y="3501680"/>
              <a:ext cx="848111" cy="230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3165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PJ</a:t>
              </a:r>
            </a:p>
          </p:txBody>
        </p:sp>
      </p:grpSp>
      <p:grpSp>
        <p:nvGrpSpPr>
          <p:cNvPr id="1387" name="Agrupar 1386">
            <a:extLst>
              <a:ext uri="{FF2B5EF4-FFF2-40B4-BE49-F238E27FC236}">
                <a16:creationId xmlns:a16="http://schemas.microsoft.com/office/drawing/2014/main" id="{49FBEC91-BA29-59FC-F5B0-F1938B10CBCD}"/>
              </a:ext>
            </a:extLst>
          </p:cNvPr>
          <p:cNvGrpSpPr/>
          <p:nvPr/>
        </p:nvGrpSpPr>
        <p:grpSpPr>
          <a:xfrm>
            <a:off x="7435442" y="1810151"/>
            <a:ext cx="848111" cy="509845"/>
            <a:chOff x="777761" y="2487663"/>
            <a:chExt cx="848111" cy="509847"/>
          </a:xfrm>
        </p:grpSpPr>
        <p:sp>
          <p:nvSpPr>
            <p:cNvPr id="1388" name="Forma">
              <a:extLst>
                <a:ext uri="{FF2B5EF4-FFF2-40B4-BE49-F238E27FC236}">
                  <a16:creationId xmlns:a16="http://schemas.microsoft.com/office/drawing/2014/main" id="{58814FAD-E4D4-391E-3D2A-BE479461E5A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9235" y="2487663"/>
              <a:ext cx="201906" cy="288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353" y="10787"/>
                  </a:moveTo>
                  <a:cubicBezTo>
                    <a:pt x="13605" y="10787"/>
                    <a:pt x="14797" y="10965"/>
                    <a:pt x="15929" y="11319"/>
                  </a:cubicBezTo>
                  <a:cubicBezTo>
                    <a:pt x="17061" y="11657"/>
                    <a:pt x="18042" y="12117"/>
                    <a:pt x="18873" y="12699"/>
                  </a:cubicBezTo>
                  <a:cubicBezTo>
                    <a:pt x="19704" y="13282"/>
                    <a:pt x="20360" y="13970"/>
                    <a:pt x="20841" y="14763"/>
                  </a:cubicBezTo>
                  <a:cubicBezTo>
                    <a:pt x="21347" y="15557"/>
                    <a:pt x="21600" y="16392"/>
                    <a:pt x="21600" y="17270"/>
                  </a:cubicBezTo>
                  <a:lnTo>
                    <a:pt x="21600" y="20891"/>
                  </a:lnTo>
                  <a:cubicBezTo>
                    <a:pt x="21600" y="21094"/>
                    <a:pt x="21498" y="21262"/>
                    <a:pt x="21293" y="21397"/>
                  </a:cubicBezTo>
                  <a:cubicBezTo>
                    <a:pt x="21088" y="21533"/>
                    <a:pt x="20854" y="21600"/>
                    <a:pt x="20589" y="21600"/>
                  </a:cubicBezTo>
                  <a:lnTo>
                    <a:pt x="1011" y="21600"/>
                  </a:lnTo>
                  <a:cubicBezTo>
                    <a:pt x="746" y="21600"/>
                    <a:pt x="512" y="21533"/>
                    <a:pt x="307" y="21397"/>
                  </a:cubicBezTo>
                  <a:cubicBezTo>
                    <a:pt x="102" y="21262"/>
                    <a:pt x="0" y="21094"/>
                    <a:pt x="0" y="20891"/>
                  </a:cubicBezTo>
                  <a:lnTo>
                    <a:pt x="0" y="17270"/>
                  </a:lnTo>
                  <a:cubicBezTo>
                    <a:pt x="0" y="16392"/>
                    <a:pt x="253" y="15557"/>
                    <a:pt x="759" y="14763"/>
                  </a:cubicBezTo>
                  <a:cubicBezTo>
                    <a:pt x="1240" y="13970"/>
                    <a:pt x="1896" y="13282"/>
                    <a:pt x="2727" y="12699"/>
                  </a:cubicBezTo>
                  <a:cubicBezTo>
                    <a:pt x="3558" y="12117"/>
                    <a:pt x="4539" y="11657"/>
                    <a:pt x="5671" y="11319"/>
                  </a:cubicBezTo>
                  <a:cubicBezTo>
                    <a:pt x="6803" y="10965"/>
                    <a:pt x="7995" y="10787"/>
                    <a:pt x="9247" y="10787"/>
                  </a:cubicBezTo>
                  <a:lnTo>
                    <a:pt x="12353" y="10787"/>
                  </a:lnTo>
                  <a:lnTo>
                    <a:pt x="12353" y="10787"/>
                  </a:lnTo>
                  <a:lnTo>
                    <a:pt x="12353" y="10787"/>
                  </a:lnTo>
                  <a:close/>
                  <a:moveTo>
                    <a:pt x="20047" y="20511"/>
                  </a:moveTo>
                  <a:lnTo>
                    <a:pt x="20047" y="17270"/>
                  </a:lnTo>
                  <a:cubicBezTo>
                    <a:pt x="20047" y="16915"/>
                    <a:pt x="19999" y="16561"/>
                    <a:pt x="19902" y="16206"/>
                  </a:cubicBezTo>
                  <a:cubicBezTo>
                    <a:pt x="19806" y="15852"/>
                    <a:pt x="19649" y="15514"/>
                    <a:pt x="19433" y="15193"/>
                  </a:cubicBezTo>
                  <a:cubicBezTo>
                    <a:pt x="19240" y="14873"/>
                    <a:pt x="19005" y="14565"/>
                    <a:pt x="18728" y="14269"/>
                  </a:cubicBezTo>
                  <a:cubicBezTo>
                    <a:pt x="18452" y="13974"/>
                    <a:pt x="18132" y="13708"/>
                    <a:pt x="17771" y="13472"/>
                  </a:cubicBezTo>
                  <a:cubicBezTo>
                    <a:pt x="17410" y="13218"/>
                    <a:pt x="17025" y="12995"/>
                    <a:pt x="16615" y="12800"/>
                  </a:cubicBezTo>
                  <a:cubicBezTo>
                    <a:pt x="16206" y="12607"/>
                    <a:pt x="15773" y="12442"/>
                    <a:pt x="15315" y="12307"/>
                  </a:cubicBezTo>
                  <a:cubicBezTo>
                    <a:pt x="14858" y="12155"/>
                    <a:pt x="14376" y="12045"/>
                    <a:pt x="13870" y="11977"/>
                  </a:cubicBezTo>
                  <a:cubicBezTo>
                    <a:pt x="13365" y="11910"/>
                    <a:pt x="12859" y="11876"/>
                    <a:pt x="12353" y="11876"/>
                  </a:cubicBezTo>
                  <a:lnTo>
                    <a:pt x="9247" y="11876"/>
                  </a:lnTo>
                  <a:cubicBezTo>
                    <a:pt x="8741" y="11876"/>
                    <a:pt x="8235" y="11910"/>
                    <a:pt x="7730" y="11977"/>
                  </a:cubicBezTo>
                  <a:cubicBezTo>
                    <a:pt x="7224" y="12045"/>
                    <a:pt x="6742" y="12155"/>
                    <a:pt x="6285" y="12307"/>
                  </a:cubicBezTo>
                  <a:cubicBezTo>
                    <a:pt x="5827" y="12442"/>
                    <a:pt x="5388" y="12607"/>
                    <a:pt x="4967" y="12800"/>
                  </a:cubicBezTo>
                  <a:cubicBezTo>
                    <a:pt x="4545" y="12995"/>
                    <a:pt x="4166" y="13218"/>
                    <a:pt x="3829" y="13472"/>
                  </a:cubicBezTo>
                  <a:cubicBezTo>
                    <a:pt x="3468" y="13725"/>
                    <a:pt x="3148" y="13995"/>
                    <a:pt x="2872" y="14282"/>
                  </a:cubicBezTo>
                  <a:cubicBezTo>
                    <a:pt x="2595" y="14569"/>
                    <a:pt x="2360" y="14873"/>
                    <a:pt x="2167" y="15193"/>
                  </a:cubicBezTo>
                  <a:cubicBezTo>
                    <a:pt x="1951" y="15514"/>
                    <a:pt x="1794" y="15852"/>
                    <a:pt x="1698" y="16206"/>
                  </a:cubicBezTo>
                  <a:cubicBezTo>
                    <a:pt x="1601" y="16561"/>
                    <a:pt x="1553" y="16915"/>
                    <a:pt x="1553" y="17270"/>
                  </a:cubicBezTo>
                  <a:lnTo>
                    <a:pt x="1553" y="20511"/>
                  </a:lnTo>
                  <a:lnTo>
                    <a:pt x="20047" y="20511"/>
                  </a:lnTo>
                  <a:lnTo>
                    <a:pt x="20047" y="20511"/>
                  </a:lnTo>
                  <a:lnTo>
                    <a:pt x="20047" y="20511"/>
                  </a:lnTo>
                  <a:close/>
                  <a:moveTo>
                    <a:pt x="6429" y="7369"/>
                  </a:moveTo>
                  <a:cubicBezTo>
                    <a:pt x="5225" y="6525"/>
                    <a:pt x="4623" y="5504"/>
                    <a:pt x="4623" y="4305"/>
                  </a:cubicBezTo>
                  <a:cubicBezTo>
                    <a:pt x="4623" y="3123"/>
                    <a:pt x="5225" y="2110"/>
                    <a:pt x="6429" y="1266"/>
                  </a:cubicBezTo>
                  <a:cubicBezTo>
                    <a:pt x="7633" y="422"/>
                    <a:pt x="9090" y="0"/>
                    <a:pt x="10800" y="0"/>
                  </a:cubicBezTo>
                  <a:cubicBezTo>
                    <a:pt x="12510" y="0"/>
                    <a:pt x="13967" y="422"/>
                    <a:pt x="15171" y="1266"/>
                  </a:cubicBezTo>
                  <a:cubicBezTo>
                    <a:pt x="16375" y="2110"/>
                    <a:pt x="16977" y="3123"/>
                    <a:pt x="16977" y="4305"/>
                  </a:cubicBezTo>
                  <a:cubicBezTo>
                    <a:pt x="16977" y="5504"/>
                    <a:pt x="16375" y="6525"/>
                    <a:pt x="15171" y="7369"/>
                  </a:cubicBezTo>
                  <a:cubicBezTo>
                    <a:pt x="13967" y="8213"/>
                    <a:pt x="12510" y="8635"/>
                    <a:pt x="10800" y="8635"/>
                  </a:cubicBezTo>
                  <a:cubicBezTo>
                    <a:pt x="9090" y="8635"/>
                    <a:pt x="7633" y="8213"/>
                    <a:pt x="6429" y="7369"/>
                  </a:cubicBezTo>
                  <a:lnTo>
                    <a:pt x="6429" y="7369"/>
                  </a:lnTo>
                  <a:close/>
                  <a:moveTo>
                    <a:pt x="7513" y="2026"/>
                  </a:moveTo>
                  <a:cubicBezTo>
                    <a:pt x="7080" y="2330"/>
                    <a:pt x="6748" y="2680"/>
                    <a:pt x="6520" y="3077"/>
                  </a:cubicBezTo>
                  <a:cubicBezTo>
                    <a:pt x="6291" y="3473"/>
                    <a:pt x="6177" y="3883"/>
                    <a:pt x="6177" y="4305"/>
                  </a:cubicBezTo>
                  <a:cubicBezTo>
                    <a:pt x="6177" y="4744"/>
                    <a:pt x="6291" y="5162"/>
                    <a:pt x="6520" y="5558"/>
                  </a:cubicBezTo>
                  <a:cubicBezTo>
                    <a:pt x="6748" y="5955"/>
                    <a:pt x="7080" y="6305"/>
                    <a:pt x="7513" y="6609"/>
                  </a:cubicBezTo>
                  <a:cubicBezTo>
                    <a:pt x="7971" y="6913"/>
                    <a:pt x="8476" y="7145"/>
                    <a:pt x="9030" y="7306"/>
                  </a:cubicBezTo>
                  <a:cubicBezTo>
                    <a:pt x="9584" y="7466"/>
                    <a:pt x="10174" y="7546"/>
                    <a:pt x="10800" y="7546"/>
                  </a:cubicBezTo>
                  <a:cubicBezTo>
                    <a:pt x="11426" y="7546"/>
                    <a:pt x="12016" y="7466"/>
                    <a:pt x="12570" y="7306"/>
                  </a:cubicBezTo>
                  <a:cubicBezTo>
                    <a:pt x="13124" y="7145"/>
                    <a:pt x="13629" y="6913"/>
                    <a:pt x="14087" y="6609"/>
                  </a:cubicBezTo>
                  <a:cubicBezTo>
                    <a:pt x="14520" y="6305"/>
                    <a:pt x="14852" y="5955"/>
                    <a:pt x="15080" y="5558"/>
                  </a:cubicBezTo>
                  <a:cubicBezTo>
                    <a:pt x="15309" y="5162"/>
                    <a:pt x="15423" y="4744"/>
                    <a:pt x="15423" y="4305"/>
                  </a:cubicBezTo>
                  <a:cubicBezTo>
                    <a:pt x="15423" y="3883"/>
                    <a:pt x="15309" y="3473"/>
                    <a:pt x="15080" y="3077"/>
                  </a:cubicBezTo>
                  <a:cubicBezTo>
                    <a:pt x="14852" y="2680"/>
                    <a:pt x="14520" y="2330"/>
                    <a:pt x="14087" y="2026"/>
                  </a:cubicBezTo>
                  <a:cubicBezTo>
                    <a:pt x="13629" y="1722"/>
                    <a:pt x="13124" y="1486"/>
                    <a:pt x="12570" y="1317"/>
                  </a:cubicBezTo>
                  <a:cubicBezTo>
                    <a:pt x="12016" y="1148"/>
                    <a:pt x="11426" y="1064"/>
                    <a:pt x="10800" y="1064"/>
                  </a:cubicBezTo>
                  <a:cubicBezTo>
                    <a:pt x="10174" y="1064"/>
                    <a:pt x="9584" y="1148"/>
                    <a:pt x="9030" y="1317"/>
                  </a:cubicBezTo>
                  <a:cubicBezTo>
                    <a:pt x="8476" y="1486"/>
                    <a:pt x="7971" y="1722"/>
                    <a:pt x="7513" y="2026"/>
                  </a:cubicBezTo>
                  <a:lnTo>
                    <a:pt x="7513" y="2026"/>
                  </a:lnTo>
                  <a:lnTo>
                    <a:pt x="7513" y="2026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miter lim="400000"/>
            </a:ln>
          </p:spPr>
          <p:txBody>
            <a:bodyPr lIns="27428" tIns="27428" rIns="27428" bIns="27428" anchor="ctr"/>
            <a:lstStyle/>
            <a:p>
              <a:pPr marL="0" marR="0" lvl="0" indent="0" algn="l" defTabSz="3291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b="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1296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sym typeface="Gill Sans"/>
              </a:endParaRPr>
            </a:p>
          </p:txBody>
        </p:sp>
        <p:sp>
          <p:nvSpPr>
            <p:cNvPr id="1389" name="CaixaDeTexto 1388">
              <a:extLst>
                <a:ext uri="{FF2B5EF4-FFF2-40B4-BE49-F238E27FC236}">
                  <a16:creationId xmlns:a16="http://schemas.microsoft.com/office/drawing/2014/main" id="{9BDF2689-17F2-A24F-4349-FBD1FC3E613E}"/>
                </a:ext>
              </a:extLst>
            </p:cNvPr>
            <p:cNvSpPr txBox="1"/>
            <p:nvPr/>
          </p:nvSpPr>
          <p:spPr>
            <a:xfrm>
              <a:off x="777761" y="2766677"/>
              <a:ext cx="848111" cy="2308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3165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PF</a:t>
              </a:r>
            </a:p>
          </p:txBody>
        </p:sp>
      </p:grpSp>
      <p:grpSp>
        <p:nvGrpSpPr>
          <p:cNvPr id="1390" name="Agrupar 1389">
            <a:extLst>
              <a:ext uri="{FF2B5EF4-FFF2-40B4-BE49-F238E27FC236}">
                <a16:creationId xmlns:a16="http://schemas.microsoft.com/office/drawing/2014/main" id="{BB5A914F-6DDD-E5B7-82AB-6C40026423B8}"/>
              </a:ext>
            </a:extLst>
          </p:cNvPr>
          <p:cNvGrpSpPr/>
          <p:nvPr/>
        </p:nvGrpSpPr>
        <p:grpSpPr>
          <a:xfrm>
            <a:off x="7424645" y="3504593"/>
            <a:ext cx="848110" cy="583707"/>
            <a:chOff x="7953666" y="3822530"/>
            <a:chExt cx="848110" cy="583707"/>
          </a:xfrm>
        </p:grpSpPr>
        <p:sp>
          <p:nvSpPr>
            <p:cNvPr id="1391" name="Forma">
              <a:extLst>
                <a:ext uri="{FF2B5EF4-FFF2-40B4-BE49-F238E27FC236}">
                  <a16:creationId xmlns:a16="http://schemas.microsoft.com/office/drawing/2014/main" id="{03F79EE3-5A97-EE34-DB1A-04774007384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51573" y="3822530"/>
              <a:ext cx="252297" cy="252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323" y="1266"/>
                  </a:moveTo>
                  <a:cubicBezTo>
                    <a:pt x="21174" y="2110"/>
                    <a:pt x="21600" y="3123"/>
                    <a:pt x="21600" y="4305"/>
                  </a:cubicBezTo>
                  <a:lnTo>
                    <a:pt x="21600" y="17270"/>
                  </a:lnTo>
                  <a:cubicBezTo>
                    <a:pt x="21600" y="18469"/>
                    <a:pt x="21174" y="19490"/>
                    <a:pt x="20323" y="20334"/>
                  </a:cubicBezTo>
                  <a:cubicBezTo>
                    <a:pt x="19471" y="21178"/>
                    <a:pt x="18455" y="21600"/>
                    <a:pt x="17275" y="21600"/>
                  </a:cubicBezTo>
                  <a:lnTo>
                    <a:pt x="4325" y="21600"/>
                  </a:lnTo>
                  <a:cubicBezTo>
                    <a:pt x="3145" y="21600"/>
                    <a:pt x="2129" y="21178"/>
                    <a:pt x="1277" y="20334"/>
                  </a:cubicBezTo>
                  <a:cubicBezTo>
                    <a:pt x="426" y="19490"/>
                    <a:pt x="0" y="18469"/>
                    <a:pt x="0" y="17270"/>
                  </a:cubicBezTo>
                  <a:lnTo>
                    <a:pt x="0" y="4305"/>
                  </a:lnTo>
                  <a:cubicBezTo>
                    <a:pt x="0" y="3123"/>
                    <a:pt x="426" y="2110"/>
                    <a:pt x="1277" y="1266"/>
                  </a:cubicBezTo>
                  <a:cubicBezTo>
                    <a:pt x="2129" y="422"/>
                    <a:pt x="3145" y="0"/>
                    <a:pt x="4325" y="0"/>
                  </a:cubicBezTo>
                  <a:lnTo>
                    <a:pt x="17275" y="0"/>
                  </a:lnTo>
                  <a:cubicBezTo>
                    <a:pt x="18455" y="0"/>
                    <a:pt x="19471" y="422"/>
                    <a:pt x="20323" y="1266"/>
                  </a:cubicBezTo>
                  <a:lnTo>
                    <a:pt x="20323" y="1266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miter lim="400000"/>
            </a:ln>
          </p:spPr>
          <p:txBody>
            <a:bodyPr lIns="27428" tIns="27428" rIns="27428" bIns="27428" anchor="ctr"/>
            <a:lstStyle/>
            <a:p>
              <a:pPr marL="0" marR="0" lvl="0" indent="0" algn="l" defTabSz="3291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b="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1296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sym typeface="Gill Sans"/>
              </a:endParaRPr>
            </a:p>
          </p:txBody>
        </p:sp>
        <p:sp>
          <p:nvSpPr>
            <p:cNvPr id="1398" name="CaixaDeTexto 1397">
              <a:extLst>
                <a:ext uri="{FF2B5EF4-FFF2-40B4-BE49-F238E27FC236}">
                  <a16:creationId xmlns:a16="http://schemas.microsoft.com/office/drawing/2014/main" id="{DA2B48E0-BB39-88FE-A682-C2184B10B14B}"/>
                </a:ext>
              </a:extLst>
            </p:cNvPr>
            <p:cNvSpPr txBox="1"/>
            <p:nvPr/>
          </p:nvSpPr>
          <p:spPr>
            <a:xfrm>
              <a:off x="7953666" y="4036905"/>
              <a:ext cx="84811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3165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Áreas Internas</a:t>
              </a:r>
            </a:p>
          </p:txBody>
        </p:sp>
      </p:grpSp>
      <p:grpSp>
        <p:nvGrpSpPr>
          <p:cNvPr id="1407" name="Agrupar 1406">
            <a:extLst>
              <a:ext uri="{FF2B5EF4-FFF2-40B4-BE49-F238E27FC236}">
                <a16:creationId xmlns:a16="http://schemas.microsoft.com/office/drawing/2014/main" id="{0E0E16FB-E4A2-46D1-0862-508779925690}"/>
              </a:ext>
            </a:extLst>
          </p:cNvPr>
          <p:cNvGrpSpPr/>
          <p:nvPr/>
        </p:nvGrpSpPr>
        <p:grpSpPr>
          <a:xfrm>
            <a:off x="7435441" y="2892327"/>
            <a:ext cx="848110" cy="585422"/>
            <a:chOff x="7953666" y="3214740"/>
            <a:chExt cx="848110" cy="585422"/>
          </a:xfrm>
        </p:grpSpPr>
        <p:grpSp>
          <p:nvGrpSpPr>
            <p:cNvPr id="71" name="Agrupar 70">
              <a:extLst>
                <a:ext uri="{FF2B5EF4-FFF2-40B4-BE49-F238E27FC236}">
                  <a16:creationId xmlns:a16="http://schemas.microsoft.com/office/drawing/2014/main" id="{EA5FD3F2-6451-CB78-630F-2804E5186F7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232822" y="3214740"/>
              <a:ext cx="289799" cy="252001"/>
              <a:chOff x="14235288" y="1236062"/>
              <a:chExt cx="438150" cy="381001"/>
            </a:xfrm>
          </p:grpSpPr>
          <p:sp>
            <p:nvSpPr>
              <p:cNvPr id="74" name="Forma Livre: Forma 73">
                <a:extLst>
                  <a:ext uri="{FF2B5EF4-FFF2-40B4-BE49-F238E27FC236}">
                    <a16:creationId xmlns:a16="http://schemas.microsoft.com/office/drawing/2014/main" id="{2C5C529E-8892-0498-4327-F24BCEDFD216}"/>
                  </a:ext>
                </a:extLst>
              </p:cNvPr>
              <p:cNvSpPr/>
              <p:nvPr/>
            </p:nvSpPr>
            <p:spPr>
              <a:xfrm>
                <a:off x="14235288" y="1236062"/>
                <a:ext cx="438150" cy="114300"/>
              </a:xfrm>
              <a:custGeom>
                <a:avLst/>
                <a:gdLst>
                  <a:gd name="connsiteX0" fmla="*/ 219075 w 438150"/>
                  <a:gd name="connsiteY0" fmla="*/ 0 h 114300"/>
                  <a:gd name="connsiteX1" fmla="*/ 0 w 438150"/>
                  <a:gd name="connsiteY1" fmla="*/ 85725 h 114300"/>
                  <a:gd name="connsiteX2" fmla="*/ 0 w 438150"/>
                  <a:gd name="connsiteY2" fmla="*/ 95250 h 114300"/>
                  <a:gd name="connsiteX3" fmla="*/ 9525 w 438150"/>
                  <a:gd name="connsiteY3" fmla="*/ 114300 h 114300"/>
                  <a:gd name="connsiteX4" fmla="*/ 428625 w 438150"/>
                  <a:gd name="connsiteY4" fmla="*/ 114300 h 114300"/>
                  <a:gd name="connsiteX5" fmla="*/ 438150 w 438150"/>
                  <a:gd name="connsiteY5" fmla="*/ 95250 h 114300"/>
                  <a:gd name="connsiteX6" fmla="*/ 438150 w 438150"/>
                  <a:gd name="connsiteY6" fmla="*/ 85725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8150" h="114300">
                    <a:moveTo>
                      <a:pt x="219075" y="0"/>
                    </a:moveTo>
                    <a:lnTo>
                      <a:pt x="0" y="85725"/>
                    </a:lnTo>
                    <a:lnTo>
                      <a:pt x="0" y="95250"/>
                    </a:lnTo>
                    <a:lnTo>
                      <a:pt x="9525" y="114300"/>
                    </a:lnTo>
                    <a:lnTo>
                      <a:pt x="428625" y="114300"/>
                    </a:lnTo>
                    <a:lnTo>
                      <a:pt x="438150" y="95250"/>
                    </a:lnTo>
                    <a:lnTo>
                      <a:pt x="438150" y="85725"/>
                    </a:lnTo>
                    <a:close/>
                  </a:path>
                </a:pathLst>
              </a:custGeom>
              <a:noFill/>
              <a:ln w="19050" cap="rnd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5" name="Forma Livre: Forma 74">
                <a:extLst>
                  <a:ext uri="{FF2B5EF4-FFF2-40B4-BE49-F238E27FC236}">
                    <a16:creationId xmlns:a16="http://schemas.microsoft.com/office/drawing/2014/main" id="{F8C604E0-E1A7-71A5-0DD3-AF6AB4F78D3D}"/>
                  </a:ext>
                </a:extLst>
              </p:cNvPr>
              <p:cNvSpPr/>
              <p:nvPr/>
            </p:nvSpPr>
            <p:spPr>
              <a:xfrm>
                <a:off x="14530563" y="1397987"/>
                <a:ext cx="57150" cy="152400"/>
              </a:xfrm>
              <a:custGeom>
                <a:avLst/>
                <a:gdLst>
                  <a:gd name="connsiteX0" fmla="*/ 0 w 57150"/>
                  <a:gd name="connsiteY0" fmla="*/ 152400 h 152400"/>
                  <a:gd name="connsiteX1" fmla="*/ 0 w 57150"/>
                  <a:gd name="connsiteY1" fmla="*/ 28575 h 152400"/>
                  <a:gd name="connsiteX2" fmla="*/ 28575 w 57150"/>
                  <a:gd name="connsiteY2" fmla="*/ 0 h 152400"/>
                  <a:gd name="connsiteX3" fmla="*/ 28575 w 57150"/>
                  <a:gd name="connsiteY3" fmla="*/ 0 h 152400"/>
                  <a:gd name="connsiteX4" fmla="*/ 57150 w 57150"/>
                  <a:gd name="connsiteY4" fmla="*/ 28575 h 152400"/>
                  <a:gd name="connsiteX5" fmla="*/ 57150 w 57150"/>
                  <a:gd name="connsiteY5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7150" h="152400">
                    <a:moveTo>
                      <a:pt x="0" y="152400"/>
                    </a:moveTo>
                    <a:lnTo>
                      <a:pt x="0" y="28575"/>
                    </a:lnTo>
                    <a:cubicBezTo>
                      <a:pt x="0" y="12764"/>
                      <a:pt x="12763" y="0"/>
                      <a:pt x="28575" y="0"/>
                    </a:cubicBezTo>
                    <a:lnTo>
                      <a:pt x="28575" y="0"/>
                    </a:lnTo>
                    <a:cubicBezTo>
                      <a:pt x="44387" y="0"/>
                      <a:pt x="57150" y="12764"/>
                      <a:pt x="57150" y="28575"/>
                    </a:cubicBezTo>
                    <a:lnTo>
                      <a:pt x="57150" y="152400"/>
                    </a:lnTo>
                  </a:path>
                </a:pathLst>
              </a:custGeom>
              <a:noFill/>
              <a:ln w="19050" cap="rnd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7" name="Forma Livre: Forma 76">
                <a:extLst>
                  <a:ext uri="{FF2B5EF4-FFF2-40B4-BE49-F238E27FC236}">
                    <a16:creationId xmlns:a16="http://schemas.microsoft.com/office/drawing/2014/main" id="{6B161222-8D1C-FC08-49E0-CFF935A71C68}"/>
                  </a:ext>
                </a:extLst>
              </p:cNvPr>
              <p:cNvSpPr/>
              <p:nvPr/>
            </p:nvSpPr>
            <p:spPr>
              <a:xfrm>
                <a:off x="14425788" y="1397987"/>
                <a:ext cx="57150" cy="152400"/>
              </a:xfrm>
              <a:custGeom>
                <a:avLst/>
                <a:gdLst>
                  <a:gd name="connsiteX0" fmla="*/ 0 w 57150"/>
                  <a:gd name="connsiteY0" fmla="*/ 152400 h 152400"/>
                  <a:gd name="connsiteX1" fmla="*/ 0 w 57150"/>
                  <a:gd name="connsiteY1" fmla="*/ 28575 h 152400"/>
                  <a:gd name="connsiteX2" fmla="*/ 28575 w 57150"/>
                  <a:gd name="connsiteY2" fmla="*/ 0 h 152400"/>
                  <a:gd name="connsiteX3" fmla="*/ 28575 w 57150"/>
                  <a:gd name="connsiteY3" fmla="*/ 0 h 152400"/>
                  <a:gd name="connsiteX4" fmla="*/ 57150 w 57150"/>
                  <a:gd name="connsiteY4" fmla="*/ 28575 h 152400"/>
                  <a:gd name="connsiteX5" fmla="*/ 57150 w 57150"/>
                  <a:gd name="connsiteY5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7150" h="152400">
                    <a:moveTo>
                      <a:pt x="0" y="152400"/>
                    </a:moveTo>
                    <a:lnTo>
                      <a:pt x="0" y="28575"/>
                    </a:lnTo>
                    <a:cubicBezTo>
                      <a:pt x="0" y="12764"/>
                      <a:pt x="12763" y="0"/>
                      <a:pt x="28575" y="0"/>
                    </a:cubicBezTo>
                    <a:lnTo>
                      <a:pt x="28575" y="0"/>
                    </a:lnTo>
                    <a:cubicBezTo>
                      <a:pt x="44387" y="0"/>
                      <a:pt x="57150" y="12764"/>
                      <a:pt x="57150" y="28575"/>
                    </a:cubicBezTo>
                    <a:lnTo>
                      <a:pt x="57150" y="152400"/>
                    </a:lnTo>
                  </a:path>
                </a:pathLst>
              </a:custGeom>
              <a:noFill/>
              <a:ln w="19050" cap="rnd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9" name="Forma Livre: Forma 78">
                <a:extLst>
                  <a:ext uri="{FF2B5EF4-FFF2-40B4-BE49-F238E27FC236}">
                    <a16:creationId xmlns:a16="http://schemas.microsoft.com/office/drawing/2014/main" id="{E12A38E8-1A6C-6E39-EF24-964BC376CFE5}"/>
                  </a:ext>
                </a:extLst>
              </p:cNvPr>
              <p:cNvSpPr/>
              <p:nvPr/>
            </p:nvSpPr>
            <p:spPr>
              <a:xfrm>
                <a:off x="14321013" y="1397987"/>
                <a:ext cx="57150" cy="152400"/>
              </a:xfrm>
              <a:custGeom>
                <a:avLst/>
                <a:gdLst>
                  <a:gd name="connsiteX0" fmla="*/ 0 w 57150"/>
                  <a:gd name="connsiteY0" fmla="*/ 152400 h 152400"/>
                  <a:gd name="connsiteX1" fmla="*/ 0 w 57150"/>
                  <a:gd name="connsiteY1" fmla="*/ 28575 h 152400"/>
                  <a:gd name="connsiteX2" fmla="*/ 28575 w 57150"/>
                  <a:gd name="connsiteY2" fmla="*/ 0 h 152400"/>
                  <a:gd name="connsiteX3" fmla="*/ 28575 w 57150"/>
                  <a:gd name="connsiteY3" fmla="*/ 0 h 152400"/>
                  <a:gd name="connsiteX4" fmla="*/ 57150 w 57150"/>
                  <a:gd name="connsiteY4" fmla="*/ 28575 h 152400"/>
                  <a:gd name="connsiteX5" fmla="*/ 57150 w 57150"/>
                  <a:gd name="connsiteY5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7150" h="152400">
                    <a:moveTo>
                      <a:pt x="0" y="152400"/>
                    </a:moveTo>
                    <a:lnTo>
                      <a:pt x="0" y="28575"/>
                    </a:lnTo>
                    <a:cubicBezTo>
                      <a:pt x="0" y="12764"/>
                      <a:pt x="12763" y="0"/>
                      <a:pt x="28575" y="0"/>
                    </a:cubicBezTo>
                    <a:lnTo>
                      <a:pt x="28575" y="0"/>
                    </a:lnTo>
                    <a:cubicBezTo>
                      <a:pt x="44387" y="0"/>
                      <a:pt x="57150" y="12764"/>
                      <a:pt x="57150" y="28575"/>
                    </a:cubicBezTo>
                    <a:lnTo>
                      <a:pt x="57150" y="152400"/>
                    </a:lnTo>
                  </a:path>
                </a:pathLst>
              </a:custGeom>
              <a:noFill/>
              <a:ln w="19050" cap="rnd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1" name="Forma Livre: Forma 80">
                <a:extLst>
                  <a:ext uri="{FF2B5EF4-FFF2-40B4-BE49-F238E27FC236}">
                    <a16:creationId xmlns:a16="http://schemas.microsoft.com/office/drawing/2014/main" id="{0240E3CD-CF54-0A43-4187-164C7A5FAE24}"/>
                  </a:ext>
                </a:extLst>
              </p:cNvPr>
              <p:cNvSpPr/>
              <p:nvPr/>
            </p:nvSpPr>
            <p:spPr>
              <a:xfrm>
                <a:off x="14254338" y="1369412"/>
                <a:ext cx="19050" cy="200025"/>
              </a:xfrm>
              <a:custGeom>
                <a:avLst/>
                <a:gdLst>
                  <a:gd name="connsiteX0" fmla="*/ 0 w 19050"/>
                  <a:gd name="connsiteY0" fmla="*/ 0 h 200025"/>
                  <a:gd name="connsiteX1" fmla="*/ 0 w 19050"/>
                  <a:gd name="connsiteY1" fmla="*/ 19050 h 200025"/>
                  <a:gd name="connsiteX2" fmla="*/ 19050 w 19050"/>
                  <a:gd name="connsiteY2" fmla="*/ 28575 h 200025"/>
                  <a:gd name="connsiteX3" fmla="*/ 19050 w 19050"/>
                  <a:gd name="connsiteY3" fmla="*/ 200025 h 200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200025">
                    <a:moveTo>
                      <a:pt x="0" y="0"/>
                    </a:moveTo>
                    <a:lnTo>
                      <a:pt x="0" y="19050"/>
                    </a:lnTo>
                    <a:lnTo>
                      <a:pt x="19050" y="28575"/>
                    </a:lnTo>
                    <a:lnTo>
                      <a:pt x="19050" y="200025"/>
                    </a:lnTo>
                  </a:path>
                </a:pathLst>
              </a:custGeom>
              <a:noFill/>
              <a:ln w="19050" cap="rnd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2" name="Forma Livre: Forma 81">
                <a:extLst>
                  <a:ext uri="{FF2B5EF4-FFF2-40B4-BE49-F238E27FC236}">
                    <a16:creationId xmlns:a16="http://schemas.microsoft.com/office/drawing/2014/main" id="{46458163-7F3A-F1E9-0443-F06C3C987050}"/>
                  </a:ext>
                </a:extLst>
              </p:cNvPr>
              <p:cNvSpPr/>
              <p:nvPr/>
            </p:nvSpPr>
            <p:spPr>
              <a:xfrm>
                <a:off x="14635338" y="1369412"/>
                <a:ext cx="19050" cy="200025"/>
              </a:xfrm>
              <a:custGeom>
                <a:avLst/>
                <a:gdLst>
                  <a:gd name="connsiteX0" fmla="*/ 0 w 19050"/>
                  <a:gd name="connsiteY0" fmla="*/ 200025 h 200025"/>
                  <a:gd name="connsiteX1" fmla="*/ 0 w 19050"/>
                  <a:gd name="connsiteY1" fmla="*/ 28575 h 200025"/>
                  <a:gd name="connsiteX2" fmla="*/ 19050 w 19050"/>
                  <a:gd name="connsiteY2" fmla="*/ 19050 h 200025"/>
                  <a:gd name="connsiteX3" fmla="*/ 19050 w 19050"/>
                  <a:gd name="connsiteY3" fmla="*/ 0 h 200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200025">
                    <a:moveTo>
                      <a:pt x="0" y="200025"/>
                    </a:moveTo>
                    <a:lnTo>
                      <a:pt x="0" y="28575"/>
                    </a:lnTo>
                    <a:lnTo>
                      <a:pt x="19050" y="19050"/>
                    </a:lnTo>
                    <a:lnTo>
                      <a:pt x="19050" y="0"/>
                    </a:lnTo>
                  </a:path>
                </a:pathLst>
              </a:custGeom>
              <a:noFill/>
              <a:ln w="19050" cap="rnd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3" name="Forma Livre: Forma 82">
                <a:extLst>
                  <a:ext uri="{FF2B5EF4-FFF2-40B4-BE49-F238E27FC236}">
                    <a16:creationId xmlns:a16="http://schemas.microsoft.com/office/drawing/2014/main" id="{D271C302-608D-BC6B-68AD-879D4161F7A1}"/>
                  </a:ext>
                </a:extLst>
              </p:cNvPr>
              <p:cNvSpPr/>
              <p:nvPr/>
            </p:nvSpPr>
            <p:spPr>
              <a:xfrm>
                <a:off x="14244813" y="1569438"/>
                <a:ext cx="419100" cy="9525"/>
              </a:xfrm>
              <a:custGeom>
                <a:avLst/>
                <a:gdLst>
                  <a:gd name="connsiteX0" fmla="*/ 0 w 419100"/>
                  <a:gd name="connsiteY0" fmla="*/ 0 h 0"/>
                  <a:gd name="connsiteX1" fmla="*/ 419100 w 419100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9100">
                    <a:moveTo>
                      <a:pt x="0" y="0"/>
                    </a:moveTo>
                    <a:lnTo>
                      <a:pt x="419100" y="0"/>
                    </a:lnTo>
                  </a:path>
                </a:pathLst>
              </a:custGeom>
              <a:ln w="19050" cap="rnd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4" name="Forma Livre: Forma 83">
                <a:extLst>
                  <a:ext uri="{FF2B5EF4-FFF2-40B4-BE49-F238E27FC236}">
                    <a16:creationId xmlns:a16="http://schemas.microsoft.com/office/drawing/2014/main" id="{037119E0-56B4-BDC6-4F86-8246DA7E8D77}"/>
                  </a:ext>
                </a:extLst>
              </p:cNvPr>
              <p:cNvSpPr/>
              <p:nvPr/>
            </p:nvSpPr>
            <p:spPr>
              <a:xfrm>
                <a:off x="14244813" y="1607538"/>
                <a:ext cx="419100" cy="9525"/>
              </a:xfrm>
              <a:custGeom>
                <a:avLst/>
                <a:gdLst>
                  <a:gd name="connsiteX0" fmla="*/ 0 w 419100"/>
                  <a:gd name="connsiteY0" fmla="*/ 0 h 0"/>
                  <a:gd name="connsiteX1" fmla="*/ 419100 w 419100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9100">
                    <a:moveTo>
                      <a:pt x="0" y="0"/>
                    </a:moveTo>
                    <a:lnTo>
                      <a:pt x="419100" y="0"/>
                    </a:lnTo>
                  </a:path>
                </a:pathLst>
              </a:custGeom>
              <a:ln w="19050" cap="rnd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73" name="CaixaDeTexto 72">
              <a:extLst>
                <a:ext uri="{FF2B5EF4-FFF2-40B4-BE49-F238E27FC236}">
                  <a16:creationId xmlns:a16="http://schemas.microsoft.com/office/drawing/2014/main" id="{2064D3B1-E0D0-D648-1305-5F399AC56D88}"/>
                </a:ext>
              </a:extLst>
            </p:cNvPr>
            <p:cNvSpPr txBox="1"/>
            <p:nvPr/>
          </p:nvSpPr>
          <p:spPr>
            <a:xfrm>
              <a:off x="7953666" y="3430830"/>
              <a:ext cx="84811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3165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Órgãos externos</a:t>
              </a:r>
            </a:p>
          </p:txBody>
        </p:sp>
      </p:grpSp>
      <p:grpSp>
        <p:nvGrpSpPr>
          <p:cNvPr id="86" name="Agrupar 85">
            <a:extLst>
              <a:ext uri="{FF2B5EF4-FFF2-40B4-BE49-F238E27FC236}">
                <a16:creationId xmlns:a16="http://schemas.microsoft.com/office/drawing/2014/main" id="{3282E2B3-F21C-4DB4-CB9B-7CB6BDE72F8C}"/>
              </a:ext>
            </a:extLst>
          </p:cNvPr>
          <p:cNvGrpSpPr/>
          <p:nvPr/>
        </p:nvGrpSpPr>
        <p:grpSpPr>
          <a:xfrm>
            <a:off x="8332043" y="3473848"/>
            <a:ext cx="720000" cy="492788"/>
            <a:chOff x="1745578" y="3767997"/>
            <a:chExt cx="720000" cy="492788"/>
          </a:xfrm>
        </p:grpSpPr>
        <p:sp>
          <p:nvSpPr>
            <p:cNvPr id="87" name="CaixaDeTexto 86">
              <a:extLst>
                <a:ext uri="{FF2B5EF4-FFF2-40B4-BE49-F238E27FC236}">
                  <a16:creationId xmlns:a16="http://schemas.microsoft.com/office/drawing/2014/main" id="{6B037929-ACC9-C56C-4A18-20E15F5981D3}"/>
                </a:ext>
              </a:extLst>
            </p:cNvPr>
            <p:cNvSpPr txBox="1"/>
            <p:nvPr/>
          </p:nvSpPr>
          <p:spPr>
            <a:xfrm>
              <a:off x="1745578" y="4029952"/>
              <a:ext cx="720000" cy="2308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3165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Centrais</a:t>
              </a:r>
            </a:p>
          </p:txBody>
        </p:sp>
        <p:sp>
          <p:nvSpPr>
            <p:cNvPr id="88" name="Forma">
              <a:extLst>
                <a:ext uri="{FF2B5EF4-FFF2-40B4-BE49-F238E27FC236}">
                  <a16:creationId xmlns:a16="http://schemas.microsoft.com/office/drawing/2014/main" id="{6F58BACB-931C-5843-6195-F334BE64123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62462" y="3767997"/>
              <a:ext cx="266111" cy="252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109" y="18000"/>
                  </a:moveTo>
                  <a:lnTo>
                    <a:pt x="9109" y="21600"/>
                  </a:lnTo>
                  <a:lnTo>
                    <a:pt x="12518" y="21600"/>
                  </a:lnTo>
                  <a:lnTo>
                    <a:pt x="12518" y="18000"/>
                  </a:lnTo>
                  <a:lnTo>
                    <a:pt x="9109" y="18000"/>
                  </a:lnTo>
                  <a:lnTo>
                    <a:pt x="9109" y="18000"/>
                  </a:lnTo>
                  <a:lnTo>
                    <a:pt x="9109" y="18000"/>
                  </a:lnTo>
                  <a:close/>
                  <a:moveTo>
                    <a:pt x="4554" y="18000"/>
                  </a:moveTo>
                  <a:lnTo>
                    <a:pt x="7964" y="18000"/>
                  </a:lnTo>
                  <a:lnTo>
                    <a:pt x="7964" y="21600"/>
                  </a:lnTo>
                  <a:lnTo>
                    <a:pt x="4554" y="21600"/>
                  </a:lnTo>
                  <a:lnTo>
                    <a:pt x="4554" y="18000"/>
                  </a:lnTo>
                  <a:lnTo>
                    <a:pt x="4554" y="18000"/>
                  </a:lnTo>
                  <a:close/>
                  <a:moveTo>
                    <a:pt x="13636" y="18000"/>
                  </a:moveTo>
                  <a:lnTo>
                    <a:pt x="17046" y="18000"/>
                  </a:lnTo>
                  <a:lnTo>
                    <a:pt x="17046" y="21600"/>
                  </a:lnTo>
                  <a:lnTo>
                    <a:pt x="13636" y="21600"/>
                  </a:lnTo>
                  <a:lnTo>
                    <a:pt x="13636" y="18000"/>
                  </a:lnTo>
                  <a:lnTo>
                    <a:pt x="13636" y="18000"/>
                  </a:lnTo>
                  <a:close/>
                  <a:moveTo>
                    <a:pt x="4554" y="13219"/>
                  </a:moveTo>
                  <a:lnTo>
                    <a:pt x="7964" y="13219"/>
                  </a:lnTo>
                  <a:lnTo>
                    <a:pt x="7964" y="16819"/>
                  </a:lnTo>
                  <a:lnTo>
                    <a:pt x="4554" y="16819"/>
                  </a:lnTo>
                  <a:lnTo>
                    <a:pt x="4554" y="13219"/>
                  </a:lnTo>
                  <a:lnTo>
                    <a:pt x="4554" y="13219"/>
                  </a:lnTo>
                  <a:close/>
                  <a:moveTo>
                    <a:pt x="9109" y="16819"/>
                  </a:moveTo>
                  <a:lnTo>
                    <a:pt x="9109" y="13219"/>
                  </a:lnTo>
                  <a:lnTo>
                    <a:pt x="12518" y="13219"/>
                  </a:lnTo>
                  <a:lnTo>
                    <a:pt x="12518" y="16819"/>
                  </a:lnTo>
                  <a:lnTo>
                    <a:pt x="9109" y="16819"/>
                  </a:lnTo>
                  <a:lnTo>
                    <a:pt x="9109" y="16819"/>
                  </a:lnTo>
                  <a:lnTo>
                    <a:pt x="9109" y="16819"/>
                  </a:lnTo>
                  <a:close/>
                  <a:moveTo>
                    <a:pt x="13636" y="13219"/>
                  </a:moveTo>
                  <a:lnTo>
                    <a:pt x="17046" y="13219"/>
                  </a:lnTo>
                  <a:lnTo>
                    <a:pt x="17046" y="16819"/>
                  </a:lnTo>
                  <a:lnTo>
                    <a:pt x="13636" y="16819"/>
                  </a:lnTo>
                  <a:lnTo>
                    <a:pt x="13636" y="13219"/>
                  </a:lnTo>
                  <a:lnTo>
                    <a:pt x="13636" y="13219"/>
                  </a:lnTo>
                  <a:close/>
                  <a:moveTo>
                    <a:pt x="21600" y="8409"/>
                  </a:moveTo>
                  <a:cubicBezTo>
                    <a:pt x="21600" y="7247"/>
                    <a:pt x="21396" y="6159"/>
                    <a:pt x="20987" y="5147"/>
                  </a:cubicBezTo>
                  <a:cubicBezTo>
                    <a:pt x="20561" y="4116"/>
                    <a:pt x="19989" y="3220"/>
                    <a:pt x="19270" y="2461"/>
                  </a:cubicBezTo>
                  <a:cubicBezTo>
                    <a:pt x="18550" y="1702"/>
                    <a:pt x="17711" y="1107"/>
                    <a:pt x="16753" y="675"/>
                  </a:cubicBezTo>
                  <a:cubicBezTo>
                    <a:pt x="15776" y="225"/>
                    <a:pt x="14737" y="0"/>
                    <a:pt x="13636" y="0"/>
                  </a:cubicBezTo>
                  <a:lnTo>
                    <a:pt x="7964" y="0"/>
                  </a:lnTo>
                  <a:cubicBezTo>
                    <a:pt x="6863" y="0"/>
                    <a:pt x="5833" y="225"/>
                    <a:pt x="4874" y="675"/>
                  </a:cubicBezTo>
                  <a:cubicBezTo>
                    <a:pt x="3897" y="1107"/>
                    <a:pt x="3050" y="1702"/>
                    <a:pt x="2330" y="2461"/>
                  </a:cubicBezTo>
                  <a:cubicBezTo>
                    <a:pt x="1611" y="3220"/>
                    <a:pt x="1048" y="4116"/>
                    <a:pt x="639" y="5147"/>
                  </a:cubicBezTo>
                  <a:cubicBezTo>
                    <a:pt x="213" y="6159"/>
                    <a:pt x="0" y="7247"/>
                    <a:pt x="0" y="8409"/>
                  </a:cubicBezTo>
                  <a:cubicBezTo>
                    <a:pt x="0" y="9066"/>
                    <a:pt x="222" y="9628"/>
                    <a:pt x="666" y="10097"/>
                  </a:cubicBezTo>
                  <a:cubicBezTo>
                    <a:pt x="1110" y="10566"/>
                    <a:pt x="1651" y="10800"/>
                    <a:pt x="2291" y="10800"/>
                  </a:cubicBezTo>
                  <a:lnTo>
                    <a:pt x="4554" y="10800"/>
                  </a:lnTo>
                  <a:cubicBezTo>
                    <a:pt x="5176" y="10800"/>
                    <a:pt x="5709" y="10566"/>
                    <a:pt x="6152" y="10097"/>
                  </a:cubicBezTo>
                  <a:cubicBezTo>
                    <a:pt x="6596" y="9628"/>
                    <a:pt x="6818" y="9066"/>
                    <a:pt x="6818" y="8409"/>
                  </a:cubicBezTo>
                  <a:lnTo>
                    <a:pt x="6818" y="7200"/>
                  </a:lnTo>
                  <a:cubicBezTo>
                    <a:pt x="6818" y="6881"/>
                    <a:pt x="6929" y="6605"/>
                    <a:pt x="7151" y="6370"/>
                  </a:cubicBezTo>
                  <a:cubicBezTo>
                    <a:pt x="7373" y="6136"/>
                    <a:pt x="7644" y="6019"/>
                    <a:pt x="7964" y="6019"/>
                  </a:cubicBezTo>
                  <a:lnTo>
                    <a:pt x="13636" y="6019"/>
                  </a:lnTo>
                  <a:cubicBezTo>
                    <a:pt x="13956" y="6019"/>
                    <a:pt x="14227" y="6136"/>
                    <a:pt x="14449" y="6370"/>
                  </a:cubicBezTo>
                  <a:cubicBezTo>
                    <a:pt x="14671" y="6605"/>
                    <a:pt x="14782" y="6881"/>
                    <a:pt x="14782" y="7200"/>
                  </a:cubicBezTo>
                  <a:lnTo>
                    <a:pt x="14782" y="8409"/>
                  </a:lnTo>
                  <a:cubicBezTo>
                    <a:pt x="14782" y="9066"/>
                    <a:pt x="15004" y="9628"/>
                    <a:pt x="15448" y="10097"/>
                  </a:cubicBezTo>
                  <a:cubicBezTo>
                    <a:pt x="15891" y="10566"/>
                    <a:pt x="16424" y="10800"/>
                    <a:pt x="17046" y="10800"/>
                  </a:cubicBezTo>
                  <a:lnTo>
                    <a:pt x="19336" y="10800"/>
                  </a:lnTo>
                  <a:cubicBezTo>
                    <a:pt x="19958" y="10800"/>
                    <a:pt x="20490" y="10566"/>
                    <a:pt x="20934" y="10097"/>
                  </a:cubicBezTo>
                  <a:cubicBezTo>
                    <a:pt x="21378" y="9628"/>
                    <a:pt x="21600" y="9066"/>
                    <a:pt x="21600" y="8409"/>
                  </a:cubicBezTo>
                  <a:lnTo>
                    <a:pt x="21600" y="8409"/>
                  </a:lnTo>
                  <a:lnTo>
                    <a:pt x="21600" y="8409"/>
                  </a:lnTo>
                  <a:lnTo>
                    <a:pt x="21600" y="8409"/>
                  </a:lnTo>
                  <a:lnTo>
                    <a:pt x="21600" y="8409"/>
                  </a:lnTo>
                  <a:close/>
                  <a:moveTo>
                    <a:pt x="20455" y="8409"/>
                  </a:moveTo>
                  <a:cubicBezTo>
                    <a:pt x="20455" y="8747"/>
                    <a:pt x="20344" y="9033"/>
                    <a:pt x="20122" y="9267"/>
                  </a:cubicBezTo>
                  <a:cubicBezTo>
                    <a:pt x="19900" y="9502"/>
                    <a:pt x="19638" y="9619"/>
                    <a:pt x="19336" y="9619"/>
                  </a:cubicBezTo>
                  <a:lnTo>
                    <a:pt x="17046" y="9619"/>
                  </a:lnTo>
                  <a:cubicBezTo>
                    <a:pt x="16744" y="9619"/>
                    <a:pt x="16482" y="9502"/>
                    <a:pt x="16260" y="9267"/>
                  </a:cubicBezTo>
                  <a:cubicBezTo>
                    <a:pt x="16038" y="9033"/>
                    <a:pt x="15927" y="8747"/>
                    <a:pt x="15927" y="8409"/>
                  </a:cubicBezTo>
                  <a:lnTo>
                    <a:pt x="15927" y="7200"/>
                  </a:lnTo>
                  <a:cubicBezTo>
                    <a:pt x="15927" y="6544"/>
                    <a:pt x="15705" y="5981"/>
                    <a:pt x="15261" y="5513"/>
                  </a:cubicBezTo>
                  <a:cubicBezTo>
                    <a:pt x="14817" y="5044"/>
                    <a:pt x="14276" y="4809"/>
                    <a:pt x="13636" y="4809"/>
                  </a:cubicBezTo>
                  <a:lnTo>
                    <a:pt x="7964" y="4809"/>
                  </a:lnTo>
                  <a:cubicBezTo>
                    <a:pt x="7342" y="4809"/>
                    <a:pt x="6809" y="5044"/>
                    <a:pt x="6365" y="5513"/>
                  </a:cubicBezTo>
                  <a:cubicBezTo>
                    <a:pt x="5922" y="5981"/>
                    <a:pt x="5700" y="6544"/>
                    <a:pt x="5700" y="7200"/>
                  </a:cubicBezTo>
                  <a:lnTo>
                    <a:pt x="5700" y="8409"/>
                  </a:lnTo>
                  <a:cubicBezTo>
                    <a:pt x="5700" y="8747"/>
                    <a:pt x="5589" y="9033"/>
                    <a:pt x="5367" y="9267"/>
                  </a:cubicBezTo>
                  <a:cubicBezTo>
                    <a:pt x="5145" y="9502"/>
                    <a:pt x="4874" y="9619"/>
                    <a:pt x="4554" y="9619"/>
                  </a:cubicBezTo>
                  <a:lnTo>
                    <a:pt x="2291" y="9619"/>
                  </a:lnTo>
                  <a:cubicBezTo>
                    <a:pt x="1971" y="9619"/>
                    <a:pt x="1700" y="9502"/>
                    <a:pt x="1478" y="9267"/>
                  </a:cubicBezTo>
                  <a:cubicBezTo>
                    <a:pt x="1256" y="9033"/>
                    <a:pt x="1145" y="8747"/>
                    <a:pt x="1145" y="8409"/>
                  </a:cubicBezTo>
                  <a:cubicBezTo>
                    <a:pt x="1145" y="7922"/>
                    <a:pt x="1190" y="7444"/>
                    <a:pt x="1278" y="6975"/>
                  </a:cubicBezTo>
                  <a:cubicBezTo>
                    <a:pt x="1367" y="6507"/>
                    <a:pt x="1500" y="6047"/>
                    <a:pt x="1678" y="5597"/>
                  </a:cubicBezTo>
                  <a:cubicBezTo>
                    <a:pt x="1855" y="5166"/>
                    <a:pt x="2064" y="4763"/>
                    <a:pt x="2304" y="4388"/>
                  </a:cubicBezTo>
                  <a:cubicBezTo>
                    <a:pt x="2544" y="4013"/>
                    <a:pt x="2823" y="3656"/>
                    <a:pt x="3143" y="3319"/>
                  </a:cubicBezTo>
                  <a:cubicBezTo>
                    <a:pt x="3462" y="2981"/>
                    <a:pt x="3800" y="2686"/>
                    <a:pt x="4155" y="2433"/>
                  </a:cubicBezTo>
                  <a:cubicBezTo>
                    <a:pt x="4510" y="2180"/>
                    <a:pt x="4892" y="1960"/>
                    <a:pt x="5300" y="1772"/>
                  </a:cubicBezTo>
                  <a:cubicBezTo>
                    <a:pt x="5726" y="1585"/>
                    <a:pt x="6161" y="1444"/>
                    <a:pt x="6605" y="1350"/>
                  </a:cubicBezTo>
                  <a:cubicBezTo>
                    <a:pt x="7049" y="1256"/>
                    <a:pt x="7502" y="1209"/>
                    <a:pt x="7964" y="1209"/>
                  </a:cubicBezTo>
                  <a:lnTo>
                    <a:pt x="13636" y="1209"/>
                  </a:lnTo>
                  <a:cubicBezTo>
                    <a:pt x="14098" y="1209"/>
                    <a:pt x="14551" y="1256"/>
                    <a:pt x="14995" y="1350"/>
                  </a:cubicBezTo>
                  <a:cubicBezTo>
                    <a:pt x="15439" y="1444"/>
                    <a:pt x="15874" y="1585"/>
                    <a:pt x="16300" y="1772"/>
                  </a:cubicBezTo>
                  <a:cubicBezTo>
                    <a:pt x="16708" y="1960"/>
                    <a:pt x="17094" y="2180"/>
                    <a:pt x="17458" y="2433"/>
                  </a:cubicBezTo>
                  <a:cubicBezTo>
                    <a:pt x="17822" y="2686"/>
                    <a:pt x="18155" y="2981"/>
                    <a:pt x="18457" y="3319"/>
                  </a:cubicBezTo>
                  <a:cubicBezTo>
                    <a:pt x="18777" y="3656"/>
                    <a:pt x="19061" y="4013"/>
                    <a:pt x="19309" y="4388"/>
                  </a:cubicBezTo>
                  <a:cubicBezTo>
                    <a:pt x="19558" y="4763"/>
                    <a:pt x="19762" y="5166"/>
                    <a:pt x="19922" y="5597"/>
                  </a:cubicBezTo>
                  <a:cubicBezTo>
                    <a:pt x="20100" y="6047"/>
                    <a:pt x="20233" y="6507"/>
                    <a:pt x="20322" y="6975"/>
                  </a:cubicBezTo>
                  <a:cubicBezTo>
                    <a:pt x="20410" y="7444"/>
                    <a:pt x="20455" y="7922"/>
                    <a:pt x="20455" y="8409"/>
                  </a:cubicBezTo>
                  <a:lnTo>
                    <a:pt x="20455" y="8409"/>
                  </a:lnTo>
                  <a:lnTo>
                    <a:pt x="20455" y="8409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miter lim="400000"/>
            </a:ln>
          </p:spPr>
          <p:txBody>
            <a:bodyPr lIns="27428" tIns="27428" rIns="27428" bIns="27428" anchor="ctr"/>
            <a:lstStyle/>
            <a:p>
              <a:pPr marL="0" marR="0" lvl="0" indent="0" algn="l" defTabSz="3291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b="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sym typeface="Gill Sans"/>
              </a:endParaRPr>
            </a:p>
          </p:txBody>
        </p:sp>
      </p:grpSp>
      <p:grpSp>
        <p:nvGrpSpPr>
          <p:cNvPr id="89" name="Agrupar 88">
            <a:extLst>
              <a:ext uri="{FF2B5EF4-FFF2-40B4-BE49-F238E27FC236}">
                <a16:creationId xmlns:a16="http://schemas.microsoft.com/office/drawing/2014/main" id="{634FC866-62D2-C49F-C251-40A1F43AEA8B}"/>
              </a:ext>
            </a:extLst>
          </p:cNvPr>
          <p:cNvGrpSpPr/>
          <p:nvPr/>
        </p:nvGrpSpPr>
        <p:grpSpPr>
          <a:xfrm>
            <a:off x="8254325" y="2871840"/>
            <a:ext cx="848111" cy="577531"/>
            <a:chOff x="1671462" y="2183867"/>
            <a:chExt cx="848111" cy="577531"/>
          </a:xfrm>
        </p:grpSpPr>
        <p:sp>
          <p:nvSpPr>
            <p:cNvPr id="90" name="Forma">
              <a:extLst>
                <a:ext uri="{FF2B5EF4-FFF2-40B4-BE49-F238E27FC236}">
                  <a16:creationId xmlns:a16="http://schemas.microsoft.com/office/drawing/2014/main" id="{D7823486-DFE2-4CE9-F8F4-4BB898A4687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00980" y="2183867"/>
              <a:ext cx="189075" cy="252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12285" y="0"/>
                    <a:pt x="13680" y="203"/>
                    <a:pt x="14985" y="608"/>
                  </a:cubicBezTo>
                  <a:cubicBezTo>
                    <a:pt x="16312" y="1030"/>
                    <a:pt x="17460" y="1604"/>
                    <a:pt x="18428" y="2330"/>
                  </a:cubicBezTo>
                  <a:cubicBezTo>
                    <a:pt x="19395" y="3056"/>
                    <a:pt x="20171" y="3900"/>
                    <a:pt x="20756" y="4862"/>
                  </a:cubicBezTo>
                  <a:cubicBezTo>
                    <a:pt x="21318" y="5841"/>
                    <a:pt x="21600" y="6879"/>
                    <a:pt x="21600" y="7977"/>
                  </a:cubicBezTo>
                  <a:cubicBezTo>
                    <a:pt x="21600" y="9074"/>
                    <a:pt x="21037" y="10399"/>
                    <a:pt x="19913" y="11952"/>
                  </a:cubicBezTo>
                  <a:cubicBezTo>
                    <a:pt x="18787" y="13522"/>
                    <a:pt x="17550" y="15020"/>
                    <a:pt x="16200" y="16447"/>
                  </a:cubicBezTo>
                  <a:cubicBezTo>
                    <a:pt x="14850" y="17874"/>
                    <a:pt x="13612" y="19085"/>
                    <a:pt x="12488" y="20081"/>
                  </a:cubicBezTo>
                  <a:lnTo>
                    <a:pt x="10800" y="21600"/>
                  </a:lnTo>
                  <a:lnTo>
                    <a:pt x="9113" y="20081"/>
                  </a:lnTo>
                  <a:cubicBezTo>
                    <a:pt x="7987" y="19085"/>
                    <a:pt x="6750" y="17874"/>
                    <a:pt x="5400" y="16447"/>
                  </a:cubicBezTo>
                  <a:cubicBezTo>
                    <a:pt x="4050" y="15020"/>
                    <a:pt x="2812" y="13522"/>
                    <a:pt x="1687" y="11952"/>
                  </a:cubicBezTo>
                  <a:cubicBezTo>
                    <a:pt x="562" y="10399"/>
                    <a:pt x="0" y="9074"/>
                    <a:pt x="0" y="7977"/>
                  </a:cubicBezTo>
                  <a:cubicBezTo>
                    <a:pt x="0" y="6879"/>
                    <a:pt x="281" y="5841"/>
                    <a:pt x="844" y="4862"/>
                  </a:cubicBezTo>
                  <a:cubicBezTo>
                    <a:pt x="1406" y="3900"/>
                    <a:pt x="2177" y="3056"/>
                    <a:pt x="3156" y="2330"/>
                  </a:cubicBezTo>
                  <a:cubicBezTo>
                    <a:pt x="4134" y="1604"/>
                    <a:pt x="5276" y="1030"/>
                    <a:pt x="6581" y="608"/>
                  </a:cubicBezTo>
                  <a:cubicBezTo>
                    <a:pt x="7886" y="203"/>
                    <a:pt x="9292" y="0"/>
                    <a:pt x="10800" y="0"/>
                  </a:cubicBezTo>
                  <a:lnTo>
                    <a:pt x="10800" y="0"/>
                  </a:lnTo>
                  <a:lnTo>
                    <a:pt x="10800" y="0"/>
                  </a:lnTo>
                  <a:lnTo>
                    <a:pt x="10800" y="0"/>
                  </a:lnTo>
                  <a:lnTo>
                    <a:pt x="10800" y="0"/>
                  </a:lnTo>
                  <a:close/>
                  <a:moveTo>
                    <a:pt x="15019" y="15801"/>
                  </a:moveTo>
                  <a:cubicBezTo>
                    <a:pt x="15783" y="14991"/>
                    <a:pt x="16470" y="14223"/>
                    <a:pt x="17078" y="13497"/>
                  </a:cubicBezTo>
                  <a:cubicBezTo>
                    <a:pt x="17685" y="12771"/>
                    <a:pt x="18202" y="12096"/>
                    <a:pt x="18630" y="11471"/>
                  </a:cubicBezTo>
                  <a:cubicBezTo>
                    <a:pt x="19260" y="10543"/>
                    <a:pt x="19670" y="9800"/>
                    <a:pt x="19862" y="9243"/>
                  </a:cubicBezTo>
                  <a:cubicBezTo>
                    <a:pt x="20053" y="8686"/>
                    <a:pt x="20149" y="8264"/>
                    <a:pt x="20149" y="7977"/>
                  </a:cubicBezTo>
                  <a:cubicBezTo>
                    <a:pt x="20149" y="7504"/>
                    <a:pt x="20087" y="7044"/>
                    <a:pt x="19963" y="6596"/>
                  </a:cubicBezTo>
                  <a:cubicBezTo>
                    <a:pt x="19839" y="6149"/>
                    <a:pt x="19654" y="5714"/>
                    <a:pt x="19406" y="5292"/>
                  </a:cubicBezTo>
                  <a:cubicBezTo>
                    <a:pt x="19181" y="4887"/>
                    <a:pt x="18900" y="4499"/>
                    <a:pt x="18563" y="4128"/>
                  </a:cubicBezTo>
                  <a:cubicBezTo>
                    <a:pt x="18225" y="3756"/>
                    <a:pt x="17842" y="3410"/>
                    <a:pt x="17415" y="3089"/>
                  </a:cubicBezTo>
                  <a:cubicBezTo>
                    <a:pt x="16987" y="2785"/>
                    <a:pt x="16526" y="2507"/>
                    <a:pt x="16031" y="2254"/>
                  </a:cubicBezTo>
                  <a:cubicBezTo>
                    <a:pt x="15536" y="2000"/>
                    <a:pt x="15007" y="1789"/>
                    <a:pt x="14445" y="1621"/>
                  </a:cubicBezTo>
                  <a:cubicBezTo>
                    <a:pt x="13860" y="1435"/>
                    <a:pt x="13264" y="1296"/>
                    <a:pt x="12656" y="1203"/>
                  </a:cubicBezTo>
                  <a:cubicBezTo>
                    <a:pt x="12049" y="1110"/>
                    <a:pt x="11430" y="1064"/>
                    <a:pt x="10800" y="1064"/>
                  </a:cubicBezTo>
                  <a:cubicBezTo>
                    <a:pt x="10170" y="1064"/>
                    <a:pt x="9545" y="1110"/>
                    <a:pt x="8927" y="1203"/>
                  </a:cubicBezTo>
                  <a:cubicBezTo>
                    <a:pt x="8308" y="1296"/>
                    <a:pt x="7717" y="1435"/>
                    <a:pt x="7155" y="1621"/>
                  </a:cubicBezTo>
                  <a:cubicBezTo>
                    <a:pt x="6592" y="1789"/>
                    <a:pt x="6058" y="2000"/>
                    <a:pt x="5552" y="2254"/>
                  </a:cubicBezTo>
                  <a:cubicBezTo>
                    <a:pt x="5046" y="2507"/>
                    <a:pt x="4578" y="2785"/>
                    <a:pt x="4151" y="3089"/>
                  </a:cubicBezTo>
                  <a:cubicBezTo>
                    <a:pt x="3724" y="3410"/>
                    <a:pt x="3341" y="3756"/>
                    <a:pt x="3004" y="4128"/>
                  </a:cubicBezTo>
                  <a:cubicBezTo>
                    <a:pt x="2666" y="4499"/>
                    <a:pt x="2385" y="4887"/>
                    <a:pt x="2160" y="5292"/>
                  </a:cubicBezTo>
                  <a:cubicBezTo>
                    <a:pt x="1912" y="5714"/>
                    <a:pt x="1727" y="6149"/>
                    <a:pt x="1603" y="6596"/>
                  </a:cubicBezTo>
                  <a:cubicBezTo>
                    <a:pt x="1479" y="7044"/>
                    <a:pt x="1417" y="7504"/>
                    <a:pt x="1417" y="7977"/>
                  </a:cubicBezTo>
                  <a:cubicBezTo>
                    <a:pt x="1417" y="8264"/>
                    <a:pt x="1519" y="8686"/>
                    <a:pt x="1721" y="9243"/>
                  </a:cubicBezTo>
                  <a:cubicBezTo>
                    <a:pt x="1924" y="9800"/>
                    <a:pt x="2340" y="10543"/>
                    <a:pt x="2970" y="11471"/>
                  </a:cubicBezTo>
                  <a:cubicBezTo>
                    <a:pt x="3397" y="12096"/>
                    <a:pt x="3915" y="12775"/>
                    <a:pt x="4523" y="13509"/>
                  </a:cubicBezTo>
                  <a:cubicBezTo>
                    <a:pt x="5130" y="14244"/>
                    <a:pt x="5805" y="15016"/>
                    <a:pt x="6547" y="15826"/>
                  </a:cubicBezTo>
                  <a:cubicBezTo>
                    <a:pt x="7358" y="16671"/>
                    <a:pt x="8139" y="17451"/>
                    <a:pt x="8893" y="18169"/>
                  </a:cubicBezTo>
                  <a:cubicBezTo>
                    <a:pt x="9647" y="18887"/>
                    <a:pt x="10282" y="19473"/>
                    <a:pt x="10800" y="19929"/>
                  </a:cubicBezTo>
                  <a:cubicBezTo>
                    <a:pt x="11295" y="19473"/>
                    <a:pt x="11925" y="18882"/>
                    <a:pt x="12690" y="18156"/>
                  </a:cubicBezTo>
                  <a:cubicBezTo>
                    <a:pt x="13455" y="17431"/>
                    <a:pt x="14231" y="16646"/>
                    <a:pt x="15019" y="15801"/>
                  </a:cubicBezTo>
                  <a:lnTo>
                    <a:pt x="15019" y="15801"/>
                  </a:lnTo>
                  <a:lnTo>
                    <a:pt x="15019" y="15801"/>
                  </a:lnTo>
                  <a:close/>
                  <a:moveTo>
                    <a:pt x="10800" y="3241"/>
                  </a:moveTo>
                  <a:cubicBezTo>
                    <a:pt x="12195" y="3241"/>
                    <a:pt x="13382" y="3608"/>
                    <a:pt x="14361" y="4343"/>
                  </a:cubicBezTo>
                  <a:cubicBezTo>
                    <a:pt x="15339" y="5077"/>
                    <a:pt x="15829" y="5968"/>
                    <a:pt x="15829" y="7014"/>
                  </a:cubicBezTo>
                  <a:cubicBezTo>
                    <a:pt x="15829" y="8061"/>
                    <a:pt x="15339" y="8951"/>
                    <a:pt x="14361" y="9686"/>
                  </a:cubicBezTo>
                  <a:cubicBezTo>
                    <a:pt x="13382" y="10420"/>
                    <a:pt x="12195" y="10787"/>
                    <a:pt x="10800" y="10787"/>
                  </a:cubicBezTo>
                  <a:cubicBezTo>
                    <a:pt x="9405" y="10787"/>
                    <a:pt x="8212" y="10420"/>
                    <a:pt x="7223" y="9686"/>
                  </a:cubicBezTo>
                  <a:cubicBezTo>
                    <a:pt x="6232" y="8951"/>
                    <a:pt x="5738" y="8061"/>
                    <a:pt x="5738" y="7014"/>
                  </a:cubicBezTo>
                  <a:cubicBezTo>
                    <a:pt x="5738" y="5968"/>
                    <a:pt x="6232" y="5077"/>
                    <a:pt x="7223" y="4343"/>
                  </a:cubicBezTo>
                  <a:cubicBezTo>
                    <a:pt x="8212" y="3608"/>
                    <a:pt x="9405" y="3241"/>
                    <a:pt x="10800" y="3241"/>
                  </a:cubicBezTo>
                  <a:lnTo>
                    <a:pt x="10800" y="3241"/>
                  </a:lnTo>
                  <a:lnTo>
                    <a:pt x="10800" y="3241"/>
                  </a:lnTo>
                  <a:close/>
                  <a:moveTo>
                    <a:pt x="10800" y="9724"/>
                  </a:moveTo>
                  <a:cubicBezTo>
                    <a:pt x="11790" y="9724"/>
                    <a:pt x="12634" y="9458"/>
                    <a:pt x="13331" y="8926"/>
                  </a:cubicBezTo>
                  <a:cubicBezTo>
                    <a:pt x="14028" y="8394"/>
                    <a:pt x="14378" y="7757"/>
                    <a:pt x="14378" y="7014"/>
                  </a:cubicBezTo>
                  <a:cubicBezTo>
                    <a:pt x="14378" y="6272"/>
                    <a:pt x="14028" y="5634"/>
                    <a:pt x="13331" y="5102"/>
                  </a:cubicBezTo>
                  <a:cubicBezTo>
                    <a:pt x="12634" y="4571"/>
                    <a:pt x="11790" y="4305"/>
                    <a:pt x="10800" y="4305"/>
                  </a:cubicBezTo>
                  <a:cubicBezTo>
                    <a:pt x="9810" y="4305"/>
                    <a:pt x="8961" y="4571"/>
                    <a:pt x="8252" y="5102"/>
                  </a:cubicBezTo>
                  <a:cubicBezTo>
                    <a:pt x="7543" y="5634"/>
                    <a:pt x="7189" y="6272"/>
                    <a:pt x="7189" y="7014"/>
                  </a:cubicBezTo>
                  <a:cubicBezTo>
                    <a:pt x="7189" y="7757"/>
                    <a:pt x="7543" y="8394"/>
                    <a:pt x="8252" y="8926"/>
                  </a:cubicBezTo>
                  <a:cubicBezTo>
                    <a:pt x="8961" y="9458"/>
                    <a:pt x="9810" y="9724"/>
                    <a:pt x="10800" y="9724"/>
                  </a:cubicBezTo>
                  <a:lnTo>
                    <a:pt x="10800" y="9724"/>
                  </a:lnTo>
                  <a:lnTo>
                    <a:pt x="10800" y="9724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miter lim="400000"/>
            </a:ln>
          </p:spPr>
          <p:txBody>
            <a:bodyPr lIns="27428" tIns="27428" rIns="27428" bIns="27428" anchor="ctr"/>
            <a:lstStyle/>
            <a:p>
              <a:pPr marL="0" marR="0" lvl="0" indent="0" algn="ctr" defTabSz="3291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b="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sz="1296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sym typeface="Gill Sans"/>
              </a:endParaRPr>
            </a:p>
          </p:txBody>
        </p:sp>
        <p:sp>
          <p:nvSpPr>
            <p:cNvPr id="93" name="CaixaDeTexto 92">
              <a:extLst>
                <a:ext uri="{FF2B5EF4-FFF2-40B4-BE49-F238E27FC236}">
                  <a16:creationId xmlns:a16="http://schemas.microsoft.com/office/drawing/2014/main" id="{502E97B7-F031-9D6B-C797-ADD8E0CC8653}"/>
                </a:ext>
              </a:extLst>
            </p:cNvPr>
            <p:cNvSpPr txBox="1"/>
            <p:nvPr/>
          </p:nvSpPr>
          <p:spPr>
            <a:xfrm>
              <a:off x="1671462" y="2392066"/>
              <a:ext cx="84811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3165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Agências/</a:t>
              </a:r>
            </a:p>
            <a:p>
              <a:pPr marL="0" marR="0" lvl="0" indent="0" algn="ctr" defTabSz="13165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Plataformas</a:t>
              </a:r>
            </a:p>
          </p:txBody>
        </p:sp>
      </p:grpSp>
      <p:cxnSp>
        <p:nvCxnSpPr>
          <p:cNvPr id="94" name="Conector de Seta Reta 93">
            <a:extLst>
              <a:ext uri="{FF2B5EF4-FFF2-40B4-BE49-F238E27FC236}">
                <a16:creationId xmlns:a16="http://schemas.microsoft.com/office/drawing/2014/main" id="{2B257827-6B03-9DB5-F7A1-A998ABF7CCEB}"/>
              </a:ext>
            </a:extLst>
          </p:cNvPr>
          <p:cNvCxnSpPr/>
          <p:nvPr/>
        </p:nvCxnSpPr>
        <p:spPr>
          <a:xfrm>
            <a:off x="7998096" y="3642642"/>
            <a:ext cx="507910" cy="0"/>
          </a:xfrm>
          <a:prstGeom prst="straightConnector1">
            <a:avLst/>
          </a:prstGeom>
          <a:ln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Conector de Seta Reta 94">
            <a:extLst>
              <a:ext uri="{FF2B5EF4-FFF2-40B4-BE49-F238E27FC236}">
                <a16:creationId xmlns:a16="http://schemas.microsoft.com/office/drawing/2014/main" id="{59713F5D-D508-F0EA-0398-457628DC2B2F}"/>
              </a:ext>
            </a:extLst>
          </p:cNvPr>
          <p:cNvCxnSpPr/>
          <p:nvPr/>
        </p:nvCxnSpPr>
        <p:spPr>
          <a:xfrm>
            <a:off x="8002591" y="3058985"/>
            <a:ext cx="507910" cy="0"/>
          </a:xfrm>
          <a:prstGeom prst="straightConnector1">
            <a:avLst/>
          </a:prstGeom>
          <a:ln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Conector de Seta Reta 95">
            <a:extLst>
              <a:ext uri="{FF2B5EF4-FFF2-40B4-BE49-F238E27FC236}">
                <a16:creationId xmlns:a16="http://schemas.microsoft.com/office/drawing/2014/main" id="{33DB0E24-2646-0F22-89E9-2D6D63F50168}"/>
              </a:ext>
            </a:extLst>
          </p:cNvPr>
          <p:cNvCxnSpPr>
            <a:cxnSpLocks/>
          </p:cNvCxnSpPr>
          <p:nvPr/>
        </p:nvCxnSpPr>
        <p:spPr>
          <a:xfrm>
            <a:off x="7979196" y="2529731"/>
            <a:ext cx="1224812" cy="10406"/>
          </a:xfrm>
          <a:prstGeom prst="straightConnector1">
            <a:avLst/>
          </a:prstGeom>
          <a:ln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Conector reto 96">
            <a:extLst>
              <a:ext uri="{FF2B5EF4-FFF2-40B4-BE49-F238E27FC236}">
                <a16:creationId xmlns:a16="http://schemas.microsoft.com/office/drawing/2014/main" id="{35DE0883-8AB1-E320-ED8A-3DD20877D119}"/>
              </a:ext>
            </a:extLst>
          </p:cNvPr>
          <p:cNvCxnSpPr>
            <a:cxnSpLocks/>
          </p:cNvCxnSpPr>
          <p:nvPr/>
        </p:nvCxnSpPr>
        <p:spPr>
          <a:xfrm>
            <a:off x="8233151" y="1958589"/>
            <a:ext cx="0" cy="1667231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Conector reto 97">
            <a:extLst>
              <a:ext uri="{FF2B5EF4-FFF2-40B4-BE49-F238E27FC236}">
                <a16:creationId xmlns:a16="http://schemas.microsoft.com/office/drawing/2014/main" id="{FC6098E4-A6DB-6B64-469F-25566235B6F5}"/>
              </a:ext>
            </a:extLst>
          </p:cNvPr>
          <p:cNvCxnSpPr>
            <a:cxnSpLocks/>
          </p:cNvCxnSpPr>
          <p:nvPr/>
        </p:nvCxnSpPr>
        <p:spPr>
          <a:xfrm>
            <a:off x="2492953" y="1868629"/>
            <a:ext cx="0" cy="1906607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Conector reto 98">
            <a:extLst>
              <a:ext uri="{FF2B5EF4-FFF2-40B4-BE49-F238E27FC236}">
                <a16:creationId xmlns:a16="http://schemas.microsoft.com/office/drawing/2014/main" id="{7961DC58-23D1-46C6-6B3F-3AA8CC68ECE3}"/>
              </a:ext>
            </a:extLst>
          </p:cNvPr>
          <p:cNvCxnSpPr>
            <a:cxnSpLocks/>
          </p:cNvCxnSpPr>
          <p:nvPr/>
        </p:nvCxnSpPr>
        <p:spPr>
          <a:xfrm>
            <a:off x="2321122" y="3779029"/>
            <a:ext cx="178789" cy="0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Conector reto 99">
            <a:extLst>
              <a:ext uri="{FF2B5EF4-FFF2-40B4-BE49-F238E27FC236}">
                <a16:creationId xmlns:a16="http://schemas.microsoft.com/office/drawing/2014/main" id="{06567C18-1E74-9B0F-782F-CFD7BA95942B}"/>
              </a:ext>
            </a:extLst>
          </p:cNvPr>
          <p:cNvCxnSpPr>
            <a:cxnSpLocks/>
          </p:cNvCxnSpPr>
          <p:nvPr/>
        </p:nvCxnSpPr>
        <p:spPr>
          <a:xfrm>
            <a:off x="2321122" y="3152578"/>
            <a:ext cx="178789" cy="0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Conector reto 100">
            <a:extLst>
              <a:ext uri="{FF2B5EF4-FFF2-40B4-BE49-F238E27FC236}">
                <a16:creationId xmlns:a16="http://schemas.microsoft.com/office/drawing/2014/main" id="{509495D9-52F1-4553-E858-02EF5836E143}"/>
              </a:ext>
            </a:extLst>
          </p:cNvPr>
          <p:cNvCxnSpPr>
            <a:cxnSpLocks/>
          </p:cNvCxnSpPr>
          <p:nvPr/>
        </p:nvCxnSpPr>
        <p:spPr>
          <a:xfrm>
            <a:off x="2314164" y="1880929"/>
            <a:ext cx="178789" cy="0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2" name="Agrupar 101">
            <a:extLst>
              <a:ext uri="{FF2B5EF4-FFF2-40B4-BE49-F238E27FC236}">
                <a16:creationId xmlns:a16="http://schemas.microsoft.com/office/drawing/2014/main" id="{C4CF2B93-7AB7-A83C-773A-BFEC50BF1C99}"/>
              </a:ext>
            </a:extLst>
          </p:cNvPr>
          <p:cNvGrpSpPr>
            <a:grpSpLocks noChangeAspect="1"/>
          </p:cNvGrpSpPr>
          <p:nvPr/>
        </p:nvGrpSpPr>
        <p:grpSpPr>
          <a:xfrm>
            <a:off x="10392914" y="1915092"/>
            <a:ext cx="169714" cy="284166"/>
            <a:chOff x="2116817" y="2794455"/>
            <a:chExt cx="314325" cy="400050"/>
          </a:xfrm>
        </p:grpSpPr>
        <p:sp>
          <p:nvSpPr>
            <p:cNvPr id="103" name="Forma Livre: Forma 102">
              <a:extLst>
                <a:ext uri="{FF2B5EF4-FFF2-40B4-BE49-F238E27FC236}">
                  <a16:creationId xmlns:a16="http://schemas.microsoft.com/office/drawing/2014/main" id="{A0AC240B-314D-3CFF-0420-217DABBC334B}"/>
                </a:ext>
              </a:extLst>
            </p:cNvPr>
            <p:cNvSpPr/>
            <p:nvPr/>
          </p:nvSpPr>
          <p:spPr>
            <a:xfrm>
              <a:off x="2116817" y="2794455"/>
              <a:ext cx="314325" cy="133350"/>
            </a:xfrm>
            <a:custGeom>
              <a:avLst/>
              <a:gdLst>
                <a:gd name="connsiteX0" fmla="*/ 0 w 314325"/>
                <a:gd name="connsiteY0" fmla="*/ 0 h 133350"/>
                <a:gd name="connsiteX1" fmla="*/ 314325 w 314325"/>
                <a:gd name="connsiteY1" fmla="*/ 0 h 133350"/>
                <a:gd name="connsiteX2" fmla="*/ 314325 w 314325"/>
                <a:gd name="connsiteY2" fmla="*/ 133350 h 133350"/>
                <a:gd name="connsiteX3" fmla="*/ 0 w 314325"/>
                <a:gd name="connsiteY3" fmla="*/ 13335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133350">
                  <a:moveTo>
                    <a:pt x="0" y="0"/>
                  </a:moveTo>
                  <a:lnTo>
                    <a:pt x="314325" y="0"/>
                  </a:lnTo>
                  <a:lnTo>
                    <a:pt x="314325" y="133350"/>
                  </a:lnTo>
                  <a:lnTo>
                    <a:pt x="0" y="133350"/>
                  </a:lnTo>
                  <a:close/>
                </a:path>
              </a:pathLst>
            </a:custGeom>
            <a:noFill/>
            <a:ln w="1270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4" name="Forma Livre: Forma 103">
              <a:extLst>
                <a:ext uri="{FF2B5EF4-FFF2-40B4-BE49-F238E27FC236}">
                  <a16:creationId xmlns:a16="http://schemas.microsoft.com/office/drawing/2014/main" id="{C0F935CE-7008-74D0-8CE0-DDA6FCB94F84}"/>
                </a:ext>
              </a:extLst>
            </p:cNvPr>
            <p:cNvSpPr/>
            <p:nvPr/>
          </p:nvSpPr>
          <p:spPr>
            <a:xfrm>
              <a:off x="2240642" y="2861130"/>
              <a:ext cx="66675" cy="19050"/>
            </a:xfrm>
            <a:custGeom>
              <a:avLst/>
              <a:gdLst>
                <a:gd name="connsiteX0" fmla="*/ 0 w 66675"/>
                <a:gd name="connsiteY0" fmla="*/ 0 h 19050"/>
                <a:gd name="connsiteX1" fmla="*/ 0 w 66675"/>
                <a:gd name="connsiteY1" fmla="*/ 19050 h 19050"/>
                <a:gd name="connsiteX2" fmla="*/ 66675 w 66675"/>
                <a:gd name="connsiteY2" fmla="*/ 19050 h 19050"/>
                <a:gd name="connsiteX3" fmla="*/ 66675 w 66675"/>
                <a:gd name="connsiteY3" fmla="*/ 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5" h="19050">
                  <a:moveTo>
                    <a:pt x="0" y="0"/>
                  </a:moveTo>
                  <a:lnTo>
                    <a:pt x="0" y="19050"/>
                  </a:lnTo>
                  <a:lnTo>
                    <a:pt x="66675" y="19050"/>
                  </a:lnTo>
                  <a:lnTo>
                    <a:pt x="66675" y="0"/>
                  </a:lnTo>
                </a:path>
              </a:pathLst>
            </a:custGeom>
            <a:noFill/>
            <a:ln w="1270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5" name="Forma Livre: Forma 104">
              <a:extLst>
                <a:ext uri="{FF2B5EF4-FFF2-40B4-BE49-F238E27FC236}">
                  <a16:creationId xmlns:a16="http://schemas.microsoft.com/office/drawing/2014/main" id="{FF226593-DE51-D2D6-3ABC-557E4CE163E5}"/>
                </a:ext>
              </a:extLst>
            </p:cNvPr>
            <p:cNvSpPr/>
            <p:nvPr/>
          </p:nvSpPr>
          <p:spPr>
            <a:xfrm>
              <a:off x="2116817" y="2927805"/>
              <a:ext cx="314325" cy="133350"/>
            </a:xfrm>
            <a:custGeom>
              <a:avLst/>
              <a:gdLst>
                <a:gd name="connsiteX0" fmla="*/ 0 w 314325"/>
                <a:gd name="connsiteY0" fmla="*/ 0 h 133350"/>
                <a:gd name="connsiteX1" fmla="*/ 314325 w 314325"/>
                <a:gd name="connsiteY1" fmla="*/ 0 h 133350"/>
                <a:gd name="connsiteX2" fmla="*/ 314325 w 314325"/>
                <a:gd name="connsiteY2" fmla="*/ 133350 h 133350"/>
                <a:gd name="connsiteX3" fmla="*/ 0 w 314325"/>
                <a:gd name="connsiteY3" fmla="*/ 13335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133350">
                  <a:moveTo>
                    <a:pt x="0" y="0"/>
                  </a:moveTo>
                  <a:lnTo>
                    <a:pt x="314325" y="0"/>
                  </a:lnTo>
                  <a:lnTo>
                    <a:pt x="314325" y="133350"/>
                  </a:lnTo>
                  <a:lnTo>
                    <a:pt x="0" y="133350"/>
                  </a:lnTo>
                  <a:close/>
                </a:path>
              </a:pathLst>
            </a:custGeom>
            <a:noFill/>
            <a:ln w="1270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Forma Livre: Forma 105">
              <a:extLst>
                <a:ext uri="{FF2B5EF4-FFF2-40B4-BE49-F238E27FC236}">
                  <a16:creationId xmlns:a16="http://schemas.microsoft.com/office/drawing/2014/main" id="{2FB690CA-37F6-7F1B-4BD3-5F5AD038449C}"/>
                </a:ext>
              </a:extLst>
            </p:cNvPr>
            <p:cNvSpPr/>
            <p:nvPr/>
          </p:nvSpPr>
          <p:spPr>
            <a:xfrm>
              <a:off x="2240642" y="2994480"/>
              <a:ext cx="66675" cy="19050"/>
            </a:xfrm>
            <a:custGeom>
              <a:avLst/>
              <a:gdLst>
                <a:gd name="connsiteX0" fmla="*/ 0 w 66675"/>
                <a:gd name="connsiteY0" fmla="*/ 0 h 19050"/>
                <a:gd name="connsiteX1" fmla="*/ 0 w 66675"/>
                <a:gd name="connsiteY1" fmla="*/ 19050 h 19050"/>
                <a:gd name="connsiteX2" fmla="*/ 66675 w 66675"/>
                <a:gd name="connsiteY2" fmla="*/ 19050 h 19050"/>
                <a:gd name="connsiteX3" fmla="*/ 66675 w 66675"/>
                <a:gd name="connsiteY3" fmla="*/ 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5" h="19050">
                  <a:moveTo>
                    <a:pt x="0" y="0"/>
                  </a:moveTo>
                  <a:lnTo>
                    <a:pt x="0" y="19050"/>
                  </a:lnTo>
                  <a:lnTo>
                    <a:pt x="66675" y="19050"/>
                  </a:lnTo>
                  <a:lnTo>
                    <a:pt x="66675" y="0"/>
                  </a:lnTo>
                </a:path>
              </a:pathLst>
            </a:custGeom>
            <a:noFill/>
            <a:ln w="1270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7" name="Forma Livre: Forma 106">
              <a:extLst>
                <a:ext uri="{FF2B5EF4-FFF2-40B4-BE49-F238E27FC236}">
                  <a16:creationId xmlns:a16="http://schemas.microsoft.com/office/drawing/2014/main" id="{AA18954E-9CE1-2F7A-1724-36A2AC8DEE21}"/>
                </a:ext>
              </a:extLst>
            </p:cNvPr>
            <p:cNvSpPr/>
            <p:nvPr/>
          </p:nvSpPr>
          <p:spPr>
            <a:xfrm>
              <a:off x="2116817" y="3061155"/>
              <a:ext cx="314325" cy="133350"/>
            </a:xfrm>
            <a:custGeom>
              <a:avLst/>
              <a:gdLst>
                <a:gd name="connsiteX0" fmla="*/ 0 w 314325"/>
                <a:gd name="connsiteY0" fmla="*/ 0 h 133350"/>
                <a:gd name="connsiteX1" fmla="*/ 314325 w 314325"/>
                <a:gd name="connsiteY1" fmla="*/ 0 h 133350"/>
                <a:gd name="connsiteX2" fmla="*/ 314325 w 314325"/>
                <a:gd name="connsiteY2" fmla="*/ 133350 h 133350"/>
                <a:gd name="connsiteX3" fmla="*/ 0 w 314325"/>
                <a:gd name="connsiteY3" fmla="*/ 13335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133350">
                  <a:moveTo>
                    <a:pt x="0" y="0"/>
                  </a:moveTo>
                  <a:lnTo>
                    <a:pt x="314325" y="0"/>
                  </a:lnTo>
                  <a:lnTo>
                    <a:pt x="314325" y="133350"/>
                  </a:lnTo>
                  <a:lnTo>
                    <a:pt x="0" y="133350"/>
                  </a:lnTo>
                  <a:close/>
                </a:path>
              </a:pathLst>
            </a:custGeom>
            <a:noFill/>
            <a:ln w="1270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8" name="Forma Livre: Forma 107">
              <a:extLst>
                <a:ext uri="{FF2B5EF4-FFF2-40B4-BE49-F238E27FC236}">
                  <a16:creationId xmlns:a16="http://schemas.microsoft.com/office/drawing/2014/main" id="{864552B1-9B4C-6C19-BB06-5774872EF75F}"/>
                </a:ext>
              </a:extLst>
            </p:cNvPr>
            <p:cNvSpPr/>
            <p:nvPr/>
          </p:nvSpPr>
          <p:spPr>
            <a:xfrm>
              <a:off x="2240642" y="3127830"/>
              <a:ext cx="66675" cy="19050"/>
            </a:xfrm>
            <a:custGeom>
              <a:avLst/>
              <a:gdLst>
                <a:gd name="connsiteX0" fmla="*/ 0 w 66675"/>
                <a:gd name="connsiteY0" fmla="*/ 0 h 19050"/>
                <a:gd name="connsiteX1" fmla="*/ 0 w 66675"/>
                <a:gd name="connsiteY1" fmla="*/ 19050 h 19050"/>
                <a:gd name="connsiteX2" fmla="*/ 66675 w 66675"/>
                <a:gd name="connsiteY2" fmla="*/ 19050 h 19050"/>
                <a:gd name="connsiteX3" fmla="*/ 66675 w 66675"/>
                <a:gd name="connsiteY3" fmla="*/ 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5" h="19050">
                  <a:moveTo>
                    <a:pt x="0" y="0"/>
                  </a:moveTo>
                  <a:lnTo>
                    <a:pt x="0" y="19050"/>
                  </a:lnTo>
                  <a:lnTo>
                    <a:pt x="66675" y="19050"/>
                  </a:lnTo>
                  <a:lnTo>
                    <a:pt x="66675" y="0"/>
                  </a:lnTo>
                </a:path>
              </a:pathLst>
            </a:custGeom>
            <a:noFill/>
            <a:ln w="1270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09" name="CaixaDeTexto 108">
            <a:extLst>
              <a:ext uri="{FF2B5EF4-FFF2-40B4-BE49-F238E27FC236}">
                <a16:creationId xmlns:a16="http://schemas.microsoft.com/office/drawing/2014/main" id="{06147DFC-D88A-31C8-85E5-78E725A7497D}"/>
              </a:ext>
            </a:extLst>
          </p:cNvPr>
          <p:cNvSpPr txBox="1"/>
          <p:nvPr/>
        </p:nvSpPr>
        <p:spPr>
          <a:xfrm>
            <a:off x="10062299" y="2156800"/>
            <a:ext cx="8481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165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Acervos físicos</a:t>
            </a:r>
          </a:p>
        </p:txBody>
      </p:sp>
      <p:grpSp>
        <p:nvGrpSpPr>
          <p:cNvPr id="110" name="Agrupar 109">
            <a:extLst>
              <a:ext uri="{FF2B5EF4-FFF2-40B4-BE49-F238E27FC236}">
                <a16:creationId xmlns:a16="http://schemas.microsoft.com/office/drawing/2014/main" id="{291BF44D-27CE-3F8E-FBF6-E7AC4C4BDBA2}"/>
              </a:ext>
            </a:extLst>
          </p:cNvPr>
          <p:cNvGrpSpPr>
            <a:grpSpLocks noChangeAspect="1"/>
          </p:cNvGrpSpPr>
          <p:nvPr/>
        </p:nvGrpSpPr>
        <p:grpSpPr>
          <a:xfrm>
            <a:off x="11302457" y="1889083"/>
            <a:ext cx="246331" cy="252000"/>
            <a:chOff x="3593573" y="5931938"/>
            <a:chExt cx="409670" cy="419100"/>
          </a:xfrm>
        </p:grpSpPr>
        <p:sp>
          <p:nvSpPr>
            <p:cNvPr id="111" name="Forma Livre: Forma 110">
              <a:extLst>
                <a:ext uri="{FF2B5EF4-FFF2-40B4-BE49-F238E27FC236}">
                  <a16:creationId xmlns:a16="http://schemas.microsoft.com/office/drawing/2014/main" id="{E4154A20-E34E-0D51-63C4-E38CE37BCF4F}"/>
                </a:ext>
              </a:extLst>
            </p:cNvPr>
            <p:cNvSpPr/>
            <p:nvPr/>
          </p:nvSpPr>
          <p:spPr>
            <a:xfrm>
              <a:off x="3593573" y="6122438"/>
              <a:ext cx="400050" cy="228600"/>
            </a:xfrm>
            <a:custGeom>
              <a:avLst/>
              <a:gdLst>
                <a:gd name="connsiteX0" fmla="*/ 263176 w 400050"/>
                <a:gd name="connsiteY0" fmla="*/ 95345 h 228600"/>
                <a:gd name="connsiteX1" fmla="*/ 200025 w 400050"/>
                <a:gd name="connsiteY1" fmla="*/ 114300 h 228600"/>
                <a:gd name="connsiteX2" fmla="*/ 136874 w 400050"/>
                <a:gd name="connsiteY2" fmla="*/ 95250 h 228600"/>
                <a:gd name="connsiteX3" fmla="*/ 0 w 400050"/>
                <a:gd name="connsiteY3" fmla="*/ 0 h 228600"/>
                <a:gd name="connsiteX4" fmla="*/ 0 w 400050"/>
                <a:gd name="connsiteY4" fmla="*/ 200025 h 228600"/>
                <a:gd name="connsiteX5" fmla="*/ 28575 w 400050"/>
                <a:gd name="connsiteY5" fmla="*/ 228600 h 228600"/>
                <a:gd name="connsiteX6" fmla="*/ 371475 w 400050"/>
                <a:gd name="connsiteY6" fmla="*/ 228600 h 228600"/>
                <a:gd name="connsiteX7" fmla="*/ 400050 w 400050"/>
                <a:gd name="connsiteY7" fmla="*/ 200025 h 228600"/>
                <a:gd name="connsiteX8" fmla="*/ 400050 w 400050"/>
                <a:gd name="connsiteY8" fmla="*/ 0 h 228600"/>
                <a:gd name="connsiteX9" fmla="*/ 263176 w 400050"/>
                <a:gd name="connsiteY9" fmla="*/ 95345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0050" h="228600">
                  <a:moveTo>
                    <a:pt x="263176" y="95345"/>
                  </a:moveTo>
                  <a:cubicBezTo>
                    <a:pt x="251650" y="102108"/>
                    <a:pt x="227552" y="114300"/>
                    <a:pt x="200025" y="114300"/>
                  </a:cubicBezTo>
                  <a:cubicBezTo>
                    <a:pt x="172498" y="114300"/>
                    <a:pt x="148400" y="102013"/>
                    <a:pt x="136874" y="95250"/>
                  </a:cubicBezTo>
                  <a:cubicBezTo>
                    <a:pt x="126301" y="89059"/>
                    <a:pt x="0" y="0"/>
                    <a:pt x="0" y="0"/>
                  </a:cubicBezTo>
                  <a:lnTo>
                    <a:pt x="0" y="200025"/>
                  </a:lnTo>
                  <a:cubicBezTo>
                    <a:pt x="0" y="215837"/>
                    <a:pt x="12764" y="228600"/>
                    <a:pt x="28575" y="228600"/>
                  </a:cubicBezTo>
                  <a:lnTo>
                    <a:pt x="371475" y="228600"/>
                  </a:lnTo>
                  <a:cubicBezTo>
                    <a:pt x="387287" y="228600"/>
                    <a:pt x="400050" y="215837"/>
                    <a:pt x="400050" y="200025"/>
                  </a:cubicBezTo>
                  <a:lnTo>
                    <a:pt x="400050" y="0"/>
                  </a:lnTo>
                  <a:cubicBezTo>
                    <a:pt x="400145" y="0"/>
                    <a:pt x="273749" y="89154"/>
                    <a:pt x="263176" y="95345"/>
                  </a:cubicBezTo>
                  <a:close/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Forma Livre: Forma 111">
              <a:extLst>
                <a:ext uri="{FF2B5EF4-FFF2-40B4-BE49-F238E27FC236}">
                  <a16:creationId xmlns:a16="http://schemas.microsoft.com/office/drawing/2014/main" id="{08F99890-3142-F5A0-84CD-7BAC55BF03FA}"/>
                </a:ext>
              </a:extLst>
            </p:cNvPr>
            <p:cNvSpPr/>
            <p:nvPr/>
          </p:nvSpPr>
          <p:spPr>
            <a:xfrm>
              <a:off x="3860368" y="6217688"/>
              <a:ext cx="95250" cy="95250"/>
            </a:xfrm>
            <a:custGeom>
              <a:avLst/>
              <a:gdLst>
                <a:gd name="connsiteX0" fmla="*/ 0 w 95250"/>
                <a:gd name="connsiteY0" fmla="*/ 0 h 95250"/>
                <a:gd name="connsiteX1" fmla="*/ 95250 w 95250"/>
                <a:gd name="connsiteY1" fmla="*/ 95250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0" h="95250">
                  <a:moveTo>
                    <a:pt x="0" y="0"/>
                  </a:moveTo>
                  <a:lnTo>
                    <a:pt x="95250" y="95250"/>
                  </a:lnTo>
                </a:path>
              </a:pathLst>
            </a:custGeom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Forma Livre: Forma 112">
              <a:extLst>
                <a:ext uri="{FF2B5EF4-FFF2-40B4-BE49-F238E27FC236}">
                  <a16:creationId xmlns:a16="http://schemas.microsoft.com/office/drawing/2014/main" id="{C76945E4-6B6E-108C-6CB0-B513C628C10A}"/>
                </a:ext>
              </a:extLst>
            </p:cNvPr>
            <p:cNvSpPr/>
            <p:nvPr/>
          </p:nvSpPr>
          <p:spPr>
            <a:xfrm>
              <a:off x="3631768" y="6217688"/>
              <a:ext cx="95250" cy="95250"/>
            </a:xfrm>
            <a:custGeom>
              <a:avLst/>
              <a:gdLst>
                <a:gd name="connsiteX0" fmla="*/ 95250 w 95250"/>
                <a:gd name="connsiteY0" fmla="*/ 0 h 95250"/>
                <a:gd name="connsiteX1" fmla="*/ 0 w 95250"/>
                <a:gd name="connsiteY1" fmla="*/ 95250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0" h="95250">
                  <a:moveTo>
                    <a:pt x="95250" y="0"/>
                  </a:moveTo>
                  <a:lnTo>
                    <a:pt x="0" y="95250"/>
                  </a:lnTo>
                </a:path>
              </a:pathLst>
            </a:custGeom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4" name="Forma Livre: Forma 113">
              <a:extLst>
                <a:ext uri="{FF2B5EF4-FFF2-40B4-BE49-F238E27FC236}">
                  <a16:creationId xmlns:a16="http://schemas.microsoft.com/office/drawing/2014/main" id="{15F91F3A-F879-8FE3-D301-0DE17DF2DDF8}"/>
                </a:ext>
              </a:extLst>
            </p:cNvPr>
            <p:cNvSpPr/>
            <p:nvPr/>
          </p:nvSpPr>
          <p:spPr>
            <a:xfrm>
              <a:off x="3927138" y="6041856"/>
              <a:ext cx="57150" cy="76200"/>
            </a:xfrm>
            <a:custGeom>
              <a:avLst/>
              <a:gdLst>
                <a:gd name="connsiteX0" fmla="*/ 66580 w 57150"/>
                <a:gd name="connsiteY0" fmla="*/ 80582 h 76200"/>
                <a:gd name="connsiteX1" fmla="*/ 66580 w 57150"/>
                <a:gd name="connsiteY1" fmla="*/ 71057 h 76200"/>
                <a:gd name="connsiteX2" fmla="*/ 52769 w 57150"/>
                <a:gd name="connsiteY2" fmla="*/ 45339 h 76200"/>
                <a:gd name="connsiteX3" fmla="*/ 0 w 57150"/>
                <a:gd name="connsiteY3" fmla="*/ 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" h="76200">
                  <a:moveTo>
                    <a:pt x="66580" y="80582"/>
                  </a:moveTo>
                  <a:lnTo>
                    <a:pt x="66580" y="71057"/>
                  </a:lnTo>
                  <a:cubicBezTo>
                    <a:pt x="66580" y="60103"/>
                    <a:pt x="60865" y="51816"/>
                    <a:pt x="52769" y="45339"/>
                  </a:cubicBezTo>
                  <a:lnTo>
                    <a:pt x="0" y="0"/>
                  </a:lnTo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5" name="Forma Livre: Forma 114">
              <a:extLst>
                <a:ext uri="{FF2B5EF4-FFF2-40B4-BE49-F238E27FC236}">
                  <a16:creationId xmlns:a16="http://schemas.microsoft.com/office/drawing/2014/main" id="{44A3BF61-9A1B-F53A-8BAA-76454AA85180}"/>
                </a:ext>
              </a:extLst>
            </p:cNvPr>
            <p:cNvSpPr/>
            <p:nvPr/>
          </p:nvSpPr>
          <p:spPr>
            <a:xfrm>
              <a:off x="3593668" y="6041761"/>
              <a:ext cx="66675" cy="76200"/>
            </a:xfrm>
            <a:custGeom>
              <a:avLst/>
              <a:gdLst>
                <a:gd name="connsiteX0" fmla="*/ 0 w 66675"/>
                <a:gd name="connsiteY0" fmla="*/ 80677 h 76200"/>
                <a:gd name="connsiteX1" fmla="*/ 0 w 66675"/>
                <a:gd name="connsiteY1" fmla="*/ 71152 h 76200"/>
                <a:gd name="connsiteX2" fmla="*/ 13811 w 66675"/>
                <a:gd name="connsiteY2" fmla="*/ 45434 h 76200"/>
                <a:gd name="connsiteX3" fmla="*/ 66675 w 66675"/>
                <a:gd name="connsiteY3" fmla="*/ 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5" h="76200">
                  <a:moveTo>
                    <a:pt x="0" y="80677"/>
                  </a:moveTo>
                  <a:lnTo>
                    <a:pt x="0" y="71152"/>
                  </a:lnTo>
                  <a:cubicBezTo>
                    <a:pt x="0" y="60198"/>
                    <a:pt x="5715" y="51911"/>
                    <a:pt x="13811" y="45434"/>
                  </a:cubicBezTo>
                  <a:lnTo>
                    <a:pt x="66675" y="0"/>
                  </a:lnTo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" name="Forma Livre: Forma 115">
              <a:extLst>
                <a:ext uri="{FF2B5EF4-FFF2-40B4-BE49-F238E27FC236}">
                  <a16:creationId xmlns:a16="http://schemas.microsoft.com/office/drawing/2014/main" id="{8873685F-89CC-3522-50B6-981CDC0CD3B5}"/>
                </a:ext>
              </a:extLst>
            </p:cNvPr>
            <p:cNvSpPr/>
            <p:nvPr/>
          </p:nvSpPr>
          <p:spPr>
            <a:xfrm>
              <a:off x="3927043" y="5931938"/>
              <a:ext cx="76200" cy="47625"/>
            </a:xfrm>
            <a:custGeom>
              <a:avLst/>
              <a:gdLst>
                <a:gd name="connsiteX0" fmla="*/ 28575 w 76200"/>
                <a:gd name="connsiteY0" fmla="*/ 47625 h 47625"/>
                <a:gd name="connsiteX1" fmla="*/ 76200 w 76200"/>
                <a:gd name="connsiteY1" fmla="*/ 47625 h 47625"/>
                <a:gd name="connsiteX2" fmla="*/ 76200 w 76200"/>
                <a:gd name="connsiteY2" fmla="*/ 38100 h 47625"/>
                <a:gd name="connsiteX3" fmla="*/ 38100 w 76200"/>
                <a:gd name="connsiteY3" fmla="*/ 0 h 47625"/>
                <a:gd name="connsiteX4" fmla="*/ 0 w 76200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7625">
                  <a:moveTo>
                    <a:pt x="28575" y="47625"/>
                  </a:moveTo>
                  <a:lnTo>
                    <a:pt x="76200" y="47625"/>
                  </a:lnTo>
                  <a:lnTo>
                    <a:pt x="76200" y="38100"/>
                  </a:lnTo>
                  <a:cubicBezTo>
                    <a:pt x="76200" y="16193"/>
                    <a:pt x="59150" y="0"/>
                    <a:pt x="38100" y="0"/>
                  </a:cubicBezTo>
                  <a:lnTo>
                    <a:pt x="0" y="0"/>
                  </a:lnTo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Forma Livre: Forma 118">
              <a:extLst>
                <a:ext uri="{FF2B5EF4-FFF2-40B4-BE49-F238E27FC236}">
                  <a16:creationId xmlns:a16="http://schemas.microsoft.com/office/drawing/2014/main" id="{94C1DD0E-8C91-0496-02AF-C45774DF2135}"/>
                </a:ext>
              </a:extLst>
            </p:cNvPr>
            <p:cNvSpPr/>
            <p:nvPr/>
          </p:nvSpPr>
          <p:spPr>
            <a:xfrm>
              <a:off x="3660343" y="5931938"/>
              <a:ext cx="304800" cy="238125"/>
            </a:xfrm>
            <a:custGeom>
              <a:avLst/>
              <a:gdLst>
                <a:gd name="connsiteX0" fmla="*/ 0 w 304800"/>
                <a:gd name="connsiteY0" fmla="*/ 238125 h 238125"/>
                <a:gd name="connsiteX1" fmla="*/ 0 w 304800"/>
                <a:gd name="connsiteY1" fmla="*/ 47625 h 238125"/>
                <a:gd name="connsiteX2" fmla="*/ 47625 w 304800"/>
                <a:gd name="connsiteY2" fmla="*/ 0 h 238125"/>
                <a:gd name="connsiteX3" fmla="*/ 314325 w 304800"/>
                <a:gd name="connsiteY3" fmla="*/ 0 h 238125"/>
                <a:gd name="connsiteX4" fmla="*/ 266700 w 304800"/>
                <a:gd name="connsiteY4" fmla="*/ 47625 h 238125"/>
                <a:gd name="connsiteX5" fmla="*/ 266700 w 304800"/>
                <a:gd name="connsiteY5" fmla="*/ 238125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4800" h="238125">
                  <a:moveTo>
                    <a:pt x="0" y="238125"/>
                  </a:moveTo>
                  <a:lnTo>
                    <a:pt x="0" y="47625"/>
                  </a:lnTo>
                  <a:cubicBezTo>
                    <a:pt x="0" y="21336"/>
                    <a:pt x="21336" y="0"/>
                    <a:pt x="47625" y="0"/>
                  </a:cubicBezTo>
                  <a:lnTo>
                    <a:pt x="314325" y="0"/>
                  </a:lnTo>
                  <a:cubicBezTo>
                    <a:pt x="288036" y="0"/>
                    <a:pt x="266700" y="21336"/>
                    <a:pt x="266700" y="47625"/>
                  </a:cubicBezTo>
                  <a:lnTo>
                    <a:pt x="266700" y="238125"/>
                  </a:lnTo>
                </a:path>
              </a:pathLst>
            </a:custGeom>
            <a:noFill/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0" name="Forma Livre: Forma 119">
              <a:extLst>
                <a:ext uri="{FF2B5EF4-FFF2-40B4-BE49-F238E27FC236}">
                  <a16:creationId xmlns:a16="http://schemas.microsoft.com/office/drawing/2014/main" id="{3143F4F7-6718-B3E9-F569-D090C42B47C9}"/>
                </a:ext>
              </a:extLst>
            </p:cNvPr>
            <p:cNvSpPr/>
            <p:nvPr/>
          </p:nvSpPr>
          <p:spPr>
            <a:xfrm>
              <a:off x="3717493" y="6017663"/>
              <a:ext cx="152400" cy="9525"/>
            </a:xfrm>
            <a:custGeom>
              <a:avLst/>
              <a:gdLst>
                <a:gd name="connsiteX0" fmla="*/ 0 w 152400"/>
                <a:gd name="connsiteY0" fmla="*/ 0 h 0"/>
                <a:gd name="connsiteX1" fmla="*/ 152400 w 1524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2400">
                  <a:moveTo>
                    <a:pt x="0" y="0"/>
                  </a:moveTo>
                  <a:lnTo>
                    <a:pt x="152400" y="0"/>
                  </a:lnTo>
                </a:path>
              </a:pathLst>
            </a:custGeom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1" name="Forma Livre: Forma 120">
              <a:extLst>
                <a:ext uri="{FF2B5EF4-FFF2-40B4-BE49-F238E27FC236}">
                  <a16:creationId xmlns:a16="http://schemas.microsoft.com/office/drawing/2014/main" id="{EDE2054D-F429-77D1-E17D-3FED412CAEBD}"/>
                </a:ext>
              </a:extLst>
            </p:cNvPr>
            <p:cNvSpPr/>
            <p:nvPr/>
          </p:nvSpPr>
          <p:spPr>
            <a:xfrm>
              <a:off x="3717493" y="6065288"/>
              <a:ext cx="152400" cy="9525"/>
            </a:xfrm>
            <a:custGeom>
              <a:avLst/>
              <a:gdLst>
                <a:gd name="connsiteX0" fmla="*/ 0 w 152400"/>
                <a:gd name="connsiteY0" fmla="*/ 0 h 0"/>
                <a:gd name="connsiteX1" fmla="*/ 152400 w 1524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2400">
                  <a:moveTo>
                    <a:pt x="0" y="0"/>
                  </a:moveTo>
                  <a:lnTo>
                    <a:pt x="152400" y="0"/>
                  </a:lnTo>
                </a:path>
              </a:pathLst>
            </a:custGeom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Forma Livre: Forma 121">
              <a:extLst>
                <a:ext uri="{FF2B5EF4-FFF2-40B4-BE49-F238E27FC236}">
                  <a16:creationId xmlns:a16="http://schemas.microsoft.com/office/drawing/2014/main" id="{AAC6B180-379E-E379-0888-956DD2E5666A}"/>
                </a:ext>
              </a:extLst>
            </p:cNvPr>
            <p:cNvSpPr/>
            <p:nvPr/>
          </p:nvSpPr>
          <p:spPr>
            <a:xfrm>
              <a:off x="3717493" y="6112913"/>
              <a:ext cx="85725" cy="9525"/>
            </a:xfrm>
            <a:custGeom>
              <a:avLst/>
              <a:gdLst>
                <a:gd name="connsiteX0" fmla="*/ 0 w 85725"/>
                <a:gd name="connsiteY0" fmla="*/ 0 h 0"/>
                <a:gd name="connsiteX1" fmla="*/ 93059 w 8572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25">
                  <a:moveTo>
                    <a:pt x="0" y="0"/>
                  </a:moveTo>
                  <a:lnTo>
                    <a:pt x="93059" y="0"/>
                  </a:lnTo>
                </a:path>
              </a:pathLst>
            </a:custGeom>
            <a:ln w="9525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23" name="CaixaDeTexto 122">
            <a:extLst>
              <a:ext uri="{FF2B5EF4-FFF2-40B4-BE49-F238E27FC236}">
                <a16:creationId xmlns:a16="http://schemas.microsoft.com/office/drawing/2014/main" id="{C6C13F50-2D97-5B47-26AB-6D63E5081B71}"/>
              </a:ext>
            </a:extLst>
          </p:cNvPr>
          <p:cNvSpPr txBox="1"/>
          <p:nvPr/>
        </p:nvSpPr>
        <p:spPr>
          <a:xfrm>
            <a:off x="10935614" y="2099224"/>
            <a:ext cx="102904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165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Correspondência</a:t>
            </a:r>
          </a:p>
        </p:txBody>
      </p:sp>
      <p:sp>
        <p:nvSpPr>
          <p:cNvPr id="127" name="Forma">
            <a:extLst>
              <a:ext uri="{FF2B5EF4-FFF2-40B4-BE49-F238E27FC236}">
                <a16:creationId xmlns:a16="http://schemas.microsoft.com/office/drawing/2014/main" id="{33F65CC8-0E6F-B07C-C0C2-0F23440A36AD}"/>
              </a:ext>
            </a:extLst>
          </p:cNvPr>
          <p:cNvSpPr>
            <a:spLocks noChangeAspect="1"/>
          </p:cNvSpPr>
          <p:nvPr/>
        </p:nvSpPr>
        <p:spPr>
          <a:xfrm>
            <a:off x="10846567" y="2463029"/>
            <a:ext cx="288340" cy="288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25" y="5394"/>
                </a:moveTo>
                <a:cubicBezTo>
                  <a:pt x="20032" y="5394"/>
                  <a:pt x="20546" y="5605"/>
                  <a:pt x="20968" y="6027"/>
                </a:cubicBezTo>
                <a:cubicBezTo>
                  <a:pt x="21389" y="6449"/>
                  <a:pt x="21600" y="6955"/>
                  <a:pt x="21600" y="7546"/>
                </a:cubicBezTo>
                <a:lnTo>
                  <a:pt x="21600" y="15117"/>
                </a:lnTo>
                <a:cubicBezTo>
                  <a:pt x="21600" y="15709"/>
                  <a:pt x="21389" y="16215"/>
                  <a:pt x="20968" y="16637"/>
                </a:cubicBezTo>
                <a:cubicBezTo>
                  <a:pt x="20546" y="17059"/>
                  <a:pt x="20032" y="17270"/>
                  <a:pt x="19425" y="17270"/>
                </a:cubicBezTo>
                <a:lnTo>
                  <a:pt x="16187" y="17270"/>
                </a:lnTo>
                <a:lnTo>
                  <a:pt x="16187" y="19448"/>
                </a:lnTo>
                <a:cubicBezTo>
                  <a:pt x="16187" y="20039"/>
                  <a:pt x="15976" y="20545"/>
                  <a:pt x="15555" y="20967"/>
                </a:cubicBezTo>
                <a:cubicBezTo>
                  <a:pt x="15133" y="21389"/>
                  <a:pt x="14628" y="21600"/>
                  <a:pt x="14037" y="21600"/>
                </a:cubicBezTo>
                <a:lnTo>
                  <a:pt x="7563" y="21600"/>
                </a:lnTo>
                <a:cubicBezTo>
                  <a:pt x="6972" y="21600"/>
                  <a:pt x="6466" y="21389"/>
                  <a:pt x="6045" y="20967"/>
                </a:cubicBezTo>
                <a:cubicBezTo>
                  <a:pt x="5623" y="20545"/>
                  <a:pt x="5413" y="20039"/>
                  <a:pt x="5413" y="19448"/>
                </a:cubicBezTo>
                <a:lnTo>
                  <a:pt x="5413" y="17270"/>
                </a:lnTo>
                <a:lnTo>
                  <a:pt x="2175" y="17270"/>
                </a:lnTo>
                <a:cubicBezTo>
                  <a:pt x="1568" y="17270"/>
                  <a:pt x="1054" y="17059"/>
                  <a:pt x="632" y="16637"/>
                </a:cubicBezTo>
                <a:cubicBezTo>
                  <a:pt x="211" y="16215"/>
                  <a:pt x="0" y="15709"/>
                  <a:pt x="0" y="15117"/>
                </a:cubicBezTo>
                <a:lnTo>
                  <a:pt x="0" y="7546"/>
                </a:lnTo>
                <a:cubicBezTo>
                  <a:pt x="0" y="6955"/>
                  <a:pt x="211" y="6449"/>
                  <a:pt x="632" y="6027"/>
                </a:cubicBezTo>
                <a:cubicBezTo>
                  <a:pt x="1054" y="5605"/>
                  <a:pt x="1568" y="5394"/>
                  <a:pt x="2175" y="5394"/>
                </a:cubicBezTo>
                <a:lnTo>
                  <a:pt x="5413" y="5394"/>
                </a:lnTo>
                <a:lnTo>
                  <a:pt x="5413" y="2152"/>
                </a:lnTo>
                <a:cubicBezTo>
                  <a:pt x="5413" y="1562"/>
                  <a:pt x="5623" y="1055"/>
                  <a:pt x="6045" y="633"/>
                </a:cubicBezTo>
                <a:cubicBezTo>
                  <a:pt x="6466" y="211"/>
                  <a:pt x="6972" y="0"/>
                  <a:pt x="7563" y="0"/>
                </a:cubicBezTo>
                <a:lnTo>
                  <a:pt x="14037" y="0"/>
                </a:lnTo>
                <a:cubicBezTo>
                  <a:pt x="14628" y="0"/>
                  <a:pt x="15133" y="211"/>
                  <a:pt x="15555" y="633"/>
                </a:cubicBezTo>
                <a:cubicBezTo>
                  <a:pt x="15976" y="1055"/>
                  <a:pt x="16187" y="1562"/>
                  <a:pt x="16187" y="2152"/>
                </a:cubicBezTo>
                <a:lnTo>
                  <a:pt x="16187" y="5394"/>
                </a:lnTo>
                <a:lnTo>
                  <a:pt x="19425" y="5394"/>
                </a:lnTo>
                <a:lnTo>
                  <a:pt x="19425" y="5394"/>
                </a:lnTo>
                <a:lnTo>
                  <a:pt x="19425" y="5394"/>
                </a:lnTo>
                <a:close/>
                <a:moveTo>
                  <a:pt x="6475" y="2152"/>
                </a:moveTo>
                <a:lnTo>
                  <a:pt x="6475" y="5394"/>
                </a:lnTo>
                <a:lnTo>
                  <a:pt x="15125" y="5394"/>
                </a:lnTo>
                <a:lnTo>
                  <a:pt x="15125" y="2152"/>
                </a:lnTo>
                <a:cubicBezTo>
                  <a:pt x="15125" y="1849"/>
                  <a:pt x="15020" y="1591"/>
                  <a:pt x="14809" y="1380"/>
                </a:cubicBezTo>
                <a:cubicBezTo>
                  <a:pt x="14598" y="1169"/>
                  <a:pt x="14341" y="1064"/>
                  <a:pt x="14037" y="1064"/>
                </a:cubicBezTo>
                <a:lnTo>
                  <a:pt x="7563" y="1064"/>
                </a:lnTo>
                <a:cubicBezTo>
                  <a:pt x="7259" y="1064"/>
                  <a:pt x="7002" y="1169"/>
                  <a:pt x="6791" y="1380"/>
                </a:cubicBezTo>
                <a:cubicBezTo>
                  <a:pt x="6580" y="1591"/>
                  <a:pt x="6475" y="1849"/>
                  <a:pt x="6475" y="2152"/>
                </a:cubicBezTo>
                <a:lnTo>
                  <a:pt x="6475" y="2152"/>
                </a:lnTo>
                <a:lnTo>
                  <a:pt x="6475" y="2152"/>
                </a:lnTo>
                <a:close/>
                <a:moveTo>
                  <a:pt x="15125" y="19448"/>
                </a:moveTo>
                <a:lnTo>
                  <a:pt x="15125" y="12965"/>
                </a:lnTo>
                <a:lnTo>
                  <a:pt x="6475" y="12965"/>
                </a:lnTo>
                <a:lnTo>
                  <a:pt x="6475" y="19448"/>
                </a:lnTo>
                <a:cubicBezTo>
                  <a:pt x="6475" y="19735"/>
                  <a:pt x="6580" y="19984"/>
                  <a:pt x="6791" y="20195"/>
                </a:cubicBezTo>
                <a:cubicBezTo>
                  <a:pt x="7002" y="20406"/>
                  <a:pt x="7259" y="20511"/>
                  <a:pt x="7563" y="20511"/>
                </a:cubicBezTo>
                <a:lnTo>
                  <a:pt x="14037" y="20511"/>
                </a:lnTo>
                <a:cubicBezTo>
                  <a:pt x="14341" y="20511"/>
                  <a:pt x="14598" y="20406"/>
                  <a:pt x="14809" y="20195"/>
                </a:cubicBezTo>
                <a:cubicBezTo>
                  <a:pt x="15020" y="19984"/>
                  <a:pt x="15125" y="19735"/>
                  <a:pt x="15125" y="19448"/>
                </a:cubicBezTo>
                <a:lnTo>
                  <a:pt x="15125" y="19448"/>
                </a:lnTo>
                <a:lnTo>
                  <a:pt x="15125" y="19448"/>
                </a:lnTo>
                <a:close/>
                <a:moveTo>
                  <a:pt x="20512" y="15117"/>
                </a:moveTo>
                <a:lnTo>
                  <a:pt x="20512" y="7546"/>
                </a:lnTo>
                <a:cubicBezTo>
                  <a:pt x="20512" y="7259"/>
                  <a:pt x="20407" y="7010"/>
                  <a:pt x="20196" y="6799"/>
                </a:cubicBezTo>
                <a:cubicBezTo>
                  <a:pt x="19985" y="6588"/>
                  <a:pt x="19728" y="6483"/>
                  <a:pt x="19425" y="6483"/>
                </a:cubicBezTo>
                <a:lnTo>
                  <a:pt x="2175" y="6483"/>
                </a:lnTo>
                <a:cubicBezTo>
                  <a:pt x="1872" y="6483"/>
                  <a:pt x="1615" y="6588"/>
                  <a:pt x="1404" y="6799"/>
                </a:cubicBezTo>
                <a:cubicBezTo>
                  <a:pt x="1193" y="7010"/>
                  <a:pt x="1088" y="7259"/>
                  <a:pt x="1088" y="7546"/>
                </a:cubicBezTo>
                <a:lnTo>
                  <a:pt x="1088" y="15117"/>
                </a:lnTo>
                <a:cubicBezTo>
                  <a:pt x="1088" y="15421"/>
                  <a:pt x="1193" y="15679"/>
                  <a:pt x="1404" y="15890"/>
                </a:cubicBezTo>
                <a:cubicBezTo>
                  <a:pt x="1615" y="16101"/>
                  <a:pt x="1872" y="16206"/>
                  <a:pt x="2175" y="16206"/>
                </a:cubicBezTo>
                <a:lnTo>
                  <a:pt x="5413" y="16206"/>
                </a:lnTo>
                <a:lnTo>
                  <a:pt x="5413" y="11876"/>
                </a:lnTo>
                <a:lnTo>
                  <a:pt x="16187" y="11876"/>
                </a:lnTo>
                <a:lnTo>
                  <a:pt x="16187" y="16206"/>
                </a:lnTo>
                <a:lnTo>
                  <a:pt x="19425" y="16206"/>
                </a:lnTo>
                <a:cubicBezTo>
                  <a:pt x="19728" y="16206"/>
                  <a:pt x="19985" y="16101"/>
                  <a:pt x="20196" y="15890"/>
                </a:cubicBezTo>
                <a:cubicBezTo>
                  <a:pt x="20407" y="15679"/>
                  <a:pt x="20512" y="15421"/>
                  <a:pt x="20512" y="15117"/>
                </a:cubicBezTo>
                <a:lnTo>
                  <a:pt x="20512" y="15117"/>
                </a:lnTo>
                <a:lnTo>
                  <a:pt x="20512" y="15117"/>
                </a:lnTo>
                <a:close/>
                <a:moveTo>
                  <a:pt x="8094" y="16206"/>
                </a:moveTo>
                <a:cubicBezTo>
                  <a:pt x="7959" y="16206"/>
                  <a:pt x="7837" y="16152"/>
                  <a:pt x="7727" y="16042"/>
                </a:cubicBezTo>
                <a:cubicBezTo>
                  <a:pt x="7617" y="15932"/>
                  <a:pt x="7563" y="15801"/>
                  <a:pt x="7563" y="15649"/>
                </a:cubicBezTo>
                <a:cubicBezTo>
                  <a:pt x="7563" y="15514"/>
                  <a:pt x="7617" y="15392"/>
                  <a:pt x="7727" y="15282"/>
                </a:cubicBezTo>
                <a:cubicBezTo>
                  <a:pt x="7837" y="15172"/>
                  <a:pt x="7959" y="15117"/>
                  <a:pt x="8094" y="15117"/>
                </a:cubicBezTo>
                <a:lnTo>
                  <a:pt x="13506" y="15117"/>
                </a:lnTo>
                <a:cubicBezTo>
                  <a:pt x="13658" y="15117"/>
                  <a:pt x="13785" y="15172"/>
                  <a:pt x="13886" y="15282"/>
                </a:cubicBezTo>
                <a:cubicBezTo>
                  <a:pt x="13987" y="15392"/>
                  <a:pt x="14037" y="15514"/>
                  <a:pt x="14037" y="15649"/>
                </a:cubicBezTo>
                <a:cubicBezTo>
                  <a:pt x="14037" y="15801"/>
                  <a:pt x="13987" y="15932"/>
                  <a:pt x="13886" y="16042"/>
                </a:cubicBezTo>
                <a:cubicBezTo>
                  <a:pt x="13785" y="16152"/>
                  <a:pt x="13658" y="16206"/>
                  <a:pt x="13506" y="16206"/>
                </a:cubicBezTo>
                <a:lnTo>
                  <a:pt x="8094" y="16206"/>
                </a:lnTo>
                <a:lnTo>
                  <a:pt x="8094" y="16206"/>
                </a:lnTo>
                <a:lnTo>
                  <a:pt x="8094" y="16206"/>
                </a:lnTo>
                <a:close/>
                <a:moveTo>
                  <a:pt x="12798" y="17434"/>
                </a:moveTo>
                <a:cubicBezTo>
                  <a:pt x="12899" y="17544"/>
                  <a:pt x="12950" y="17675"/>
                  <a:pt x="12950" y="17827"/>
                </a:cubicBezTo>
                <a:cubicBezTo>
                  <a:pt x="12950" y="17962"/>
                  <a:pt x="12899" y="18085"/>
                  <a:pt x="12798" y="18194"/>
                </a:cubicBezTo>
                <a:cubicBezTo>
                  <a:pt x="12697" y="18304"/>
                  <a:pt x="12570" y="18359"/>
                  <a:pt x="12419" y="18359"/>
                </a:cubicBezTo>
                <a:lnTo>
                  <a:pt x="9181" y="18359"/>
                </a:lnTo>
                <a:cubicBezTo>
                  <a:pt x="9030" y="18359"/>
                  <a:pt x="8903" y="18304"/>
                  <a:pt x="8802" y="18194"/>
                </a:cubicBezTo>
                <a:cubicBezTo>
                  <a:pt x="8701" y="18085"/>
                  <a:pt x="8650" y="17962"/>
                  <a:pt x="8650" y="17827"/>
                </a:cubicBezTo>
                <a:cubicBezTo>
                  <a:pt x="8650" y="17675"/>
                  <a:pt x="8701" y="17544"/>
                  <a:pt x="8802" y="17434"/>
                </a:cubicBezTo>
                <a:cubicBezTo>
                  <a:pt x="8903" y="17325"/>
                  <a:pt x="9030" y="17270"/>
                  <a:pt x="9181" y="17270"/>
                </a:cubicBezTo>
                <a:lnTo>
                  <a:pt x="12419" y="17270"/>
                </a:lnTo>
                <a:cubicBezTo>
                  <a:pt x="12570" y="17270"/>
                  <a:pt x="12697" y="17325"/>
                  <a:pt x="12798" y="17434"/>
                </a:cubicBezTo>
                <a:lnTo>
                  <a:pt x="12798" y="17434"/>
                </a:lnTo>
                <a:close/>
                <a:moveTo>
                  <a:pt x="18198" y="8787"/>
                </a:moveTo>
                <a:cubicBezTo>
                  <a:pt x="18088" y="8686"/>
                  <a:pt x="17958" y="8635"/>
                  <a:pt x="17806" y="8635"/>
                </a:cubicBezTo>
                <a:cubicBezTo>
                  <a:pt x="17671" y="8635"/>
                  <a:pt x="17549" y="8686"/>
                  <a:pt x="17439" y="8787"/>
                </a:cubicBezTo>
                <a:cubicBezTo>
                  <a:pt x="17329" y="8888"/>
                  <a:pt x="17275" y="9015"/>
                  <a:pt x="17275" y="9167"/>
                </a:cubicBezTo>
                <a:cubicBezTo>
                  <a:pt x="17275" y="9319"/>
                  <a:pt x="17329" y="9450"/>
                  <a:pt x="17439" y="9559"/>
                </a:cubicBezTo>
                <a:cubicBezTo>
                  <a:pt x="17549" y="9669"/>
                  <a:pt x="17671" y="9724"/>
                  <a:pt x="17806" y="9724"/>
                </a:cubicBezTo>
                <a:cubicBezTo>
                  <a:pt x="17958" y="9724"/>
                  <a:pt x="18088" y="9669"/>
                  <a:pt x="18198" y="9559"/>
                </a:cubicBezTo>
                <a:cubicBezTo>
                  <a:pt x="18308" y="9450"/>
                  <a:pt x="18363" y="9319"/>
                  <a:pt x="18363" y="9167"/>
                </a:cubicBezTo>
                <a:cubicBezTo>
                  <a:pt x="18363" y="9015"/>
                  <a:pt x="18308" y="8888"/>
                  <a:pt x="18198" y="8787"/>
                </a:cubicBezTo>
                <a:lnTo>
                  <a:pt x="18198" y="8787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>
            <a:miter lim="400000"/>
          </a:ln>
        </p:spPr>
        <p:txBody>
          <a:bodyPr lIns="27428" tIns="27428" rIns="27428" bIns="27428" anchor="ctr"/>
          <a:lstStyle/>
          <a:p>
            <a:pPr marL="0" marR="0" lvl="0" indent="0" algn="l" defTabSz="3291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29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408" name="CaixaDeTexto 1407">
            <a:extLst>
              <a:ext uri="{FF2B5EF4-FFF2-40B4-BE49-F238E27FC236}">
                <a16:creationId xmlns:a16="http://schemas.microsoft.com/office/drawing/2014/main" id="{0D3AC55E-5607-F753-4F04-483B018980A9}"/>
              </a:ext>
            </a:extLst>
          </p:cNvPr>
          <p:cNvSpPr txBox="1"/>
          <p:nvPr/>
        </p:nvSpPr>
        <p:spPr>
          <a:xfrm>
            <a:off x="10493554" y="2707393"/>
            <a:ext cx="102904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165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Digitalização</a:t>
            </a:r>
          </a:p>
        </p:txBody>
      </p:sp>
      <p:cxnSp>
        <p:nvCxnSpPr>
          <p:cNvPr id="1410" name="Conector de Seta Reta 1409">
            <a:extLst>
              <a:ext uri="{FF2B5EF4-FFF2-40B4-BE49-F238E27FC236}">
                <a16:creationId xmlns:a16="http://schemas.microsoft.com/office/drawing/2014/main" id="{7589D14B-B40F-BF30-ACA4-4900D12534D9}"/>
              </a:ext>
            </a:extLst>
          </p:cNvPr>
          <p:cNvCxnSpPr>
            <a:cxnSpLocks/>
          </p:cNvCxnSpPr>
          <p:nvPr/>
        </p:nvCxnSpPr>
        <p:spPr>
          <a:xfrm>
            <a:off x="9873213" y="2148179"/>
            <a:ext cx="486065" cy="8351"/>
          </a:xfrm>
          <a:prstGeom prst="straightConnector1">
            <a:avLst/>
          </a:prstGeom>
          <a:ln>
            <a:solidFill>
              <a:srgbClr val="7F7F7F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1" name="Conector: Angulado 1410">
            <a:extLst>
              <a:ext uri="{FF2B5EF4-FFF2-40B4-BE49-F238E27FC236}">
                <a16:creationId xmlns:a16="http://schemas.microsoft.com/office/drawing/2014/main" id="{0ED4264B-6295-0823-78E8-3935707BCD8B}"/>
              </a:ext>
            </a:extLst>
          </p:cNvPr>
          <p:cNvCxnSpPr>
            <a:cxnSpLocks/>
          </p:cNvCxnSpPr>
          <p:nvPr/>
        </p:nvCxnSpPr>
        <p:spPr>
          <a:xfrm flipV="1">
            <a:off x="10615637" y="2035892"/>
            <a:ext cx="676992" cy="177733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2" name="Conector: Angulado 1411">
            <a:extLst>
              <a:ext uri="{FF2B5EF4-FFF2-40B4-BE49-F238E27FC236}">
                <a16:creationId xmlns:a16="http://schemas.microsoft.com/office/drawing/2014/main" id="{AC0D8063-52A5-909D-A8D1-2DB5C17B4DE6}"/>
              </a:ext>
            </a:extLst>
          </p:cNvPr>
          <p:cNvCxnSpPr>
            <a:cxnSpLocks/>
          </p:cNvCxnSpPr>
          <p:nvPr/>
        </p:nvCxnSpPr>
        <p:spPr>
          <a:xfrm>
            <a:off x="10682990" y="2216189"/>
            <a:ext cx="314877" cy="198323"/>
          </a:xfrm>
          <a:prstGeom prst="bentConnector3">
            <a:avLst>
              <a:gd name="adj1" fmla="val 99674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4" name="Retângulo 1413">
            <a:extLst>
              <a:ext uri="{FF2B5EF4-FFF2-40B4-BE49-F238E27FC236}">
                <a16:creationId xmlns:a16="http://schemas.microsoft.com/office/drawing/2014/main" id="{1239B6E6-B306-3A33-99A7-C3CBB06CF4E6}"/>
              </a:ext>
            </a:extLst>
          </p:cNvPr>
          <p:cNvSpPr/>
          <p:nvPr/>
        </p:nvSpPr>
        <p:spPr>
          <a:xfrm>
            <a:off x="6796852" y="2451770"/>
            <a:ext cx="619904" cy="1491243"/>
          </a:xfrm>
          <a:prstGeom prst="rect">
            <a:avLst/>
          </a:prstGeom>
          <a:noFill/>
          <a:ln>
            <a:solidFill>
              <a:srgbClr val="99999B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15" name="CaixaDeTexto 1414">
            <a:extLst>
              <a:ext uri="{FF2B5EF4-FFF2-40B4-BE49-F238E27FC236}">
                <a16:creationId xmlns:a16="http://schemas.microsoft.com/office/drawing/2014/main" id="{D269A295-F876-626F-3D6D-ADA67B79E379}"/>
              </a:ext>
            </a:extLst>
          </p:cNvPr>
          <p:cNvSpPr txBox="1"/>
          <p:nvPr/>
        </p:nvSpPr>
        <p:spPr>
          <a:xfrm>
            <a:off x="6522264" y="3916039"/>
            <a:ext cx="11940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165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Módulo de comunicação</a:t>
            </a:r>
          </a:p>
        </p:txBody>
      </p:sp>
      <p:grpSp>
        <p:nvGrpSpPr>
          <p:cNvPr id="1416" name="Agrupar 1415">
            <a:extLst>
              <a:ext uri="{FF2B5EF4-FFF2-40B4-BE49-F238E27FC236}">
                <a16:creationId xmlns:a16="http://schemas.microsoft.com/office/drawing/2014/main" id="{A32E400B-171A-EC10-3445-D9F9F43F242B}"/>
              </a:ext>
            </a:extLst>
          </p:cNvPr>
          <p:cNvGrpSpPr/>
          <p:nvPr/>
        </p:nvGrpSpPr>
        <p:grpSpPr>
          <a:xfrm>
            <a:off x="3996727" y="2761890"/>
            <a:ext cx="1194068" cy="1572762"/>
            <a:chOff x="4001974" y="3189124"/>
            <a:chExt cx="1194068" cy="1572762"/>
          </a:xfrm>
        </p:grpSpPr>
        <p:sp>
          <p:nvSpPr>
            <p:cNvPr id="1417" name="Forma">
              <a:extLst>
                <a:ext uri="{FF2B5EF4-FFF2-40B4-BE49-F238E27FC236}">
                  <a16:creationId xmlns:a16="http://schemas.microsoft.com/office/drawing/2014/main" id="{899137C0-BB78-A615-2261-EF64BEBEC39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451" y="4266928"/>
              <a:ext cx="339740" cy="216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05" h="21600" extrusionOk="0">
                  <a:moveTo>
                    <a:pt x="20523" y="6151"/>
                  </a:moveTo>
                  <a:lnTo>
                    <a:pt x="20523" y="20044"/>
                  </a:lnTo>
                  <a:lnTo>
                    <a:pt x="507" y="20044"/>
                  </a:lnTo>
                  <a:cubicBezTo>
                    <a:pt x="370" y="20044"/>
                    <a:pt x="251" y="20117"/>
                    <a:pt x="152" y="20261"/>
                  </a:cubicBezTo>
                  <a:cubicBezTo>
                    <a:pt x="53" y="20406"/>
                    <a:pt x="3" y="20587"/>
                    <a:pt x="3" y="20804"/>
                  </a:cubicBezTo>
                  <a:cubicBezTo>
                    <a:pt x="-12" y="21021"/>
                    <a:pt x="30" y="21208"/>
                    <a:pt x="129" y="21365"/>
                  </a:cubicBezTo>
                  <a:cubicBezTo>
                    <a:pt x="228" y="21522"/>
                    <a:pt x="347" y="21600"/>
                    <a:pt x="484" y="21600"/>
                  </a:cubicBezTo>
                  <a:lnTo>
                    <a:pt x="20523" y="21600"/>
                  </a:lnTo>
                  <a:cubicBezTo>
                    <a:pt x="20783" y="21600"/>
                    <a:pt x="21008" y="21450"/>
                    <a:pt x="21199" y="21148"/>
                  </a:cubicBezTo>
                  <a:cubicBezTo>
                    <a:pt x="21389" y="20846"/>
                    <a:pt x="21485" y="20478"/>
                    <a:pt x="21485" y="20044"/>
                  </a:cubicBezTo>
                  <a:lnTo>
                    <a:pt x="21485" y="4631"/>
                  </a:lnTo>
                  <a:lnTo>
                    <a:pt x="20523" y="6151"/>
                  </a:lnTo>
                  <a:lnTo>
                    <a:pt x="20523" y="6151"/>
                  </a:lnTo>
                  <a:close/>
                  <a:moveTo>
                    <a:pt x="4881" y="0"/>
                  </a:moveTo>
                  <a:cubicBezTo>
                    <a:pt x="4438" y="0"/>
                    <a:pt x="4137" y="326"/>
                    <a:pt x="3977" y="977"/>
                  </a:cubicBezTo>
                  <a:cubicBezTo>
                    <a:pt x="3816" y="1628"/>
                    <a:pt x="3904" y="2195"/>
                    <a:pt x="4240" y="2677"/>
                  </a:cubicBezTo>
                  <a:lnTo>
                    <a:pt x="12050" y="13495"/>
                  </a:lnTo>
                  <a:cubicBezTo>
                    <a:pt x="12233" y="13761"/>
                    <a:pt x="12450" y="13893"/>
                    <a:pt x="12702" y="13893"/>
                  </a:cubicBezTo>
                  <a:cubicBezTo>
                    <a:pt x="12954" y="13893"/>
                    <a:pt x="13172" y="13761"/>
                    <a:pt x="13355" y="13495"/>
                  </a:cubicBezTo>
                  <a:lnTo>
                    <a:pt x="21164" y="2677"/>
                  </a:lnTo>
                  <a:cubicBezTo>
                    <a:pt x="21500" y="2195"/>
                    <a:pt x="21588" y="1628"/>
                    <a:pt x="21428" y="977"/>
                  </a:cubicBezTo>
                  <a:cubicBezTo>
                    <a:pt x="21267" y="326"/>
                    <a:pt x="20966" y="0"/>
                    <a:pt x="20523" y="0"/>
                  </a:cubicBezTo>
                  <a:lnTo>
                    <a:pt x="4881" y="0"/>
                  </a:lnTo>
                  <a:lnTo>
                    <a:pt x="4881" y="0"/>
                  </a:lnTo>
                  <a:lnTo>
                    <a:pt x="4881" y="0"/>
                  </a:lnTo>
                  <a:close/>
                  <a:moveTo>
                    <a:pt x="12691" y="12084"/>
                  </a:moveTo>
                  <a:lnTo>
                    <a:pt x="4790" y="1520"/>
                  </a:lnTo>
                  <a:lnTo>
                    <a:pt x="20615" y="1520"/>
                  </a:lnTo>
                  <a:lnTo>
                    <a:pt x="12691" y="12084"/>
                  </a:lnTo>
                  <a:lnTo>
                    <a:pt x="12691" y="12084"/>
                  </a:lnTo>
                  <a:lnTo>
                    <a:pt x="12691" y="12084"/>
                  </a:lnTo>
                  <a:close/>
                  <a:moveTo>
                    <a:pt x="2099" y="12103"/>
                  </a:moveTo>
                  <a:cubicBezTo>
                    <a:pt x="1999" y="11946"/>
                    <a:pt x="1950" y="11771"/>
                    <a:pt x="1950" y="11578"/>
                  </a:cubicBezTo>
                  <a:cubicBezTo>
                    <a:pt x="1950" y="11361"/>
                    <a:pt x="1999" y="11174"/>
                    <a:pt x="2099" y="11017"/>
                  </a:cubicBezTo>
                  <a:cubicBezTo>
                    <a:pt x="2198" y="10860"/>
                    <a:pt x="2309" y="10782"/>
                    <a:pt x="2431" y="10782"/>
                  </a:cubicBezTo>
                  <a:lnTo>
                    <a:pt x="4400" y="10782"/>
                  </a:lnTo>
                  <a:cubicBezTo>
                    <a:pt x="4522" y="10782"/>
                    <a:pt x="4633" y="10860"/>
                    <a:pt x="4733" y="11017"/>
                  </a:cubicBezTo>
                  <a:cubicBezTo>
                    <a:pt x="4832" y="11174"/>
                    <a:pt x="4881" y="11361"/>
                    <a:pt x="4881" y="11578"/>
                  </a:cubicBezTo>
                  <a:cubicBezTo>
                    <a:pt x="4881" y="11771"/>
                    <a:pt x="4832" y="11946"/>
                    <a:pt x="4733" y="12103"/>
                  </a:cubicBezTo>
                  <a:cubicBezTo>
                    <a:pt x="4633" y="12260"/>
                    <a:pt x="4522" y="12338"/>
                    <a:pt x="4400" y="12338"/>
                  </a:cubicBezTo>
                  <a:lnTo>
                    <a:pt x="2431" y="12338"/>
                  </a:lnTo>
                  <a:lnTo>
                    <a:pt x="2431" y="12338"/>
                  </a:lnTo>
                  <a:lnTo>
                    <a:pt x="2431" y="12338"/>
                  </a:lnTo>
                  <a:cubicBezTo>
                    <a:pt x="2309" y="12338"/>
                    <a:pt x="2198" y="12260"/>
                    <a:pt x="2099" y="12103"/>
                  </a:cubicBezTo>
                  <a:lnTo>
                    <a:pt x="2099" y="12103"/>
                  </a:lnTo>
                  <a:close/>
                  <a:moveTo>
                    <a:pt x="1469" y="16969"/>
                  </a:moveTo>
                  <a:cubicBezTo>
                    <a:pt x="1332" y="16969"/>
                    <a:pt x="1213" y="16891"/>
                    <a:pt x="1114" y="16734"/>
                  </a:cubicBezTo>
                  <a:cubicBezTo>
                    <a:pt x="1015" y="16577"/>
                    <a:pt x="965" y="16402"/>
                    <a:pt x="965" y="16209"/>
                  </a:cubicBezTo>
                  <a:cubicBezTo>
                    <a:pt x="965" y="15992"/>
                    <a:pt x="1015" y="15805"/>
                    <a:pt x="1114" y="15648"/>
                  </a:cubicBezTo>
                  <a:cubicBezTo>
                    <a:pt x="1213" y="15491"/>
                    <a:pt x="1332" y="15413"/>
                    <a:pt x="1469" y="15413"/>
                  </a:cubicBezTo>
                  <a:lnTo>
                    <a:pt x="5362" y="15413"/>
                  </a:lnTo>
                  <a:cubicBezTo>
                    <a:pt x="5500" y="15413"/>
                    <a:pt x="5618" y="15491"/>
                    <a:pt x="5717" y="15648"/>
                  </a:cubicBezTo>
                  <a:cubicBezTo>
                    <a:pt x="5816" y="15805"/>
                    <a:pt x="5866" y="15992"/>
                    <a:pt x="5866" y="16209"/>
                  </a:cubicBezTo>
                  <a:cubicBezTo>
                    <a:pt x="5866" y="16402"/>
                    <a:pt x="5816" y="16577"/>
                    <a:pt x="5717" y="16734"/>
                  </a:cubicBezTo>
                  <a:cubicBezTo>
                    <a:pt x="5618" y="16891"/>
                    <a:pt x="5500" y="16969"/>
                    <a:pt x="5362" y="16969"/>
                  </a:cubicBezTo>
                  <a:lnTo>
                    <a:pt x="1469" y="16969"/>
                  </a:lnTo>
                  <a:lnTo>
                    <a:pt x="1469" y="16969"/>
                  </a:lnTo>
                  <a:lnTo>
                    <a:pt x="1469" y="16969"/>
                  </a:lnTo>
                  <a:lnTo>
                    <a:pt x="1469" y="16969"/>
                  </a:lnTo>
                  <a:lnTo>
                    <a:pt x="1469" y="16969"/>
                  </a:lnTo>
                  <a:close/>
                  <a:moveTo>
                    <a:pt x="2935" y="7707"/>
                  </a:moveTo>
                  <a:lnTo>
                    <a:pt x="2935" y="6151"/>
                  </a:lnTo>
                  <a:lnTo>
                    <a:pt x="3897" y="6151"/>
                  </a:lnTo>
                  <a:lnTo>
                    <a:pt x="3897" y="7707"/>
                  </a:lnTo>
                  <a:lnTo>
                    <a:pt x="2935" y="7707"/>
                  </a:lnTo>
                  <a:lnTo>
                    <a:pt x="2935" y="7707"/>
                  </a:lnTo>
                  <a:lnTo>
                    <a:pt x="2935" y="7707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>
              <a:miter lim="400000"/>
            </a:ln>
          </p:spPr>
          <p:txBody>
            <a:bodyPr lIns="27428" tIns="27428" rIns="27428" bIns="27428" anchor="ctr"/>
            <a:lstStyle/>
            <a:p>
              <a:pPr marL="0" marR="0" lvl="0" indent="0" algn="l" defTabSz="3291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b="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lang="pt-BR" sz="1296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Gill Sans"/>
                <a:sym typeface="Gill Sans"/>
              </a:endParaRPr>
            </a:p>
          </p:txBody>
        </p:sp>
        <p:grpSp>
          <p:nvGrpSpPr>
            <p:cNvPr id="1418" name="Agrupar 1417">
              <a:extLst>
                <a:ext uri="{FF2B5EF4-FFF2-40B4-BE49-F238E27FC236}">
                  <a16:creationId xmlns:a16="http://schemas.microsoft.com/office/drawing/2014/main" id="{50FF72FE-7FA7-B021-7BAC-1AF1FD5B6EAF}"/>
                </a:ext>
              </a:extLst>
            </p:cNvPr>
            <p:cNvGrpSpPr/>
            <p:nvPr/>
          </p:nvGrpSpPr>
          <p:grpSpPr>
            <a:xfrm>
              <a:off x="4001974" y="3189124"/>
              <a:ext cx="1194068" cy="1572762"/>
              <a:chOff x="4322292" y="3025939"/>
              <a:chExt cx="1194068" cy="1572762"/>
            </a:xfrm>
          </p:grpSpPr>
          <p:sp>
            <p:nvSpPr>
              <p:cNvPr id="1421" name="Forma">
                <a:extLst>
                  <a:ext uri="{FF2B5EF4-FFF2-40B4-BE49-F238E27FC236}">
                    <a16:creationId xmlns:a16="http://schemas.microsoft.com/office/drawing/2014/main" id="{C4465A44-904F-878B-069A-7DA077DFF91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806477" y="3131648"/>
                <a:ext cx="151261" cy="252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018" y="950"/>
                    </a:moveTo>
                    <a:cubicBezTo>
                      <a:pt x="21073" y="1583"/>
                      <a:pt x="21600" y="2347"/>
                      <a:pt x="21600" y="3241"/>
                    </a:cubicBezTo>
                    <a:lnTo>
                      <a:pt x="21600" y="18359"/>
                    </a:lnTo>
                    <a:cubicBezTo>
                      <a:pt x="21600" y="19254"/>
                      <a:pt x="21073" y="20017"/>
                      <a:pt x="20018" y="20650"/>
                    </a:cubicBezTo>
                    <a:cubicBezTo>
                      <a:pt x="18963" y="21283"/>
                      <a:pt x="17690" y="21600"/>
                      <a:pt x="16200" y="21600"/>
                    </a:cubicBezTo>
                    <a:lnTo>
                      <a:pt x="5400" y="21600"/>
                    </a:lnTo>
                    <a:cubicBezTo>
                      <a:pt x="3909" y="21600"/>
                      <a:pt x="2637" y="21283"/>
                      <a:pt x="1582" y="20650"/>
                    </a:cubicBezTo>
                    <a:cubicBezTo>
                      <a:pt x="527" y="20017"/>
                      <a:pt x="0" y="19254"/>
                      <a:pt x="0" y="18359"/>
                    </a:cubicBezTo>
                    <a:lnTo>
                      <a:pt x="0" y="3241"/>
                    </a:lnTo>
                    <a:cubicBezTo>
                      <a:pt x="0" y="2347"/>
                      <a:pt x="527" y="1583"/>
                      <a:pt x="1582" y="950"/>
                    </a:cubicBezTo>
                    <a:cubicBezTo>
                      <a:pt x="2637" y="317"/>
                      <a:pt x="3909" y="0"/>
                      <a:pt x="5400" y="0"/>
                    </a:cubicBezTo>
                    <a:lnTo>
                      <a:pt x="16200" y="0"/>
                    </a:lnTo>
                    <a:cubicBezTo>
                      <a:pt x="17690" y="0"/>
                      <a:pt x="18963" y="317"/>
                      <a:pt x="20018" y="950"/>
                    </a:cubicBezTo>
                    <a:lnTo>
                      <a:pt x="20018" y="950"/>
                    </a:lnTo>
                    <a:close/>
                    <a:moveTo>
                      <a:pt x="19786" y="18359"/>
                    </a:moveTo>
                    <a:lnTo>
                      <a:pt x="19786" y="16206"/>
                    </a:lnTo>
                    <a:lnTo>
                      <a:pt x="1814" y="16206"/>
                    </a:lnTo>
                    <a:lnTo>
                      <a:pt x="1814" y="18359"/>
                    </a:lnTo>
                    <a:cubicBezTo>
                      <a:pt x="1814" y="18950"/>
                      <a:pt x="2165" y="19456"/>
                      <a:pt x="2869" y="19878"/>
                    </a:cubicBezTo>
                    <a:cubicBezTo>
                      <a:pt x="3571" y="20300"/>
                      <a:pt x="4415" y="20511"/>
                      <a:pt x="5400" y="20511"/>
                    </a:cubicBezTo>
                    <a:lnTo>
                      <a:pt x="16200" y="20511"/>
                    </a:lnTo>
                    <a:cubicBezTo>
                      <a:pt x="17184" y="20511"/>
                      <a:pt x="18028" y="20300"/>
                      <a:pt x="18731" y="19878"/>
                    </a:cubicBezTo>
                    <a:cubicBezTo>
                      <a:pt x="19434" y="19456"/>
                      <a:pt x="19786" y="18950"/>
                      <a:pt x="19786" y="18359"/>
                    </a:cubicBezTo>
                    <a:lnTo>
                      <a:pt x="19786" y="18359"/>
                    </a:lnTo>
                    <a:lnTo>
                      <a:pt x="19786" y="18359"/>
                    </a:lnTo>
                    <a:close/>
                    <a:moveTo>
                      <a:pt x="19786" y="4305"/>
                    </a:moveTo>
                    <a:lnTo>
                      <a:pt x="1814" y="4305"/>
                    </a:lnTo>
                    <a:lnTo>
                      <a:pt x="1814" y="15117"/>
                    </a:lnTo>
                    <a:lnTo>
                      <a:pt x="19786" y="15117"/>
                    </a:lnTo>
                    <a:lnTo>
                      <a:pt x="19786" y="4305"/>
                    </a:lnTo>
                    <a:lnTo>
                      <a:pt x="19786" y="4305"/>
                    </a:lnTo>
                    <a:close/>
                    <a:moveTo>
                      <a:pt x="1814" y="3241"/>
                    </a:moveTo>
                    <a:lnTo>
                      <a:pt x="19786" y="3241"/>
                    </a:lnTo>
                    <a:cubicBezTo>
                      <a:pt x="19786" y="2634"/>
                      <a:pt x="19434" y="2119"/>
                      <a:pt x="18731" y="1697"/>
                    </a:cubicBezTo>
                    <a:cubicBezTo>
                      <a:pt x="18028" y="1275"/>
                      <a:pt x="17184" y="1064"/>
                      <a:pt x="16200" y="1064"/>
                    </a:cubicBezTo>
                    <a:lnTo>
                      <a:pt x="5400" y="1064"/>
                    </a:lnTo>
                    <a:cubicBezTo>
                      <a:pt x="4415" y="1064"/>
                      <a:pt x="3571" y="1275"/>
                      <a:pt x="2869" y="1697"/>
                    </a:cubicBezTo>
                    <a:cubicBezTo>
                      <a:pt x="2165" y="2119"/>
                      <a:pt x="1814" y="2634"/>
                      <a:pt x="1814" y="3241"/>
                    </a:cubicBezTo>
                    <a:lnTo>
                      <a:pt x="1814" y="3241"/>
                    </a:lnTo>
                    <a:lnTo>
                      <a:pt x="1814" y="3241"/>
                    </a:lnTo>
                    <a:close/>
                    <a:moveTo>
                      <a:pt x="8986" y="18359"/>
                    </a:moveTo>
                    <a:cubicBezTo>
                      <a:pt x="8986" y="18663"/>
                      <a:pt x="9161" y="18920"/>
                      <a:pt x="9513" y="19131"/>
                    </a:cubicBezTo>
                    <a:cubicBezTo>
                      <a:pt x="9865" y="19342"/>
                      <a:pt x="10294" y="19448"/>
                      <a:pt x="10800" y="19448"/>
                    </a:cubicBezTo>
                    <a:cubicBezTo>
                      <a:pt x="11306" y="19448"/>
                      <a:pt x="11735" y="19342"/>
                      <a:pt x="12087" y="19131"/>
                    </a:cubicBezTo>
                    <a:cubicBezTo>
                      <a:pt x="12438" y="18920"/>
                      <a:pt x="12614" y="18663"/>
                      <a:pt x="12614" y="18359"/>
                    </a:cubicBezTo>
                    <a:cubicBezTo>
                      <a:pt x="12614" y="18055"/>
                      <a:pt x="12438" y="17798"/>
                      <a:pt x="12087" y="17586"/>
                    </a:cubicBezTo>
                    <a:cubicBezTo>
                      <a:pt x="11735" y="17376"/>
                      <a:pt x="11306" y="17270"/>
                      <a:pt x="10800" y="17270"/>
                    </a:cubicBezTo>
                    <a:cubicBezTo>
                      <a:pt x="10294" y="17270"/>
                      <a:pt x="9865" y="17376"/>
                      <a:pt x="9513" y="17586"/>
                    </a:cubicBezTo>
                    <a:cubicBezTo>
                      <a:pt x="9161" y="17798"/>
                      <a:pt x="8986" y="18055"/>
                      <a:pt x="8986" y="18359"/>
                    </a:cubicBezTo>
                    <a:lnTo>
                      <a:pt x="8986" y="18359"/>
                    </a:lnTo>
                    <a:lnTo>
                      <a:pt x="8986" y="18359"/>
                    </a:lnTo>
                    <a:close/>
                    <a:moveTo>
                      <a:pt x="6286" y="7546"/>
                    </a:moveTo>
                    <a:cubicBezTo>
                      <a:pt x="6539" y="7546"/>
                      <a:pt x="6757" y="7495"/>
                      <a:pt x="6940" y="7394"/>
                    </a:cubicBezTo>
                    <a:cubicBezTo>
                      <a:pt x="7122" y="7293"/>
                      <a:pt x="7214" y="7166"/>
                      <a:pt x="7214" y="7014"/>
                    </a:cubicBezTo>
                    <a:lnTo>
                      <a:pt x="7214" y="5925"/>
                    </a:lnTo>
                    <a:cubicBezTo>
                      <a:pt x="7214" y="5791"/>
                      <a:pt x="7122" y="5668"/>
                      <a:pt x="6940" y="5558"/>
                    </a:cubicBezTo>
                    <a:cubicBezTo>
                      <a:pt x="6757" y="5449"/>
                      <a:pt x="6539" y="5394"/>
                      <a:pt x="6286" y="5394"/>
                    </a:cubicBezTo>
                    <a:lnTo>
                      <a:pt x="4514" y="5394"/>
                    </a:lnTo>
                    <a:cubicBezTo>
                      <a:pt x="4261" y="5394"/>
                      <a:pt x="4043" y="5449"/>
                      <a:pt x="3860" y="5558"/>
                    </a:cubicBezTo>
                    <a:cubicBezTo>
                      <a:pt x="3677" y="5668"/>
                      <a:pt x="3586" y="5791"/>
                      <a:pt x="3586" y="5925"/>
                    </a:cubicBezTo>
                    <a:lnTo>
                      <a:pt x="3586" y="7014"/>
                    </a:lnTo>
                    <a:cubicBezTo>
                      <a:pt x="3586" y="7166"/>
                      <a:pt x="3677" y="7293"/>
                      <a:pt x="3860" y="7394"/>
                    </a:cubicBezTo>
                    <a:cubicBezTo>
                      <a:pt x="4043" y="7495"/>
                      <a:pt x="4261" y="7546"/>
                      <a:pt x="4514" y="7546"/>
                    </a:cubicBezTo>
                    <a:lnTo>
                      <a:pt x="6286" y="7546"/>
                    </a:lnTo>
                    <a:lnTo>
                      <a:pt x="6286" y="7546"/>
                    </a:lnTo>
                    <a:lnTo>
                      <a:pt x="6286" y="7546"/>
                    </a:lnTo>
                    <a:close/>
                    <a:moveTo>
                      <a:pt x="12340" y="7394"/>
                    </a:moveTo>
                    <a:cubicBezTo>
                      <a:pt x="12522" y="7293"/>
                      <a:pt x="12614" y="7166"/>
                      <a:pt x="12614" y="7014"/>
                    </a:cubicBezTo>
                    <a:lnTo>
                      <a:pt x="12614" y="5925"/>
                    </a:lnTo>
                    <a:cubicBezTo>
                      <a:pt x="12614" y="5791"/>
                      <a:pt x="12522" y="5668"/>
                      <a:pt x="12340" y="5558"/>
                    </a:cubicBezTo>
                    <a:cubicBezTo>
                      <a:pt x="12157" y="5449"/>
                      <a:pt x="11939" y="5394"/>
                      <a:pt x="11686" y="5394"/>
                    </a:cubicBezTo>
                    <a:lnTo>
                      <a:pt x="9914" y="5394"/>
                    </a:lnTo>
                    <a:cubicBezTo>
                      <a:pt x="9661" y="5394"/>
                      <a:pt x="9443" y="5449"/>
                      <a:pt x="9260" y="5558"/>
                    </a:cubicBezTo>
                    <a:cubicBezTo>
                      <a:pt x="9077" y="5668"/>
                      <a:pt x="8986" y="5791"/>
                      <a:pt x="8986" y="5925"/>
                    </a:cubicBezTo>
                    <a:lnTo>
                      <a:pt x="8986" y="7014"/>
                    </a:lnTo>
                    <a:cubicBezTo>
                      <a:pt x="8986" y="7166"/>
                      <a:pt x="9077" y="7293"/>
                      <a:pt x="9260" y="7394"/>
                    </a:cubicBezTo>
                    <a:cubicBezTo>
                      <a:pt x="9443" y="7495"/>
                      <a:pt x="9661" y="7546"/>
                      <a:pt x="9914" y="7546"/>
                    </a:cubicBezTo>
                    <a:lnTo>
                      <a:pt x="11686" y="7546"/>
                    </a:lnTo>
                    <a:cubicBezTo>
                      <a:pt x="11939" y="7546"/>
                      <a:pt x="12157" y="7495"/>
                      <a:pt x="12340" y="7394"/>
                    </a:cubicBezTo>
                    <a:lnTo>
                      <a:pt x="12340" y="7394"/>
                    </a:lnTo>
                    <a:close/>
                    <a:moveTo>
                      <a:pt x="17740" y="7394"/>
                    </a:moveTo>
                    <a:cubicBezTo>
                      <a:pt x="17922" y="7293"/>
                      <a:pt x="18014" y="7166"/>
                      <a:pt x="18014" y="7014"/>
                    </a:cubicBezTo>
                    <a:lnTo>
                      <a:pt x="18014" y="5925"/>
                    </a:lnTo>
                    <a:cubicBezTo>
                      <a:pt x="18014" y="5791"/>
                      <a:pt x="17922" y="5668"/>
                      <a:pt x="17740" y="5558"/>
                    </a:cubicBezTo>
                    <a:cubicBezTo>
                      <a:pt x="17557" y="5449"/>
                      <a:pt x="17339" y="5394"/>
                      <a:pt x="17086" y="5394"/>
                    </a:cubicBezTo>
                    <a:lnTo>
                      <a:pt x="15314" y="5394"/>
                    </a:lnTo>
                    <a:cubicBezTo>
                      <a:pt x="15061" y="5394"/>
                      <a:pt x="14843" y="5449"/>
                      <a:pt x="14660" y="5558"/>
                    </a:cubicBezTo>
                    <a:cubicBezTo>
                      <a:pt x="14477" y="5668"/>
                      <a:pt x="14386" y="5791"/>
                      <a:pt x="14386" y="5925"/>
                    </a:cubicBezTo>
                    <a:lnTo>
                      <a:pt x="14386" y="7014"/>
                    </a:lnTo>
                    <a:cubicBezTo>
                      <a:pt x="14386" y="7166"/>
                      <a:pt x="14477" y="7293"/>
                      <a:pt x="14660" y="7394"/>
                    </a:cubicBezTo>
                    <a:cubicBezTo>
                      <a:pt x="14843" y="7495"/>
                      <a:pt x="15061" y="7546"/>
                      <a:pt x="15314" y="7546"/>
                    </a:cubicBezTo>
                    <a:lnTo>
                      <a:pt x="17086" y="7546"/>
                    </a:lnTo>
                    <a:cubicBezTo>
                      <a:pt x="17339" y="7546"/>
                      <a:pt x="17557" y="7495"/>
                      <a:pt x="17740" y="7394"/>
                    </a:cubicBezTo>
                    <a:lnTo>
                      <a:pt x="17740" y="7394"/>
                    </a:lnTo>
                    <a:close/>
                    <a:moveTo>
                      <a:pt x="6286" y="10787"/>
                    </a:moveTo>
                    <a:cubicBezTo>
                      <a:pt x="6539" y="10787"/>
                      <a:pt x="6757" y="10737"/>
                      <a:pt x="6940" y="10635"/>
                    </a:cubicBezTo>
                    <a:cubicBezTo>
                      <a:pt x="7122" y="10534"/>
                      <a:pt x="7214" y="10408"/>
                      <a:pt x="7214" y="10256"/>
                    </a:cubicBezTo>
                    <a:lnTo>
                      <a:pt x="7214" y="9167"/>
                    </a:lnTo>
                    <a:cubicBezTo>
                      <a:pt x="7214" y="9032"/>
                      <a:pt x="7122" y="8910"/>
                      <a:pt x="6940" y="8800"/>
                    </a:cubicBezTo>
                    <a:cubicBezTo>
                      <a:pt x="6757" y="8690"/>
                      <a:pt x="6539" y="8635"/>
                      <a:pt x="6286" y="8635"/>
                    </a:cubicBezTo>
                    <a:lnTo>
                      <a:pt x="4514" y="8635"/>
                    </a:lnTo>
                    <a:cubicBezTo>
                      <a:pt x="4261" y="8635"/>
                      <a:pt x="4043" y="8690"/>
                      <a:pt x="3860" y="8800"/>
                    </a:cubicBezTo>
                    <a:cubicBezTo>
                      <a:pt x="3677" y="8910"/>
                      <a:pt x="3586" y="9032"/>
                      <a:pt x="3586" y="9167"/>
                    </a:cubicBezTo>
                    <a:lnTo>
                      <a:pt x="3586" y="10256"/>
                    </a:lnTo>
                    <a:cubicBezTo>
                      <a:pt x="3586" y="10408"/>
                      <a:pt x="3677" y="10534"/>
                      <a:pt x="3860" y="10635"/>
                    </a:cubicBezTo>
                    <a:cubicBezTo>
                      <a:pt x="4043" y="10737"/>
                      <a:pt x="4261" y="10787"/>
                      <a:pt x="4514" y="10787"/>
                    </a:cubicBezTo>
                    <a:lnTo>
                      <a:pt x="6286" y="10787"/>
                    </a:lnTo>
                    <a:lnTo>
                      <a:pt x="6286" y="10787"/>
                    </a:lnTo>
                    <a:lnTo>
                      <a:pt x="6286" y="10787"/>
                    </a:lnTo>
                    <a:close/>
                    <a:moveTo>
                      <a:pt x="12340" y="10635"/>
                    </a:moveTo>
                    <a:cubicBezTo>
                      <a:pt x="12522" y="10534"/>
                      <a:pt x="12614" y="10408"/>
                      <a:pt x="12614" y="10256"/>
                    </a:cubicBezTo>
                    <a:lnTo>
                      <a:pt x="12614" y="9167"/>
                    </a:lnTo>
                    <a:cubicBezTo>
                      <a:pt x="12614" y="9032"/>
                      <a:pt x="12522" y="8910"/>
                      <a:pt x="12340" y="8800"/>
                    </a:cubicBezTo>
                    <a:cubicBezTo>
                      <a:pt x="12157" y="8690"/>
                      <a:pt x="11939" y="8635"/>
                      <a:pt x="11686" y="8635"/>
                    </a:cubicBezTo>
                    <a:lnTo>
                      <a:pt x="9914" y="8635"/>
                    </a:lnTo>
                    <a:cubicBezTo>
                      <a:pt x="9661" y="8635"/>
                      <a:pt x="9443" y="8690"/>
                      <a:pt x="9260" y="8800"/>
                    </a:cubicBezTo>
                    <a:cubicBezTo>
                      <a:pt x="9077" y="8910"/>
                      <a:pt x="8986" y="9032"/>
                      <a:pt x="8986" y="9167"/>
                    </a:cubicBezTo>
                    <a:lnTo>
                      <a:pt x="8986" y="10256"/>
                    </a:lnTo>
                    <a:cubicBezTo>
                      <a:pt x="8986" y="10408"/>
                      <a:pt x="9077" y="10534"/>
                      <a:pt x="9260" y="10635"/>
                    </a:cubicBezTo>
                    <a:cubicBezTo>
                      <a:pt x="9443" y="10737"/>
                      <a:pt x="9661" y="10787"/>
                      <a:pt x="9914" y="10787"/>
                    </a:cubicBezTo>
                    <a:lnTo>
                      <a:pt x="11686" y="10787"/>
                    </a:lnTo>
                    <a:cubicBezTo>
                      <a:pt x="11939" y="10787"/>
                      <a:pt x="12157" y="10737"/>
                      <a:pt x="12340" y="10635"/>
                    </a:cubicBezTo>
                    <a:lnTo>
                      <a:pt x="12340" y="10635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12700">
                <a:miter lim="400000"/>
              </a:ln>
            </p:spPr>
            <p:txBody>
              <a:bodyPr lIns="27428" tIns="27428" rIns="27428" bIns="27428" anchor="ctr"/>
              <a:lstStyle/>
              <a:p>
                <a:pPr marL="0" marR="0" lvl="0" indent="0" algn="l" defTabSz="3291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b="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uLnTx/>
                  <a:uFillTx/>
                  <a:latin typeface="Gill Sans"/>
                  <a:sym typeface="Gill Sans"/>
                </a:endParaRPr>
              </a:p>
            </p:txBody>
          </p:sp>
          <p:sp>
            <p:nvSpPr>
              <p:cNvPr id="1422" name="Forma">
                <a:extLst>
                  <a:ext uri="{FF2B5EF4-FFF2-40B4-BE49-F238E27FC236}">
                    <a16:creationId xmlns:a16="http://schemas.microsoft.com/office/drawing/2014/main" id="{82FDED89-A26C-490D-0925-89860244C3C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743394" y="3444727"/>
                <a:ext cx="307782" cy="252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462" y="21417"/>
                    </a:moveTo>
                    <a:cubicBezTo>
                      <a:pt x="21554" y="21295"/>
                      <a:pt x="21600" y="21160"/>
                      <a:pt x="21600" y="21009"/>
                    </a:cubicBezTo>
                    <a:cubicBezTo>
                      <a:pt x="21600" y="20841"/>
                      <a:pt x="21554" y="20696"/>
                      <a:pt x="21462" y="20573"/>
                    </a:cubicBezTo>
                    <a:cubicBezTo>
                      <a:pt x="21370" y="20452"/>
                      <a:pt x="21255" y="20391"/>
                      <a:pt x="21116" y="20391"/>
                    </a:cubicBezTo>
                    <a:lnTo>
                      <a:pt x="484" y="20391"/>
                    </a:lnTo>
                    <a:cubicBezTo>
                      <a:pt x="345" y="20391"/>
                      <a:pt x="230" y="20452"/>
                      <a:pt x="138" y="20573"/>
                    </a:cubicBezTo>
                    <a:cubicBezTo>
                      <a:pt x="46" y="20696"/>
                      <a:pt x="0" y="20841"/>
                      <a:pt x="0" y="21009"/>
                    </a:cubicBezTo>
                    <a:cubicBezTo>
                      <a:pt x="0" y="21160"/>
                      <a:pt x="46" y="21295"/>
                      <a:pt x="138" y="21417"/>
                    </a:cubicBezTo>
                    <a:cubicBezTo>
                      <a:pt x="230" y="21539"/>
                      <a:pt x="345" y="21600"/>
                      <a:pt x="484" y="21600"/>
                    </a:cubicBezTo>
                    <a:lnTo>
                      <a:pt x="21116" y="21600"/>
                    </a:lnTo>
                    <a:lnTo>
                      <a:pt x="21116" y="21600"/>
                    </a:lnTo>
                    <a:lnTo>
                      <a:pt x="21116" y="21600"/>
                    </a:lnTo>
                    <a:cubicBezTo>
                      <a:pt x="21255" y="21600"/>
                      <a:pt x="21370" y="21539"/>
                      <a:pt x="21462" y="21417"/>
                    </a:cubicBezTo>
                    <a:lnTo>
                      <a:pt x="21462" y="21417"/>
                    </a:lnTo>
                    <a:close/>
                    <a:moveTo>
                      <a:pt x="19643" y="15609"/>
                    </a:moveTo>
                    <a:lnTo>
                      <a:pt x="1957" y="15609"/>
                    </a:lnTo>
                    <a:lnTo>
                      <a:pt x="1957" y="1209"/>
                    </a:lnTo>
                    <a:lnTo>
                      <a:pt x="19643" y="1209"/>
                    </a:lnTo>
                    <a:lnTo>
                      <a:pt x="19643" y="15609"/>
                    </a:lnTo>
                    <a:lnTo>
                      <a:pt x="19643" y="15609"/>
                    </a:lnTo>
                    <a:close/>
                    <a:moveTo>
                      <a:pt x="1957" y="0"/>
                    </a:moveTo>
                    <a:cubicBezTo>
                      <a:pt x="1681" y="0"/>
                      <a:pt x="1447" y="117"/>
                      <a:pt x="1255" y="352"/>
                    </a:cubicBezTo>
                    <a:cubicBezTo>
                      <a:pt x="1063" y="586"/>
                      <a:pt x="967" y="872"/>
                      <a:pt x="967" y="1209"/>
                    </a:cubicBezTo>
                    <a:lnTo>
                      <a:pt x="967" y="15609"/>
                    </a:lnTo>
                    <a:cubicBezTo>
                      <a:pt x="967" y="15928"/>
                      <a:pt x="1063" y="16205"/>
                      <a:pt x="1255" y="16439"/>
                    </a:cubicBezTo>
                    <a:cubicBezTo>
                      <a:pt x="1447" y="16674"/>
                      <a:pt x="1681" y="16791"/>
                      <a:pt x="1957" y="16791"/>
                    </a:cubicBezTo>
                    <a:lnTo>
                      <a:pt x="19643" y="16791"/>
                    </a:lnTo>
                    <a:cubicBezTo>
                      <a:pt x="19919" y="16791"/>
                      <a:pt x="20153" y="16674"/>
                      <a:pt x="20345" y="16439"/>
                    </a:cubicBezTo>
                    <a:cubicBezTo>
                      <a:pt x="20537" y="16205"/>
                      <a:pt x="20633" y="15928"/>
                      <a:pt x="20633" y="15609"/>
                    </a:cubicBezTo>
                    <a:lnTo>
                      <a:pt x="20633" y="1209"/>
                    </a:lnTo>
                    <a:cubicBezTo>
                      <a:pt x="20633" y="872"/>
                      <a:pt x="20537" y="586"/>
                      <a:pt x="20345" y="352"/>
                    </a:cubicBezTo>
                    <a:cubicBezTo>
                      <a:pt x="20153" y="117"/>
                      <a:pt x="19919" y="0"/>
                      <a:pt x="19643" y="0"/>
                    </a:cubicBezTo>
                    <a:lnTo>
                      <a:pt x="1957" y="0"/>
                    </a:lnTo>
                    <a:lnTo>
                      <a:pt x="1957" y="0"/>
                    </a:lnTo>
                    <a:close/>
                    <a:moveTo>
                      <a:pt x="15221" y="2391"/>
                    </a:moveTo>
                    <a:cubicBezTo>
                      <a:pt x="15359" y="2391"/>
                      <a:pt x="15475" y="2452"/>
                      <a:pt x="15567" y="2573"/>
                    </a:cubicBezTo>
                    <a:cubicBezTo>
                      <a:pt x="15659" y="2696"/>
                      <a:pt x="15705" y="2841"/>
                      <a:pt x="15705" y="3009"/>
                    </a:cubicBezTo>
                    <a:lnTo>
                      <a:pt x="15705" y="4191"/>
                    </a:lnTo>
                    <a:cubicBezTo>
                      <a:pt x="15705" y="4359"/>
                      <a:pt x="15659" y="4505"/>
                      <a:pt x="15567" y="4627"/>
                    </a:cubicBezTo>
                    <a:cubicBezTo>
                      <a:pt x="15475" y="4749"/>
                      <a:pt x="15359" y="4809"/>
                      <a:pt x="15221" y="4809"/>
                    </a:cubicBezTo>
                    <a:lnTo>
                      <a:pt x="14231" y="4809"/>
                    </a:lnTo>
                    <a:cubicBezTo>
                      <a:pt x="14108" y="4809"/>
                      <a:pt x="13997" y="4749"/>
                      <a:pt x="13897" y="4627"/>
                    </a:cubicBezTo>
                    <a:cubicBezTo>
                      <a:pt x="13797" y="4505"/>
                      <a:pt x="13748" y="4359"/>
                      <a:pt x="13748" y="4191"/>
                    </a:cubicBezTo>
                    <a:lnTo>
                      <a:pt x="13748" y="3009"/>
                    </a:lnTo>
                    <a:cubicBezTo>
                      <a:pt x="13748" y="2841"/>
                      <a:pt x="13797" y="2696"/>
                      <a:pt x="13897" y="2573"/>
                    </a:cubicBezTo>
                    <a:cubicBezTo>
                      <a:pt x="13997" y="2452"/>
                      <a:pt x="14108" y="2391"/>
                      <a:pt x="14231" y="2391"/>
                    </a:cubicBezTo>
                    <a:lnTo>
                      <a:pt x="15221" y="2391"/>
                    </a:lnTo>
                    <a:lnTo>
                      <a:pt x="15221" y="2391"/>
                    </a:lnTo>
                    <a:lnTo>
                      <a:pt x="15221" y="2391"/>
                    </a:lnTo>
                    <a:close/>
                    <a:moveTo>
                      <a:pt x="18169" y="2391"/>
                    </a:moveTo>
                    <a:cubicBezTo>
                      <a:pt x="18307" y="2391"/>
                      <a:pt x="18422" y="2452"/>
                      <a:pt x="18514" y="2573"/>
                    </a:cubicBezTo>
                    <a:cubicBezTo>
                      <a:pt x="18606" y="2696"/>
                      <a:pt x="18652" y="2841"/>
                      <a:pt x="18652" y="3009"/>
                    </a:cubicBezTo>
                    <a:lnTo>
                      <a:pt x="18652" y="4191"/>
                    </a:lnTo>
                    <a:cubicBezTo>
                      <a:pt x="18652" y="4359"/>
                      <a:pt x="18606" y="4505"/>
                      <a:pt x="18514" y="4627"/>
                    </a:cubicBezTo>
                    <a:cubicBezTo>
                      <a:pt x="18422" y="4749"/>
                      <a:pt x="18307" y="4809"/>
                      <a:pt x="18169" y="4809"/>
                    </a:cubicBezTo>
                    <a:lnTo>
                      <a:pt x="17179" y="4809"/>
                    </a:lnTo>
                    <a:cubicBezTo>
                      <a:pt x="17056" y="4809"/>
                      <a:pt x="16944" y="4749"/>
                      <a:pt x="16845" y="4627"/>
                    </a:cubicBezTo>
                    <a:cubicBezTo>
                      <a:pt x="16745" y="4505"/>
                      <a:pt x="16695" y="4359"/>
                      <a:pt x="16695" y="4191"/>
                    </a:cubicBezTo>
                    <a:lnTo>
                      <a:pt x="16695" y="3009"/>
                    </a:lnTo>
                    <a:cubicBezTo>
                      <a:pt x="16695" y="2841"/>
                      <a:pt x="16745" y="2696"/>
                      <a:pt x="16845" y="2573"/>
                    </a:cubicBezTo>
                    <a:cubicBezTo>
                      <a:pt x="16944" y="2452"/>
                      <a:pt x="17056" y="2391"/>
                      <a:pt x="17179" y="2391"/>
                    </a:cubicBezTo>
                    <a:lnTo>
                      <a:pt x="18169" y="2391"/>
                    </a:lnTo>
                    <a:lnTo>
                      <a:pt x="18169" y="2391"/>
                    </a:lnTo>
                    <a:lnTo>
                      <a:pt x="18169" y="2391"/>
                    </a:lnTo>
                    <a:close/>
                    <a:moveTo>
                      <a:pt x="15221" y="5991"/>
                    </a:moveTo>
                    <a:cubicBezTo>
                      <a:pt x="15359" y="5991"/>
                      <a:pt x="15475" y="6052"/>
                      <a:pt x="15567" y="6173"/>
                    </a:cubicBezTo>
                    <a:cubicBezTo>
                      <a:pt x="15659" y="6296"/>
                      <a:pt x="15705" y="6441"/>
                      <a:pt x="15705" y="6609"/>
                    </a:cubicBezTo>
                    <a:lnTo>
                      <a:pt x="15705" y="7791"/>
                    </a:lnTo>
                    <a:cubicBezTo>
                      <a:pt x="15705" y="7959"/>
                      <a:pt x="15659" y="8105"/>
                      <a:pt x="15567" y="8227"/>
                    </a:cubicBezTo>
                    <a:cubicBezTo>
                      <a:pt x="15475" y="8349"/>
                      <a:pt x="15359" y="8409"/>
                      <a:pt x="15221" y="8409"/>
                    </a:cubicBezTo>
                    <a:lnTo>
                      <a:pt x="14231" y="8409"/>
                    </a:lnTo>
                    <a:cubicBezTo>
                      <a:pt x="14108" y="8409"/>
                      <a:pt x="13997" y="8349"/>
                      <a:pt x="13897" y="8227"/>
                    </a:cubicBezTo>
                    <a:cubicBezTo>
                      <a:pt x="13797" y="8105"/>
                      <a:pt x="13748" y="7959"/>
                      <a:pt x="13748" y="7791"/>
                    </a:cubicBezTo>
                    <a:lnTo>
                      <a:pt x="13748" y="6609"/>
                    </a:lnTo>
                    <a:cubicBezTo>
                      <a:pt x="13748" y="6441"/>
                      <a:pt x="13797" y="6296"/>
                      <a:pt x="13897" y="6173"/>
                    </a:cubicBezTo>
                    <a:cubicBezTo>
                      <a:pt x="13997" y="6052"/>
                      <a:pt x="14108" y="5991"/>
                      <a:pt x="14231" y="5991"/>
                    </a:cubicBezTo>
                    <a:lnTo>
                      <a:pt x="15221" y="5991"/>
                    </a:lnTo>
                    <a:lnTo>
                      <a:pt x="15221" y="5991"/>
                    </a:lnTo>
                    <a:lnTo>
                      <a:pt x="15221" y="5991"/>
                    </a:lnTo>
                    <a:close/>
                    <a:moveTo>
                      <a:pt x="18169" y="5991"/>
                    </a:moveTo>
                    <a:cubicBezTo>
                      <a:pt x="18307" y="5991"/>
                      <a:pt x="18422" y="6052"/>
                      <a:pt x="18514" y="6173"/>
                    </a:cubicBezTo>
                    <a:cubicBezTo>
                      <a:pt x="18606" y="6296"/>
                      <a:pt x="18652" y="6441"/>
                      <a:pt x="18652" y="6609"/>
                    </a:cubicBezTo>
                    <a:lnTo>
                      <a:pt x="18652" y="7791"/>
                    </a:lnTo>
                    <a:cubicBezTo>
                      <a:pt x="18652" y="7959"/>
                      <a:pt x="18606" y="8105"/>
                      <a:pt x="18514" y="8227"/>
                    </a:cubicBezTo>
                    <a:cubicBezTo>
                      <a:pt x="18422" y="8349"/>
                      <a:pt x="18307" y="8409"/>
                      <a:pt x="18169" y="8409"/>
                    </a:cubicBezTo>
                    <a:lnTo>
                      <a:pt x="17179" y="8409"/>
                    </a:lnTo>
                    <a:cubicBezTo>
                      <a:pt x="17056" y="8409"/>
                      <a:pt x="16944" y="8349"/>
                      <a:pt x="16845" y="8227"/>
                    </a:cubicBezTo>
                    <a:cubicBezTo>
                      <a:pt x="16745" y="8105"/>
                      <a:pt x="16695" y="7959"/>
                      <a:pt x="16695" y="7791"/>
                    </a:cubicBezTo>
                    <a:lnTo>
                      <a:pt x="16695" y="6609"/>
                    </a:lnTo>
                    <a:cubicBezTo>
                      <a:pt x="16695" y="6441"/>
                      <a:pt x="16745" y="6296"/>
                      <a:pt x="16845" y="6173"/>
                    </a:cubicBezTo>
                    <a:cubicBezTo>
                      <a:pt x="16944" y="6052"/>
                      <a:pt x="17056" y="5991"/>
                      <a:pt x="17179" y="5991"/>
                    </a:cubicBezTo>
                    <a:lnTo>
                      <a:pt x="18169" y="5991"/>
                    </a:lnTo>
                    <a:lnTo>
                      <a:pt x="18169" y="5991"/>
                    </a:lnTo>
                    <a:lnTo>
                      <a:pt x="18169" y="5991"/>
                    </a:lnTo>
                    <a:close/>
                    <a:moveTo>
                      <a:pt x="18169" y="9591"/>
                    </a:moveTo>
                    <a:cubicBezTo>
                      <a:pt x="18307" y="9591"/>
                      <a:pt x="18422" y="9652"/>
                      <a:pt x="18514" y="9773"/>
                    </a:cubicBezTo>
                    <a:cubicBezTo>
                      <a:pt x="18606" y="9896"/>
                      <a:pt x="18652" y="10041"/>
                      <a:pt x="18652" y="10209"/>
                    </a:cubicBezTo>
                    <a:lnTo>
                      <a:pt x="18652" y="11391"/>
                    </a:lnTo>
                    <a:cubicBezTo>
                      <a:pt x="18652" y="11559"/>
                      <a:pt x="18606" y="11705"/>
                      <a:pt x="18514" y="11827"/>
                    </a:cubicBezTo>
                    <a:cubicBezTo>
                      <a:pt x="18422" y="11949"/>
                      <a:pt x="18307" y="12009"/>
                      <a:pt x="18169" y="12009"/>
                    </a:cubicBezTo>
                    <a:lnTo>
                      <a:pt x="17179" y="12009"/>
                    </a:lnTo>
                    <a:cubicBezTo>
                      <a:pt x="17056" y="12009"/>
                      <a:pt x="16944" y="11949"/>
                      <a:pt x="16845" y="11827"/>
                    </a:cubicBezTo>
                    <a:cubicBezTo>
                      <a:pt x="16745" y="11705"/>
                      <a:pt x="16695" y="11559"/>
                      <a:pt x="16695" y="11391"/>
                    </a:cubicBezTo>
                    <a:lnTo>
                      <a:pt x="16695" y="10209"/>
                    </a:lnTo>
                    <a:cubicBezTo>
                      <a:pt x="16695" y="10041"/>
                      <a:pt x="16745" y="9896"/>
                      <a:pt x="16845" y="9773"/>
                    </a:cubicBezTo>
                    <a:cubicBezTo>
                      <a:pt x="16944" y="9652"/>
                      <a:pt x="17056" y="9591"/>
                      <a:pt x="17179" y="9591"/>
                    </a:cubicBezTo>
                    <a:lnTo>
                      <a:pt x="18169" y="9591"/>
                    </a:lnTo>
                    <a:lnTo>
                      <a:pt x="18169" y="9591"/>
                    </a:lnTo>
                    <a:lnTo>
                      <a:pt x="18169" y="9591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12700">
                <a:miter lim="400000"/>
              </a:ln>
            </p:spPr>
            <p:txBody>
              <a:bodyPr lIns="27428" tIns="27428" rIns="27428" bIns="27428" anchor="ctr"/>
              <a:lstStyle/>
              <a:p>
                <a:pPr marL="0" marR="0" lvl="0" indent="0" algn="l" defTabSz="3291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b="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kumimoji="0" lang="pt-BR" sz="1296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uLnTx/>
                  <a:uFillTx/>
                  <a:latin typeface="Gill Sans"/>
                  <a:sym typeface="Gill Sans"/>
                </a:endParaRPr>
              </a:p>
            </p:txBody>
          </p:sp>
          <p:sp>
            <p:nvSpPr>
              <p:cNvPr id="1423" name="Retângulo 1422">
                <a:extLst>
                  <a:ext uri="{FF2B5EF4-FFF2-40B4-BE49-F238E27FC236}">
                    <a16:creationId xmlns:a16="http://schemas.microsoft.com/office/drawing/2014/main" id="{A0AF3537-B6E3-13E8-1950-ECD1EEF4C0F8}"/>
                  </a:ext>
                </a:extLst>
              </p:cNvPr>
              <p:cNvSpPr/>
              <p:nvPr/>
            </p:nvSpPr>
            <p:spPr>
              <a:xfrm>
                <a:off x="4565236" y="3025939"/>
                <a:ext cx="619904" cy="1363496"/>
              </a:xfrm>
              <a:prstGeom prst="rect">
                <a:avLst/>
              </a:prstGeom>
              <a:noFill/>
              <a:ln>
                <a:solidFill>
                  <a:srgbClr val="99999B"/>
                </a:solidFill>
                <a:prstDash val="dash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24" name="CaixaDeTexto 1423">
                <a:extLst>
                  <a:ext uri="{FF2B5EF4-FFF2-40B4-BE49-F238E27FC236}">
                    <a16:creationId xmlns:a16="http://schemas.microsoft.com/office/drawing/2014/main" id="{6ABFB756-30E0-1497-2D1D-C2FAB5CCC88C}"/>
                  </a:ext>
                </a:extLst>
              </p:cNvPr>
              <p:cNvSpPr txBox="1"/>
              <p:nvPr/>
            </p:nvSpPr>
            <p:spPr>
              <a:xfrm>
                <a:off x="4322292" y="4367869"/>
                <a:ext cx="1194068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31656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Itau Display" panose="020B0503020204020204" pitchFamily="34" charset="0"/>
                    <a:ea typeface="+mn-ea"/>
                    <a:cs typeface="Itau Display" panose="020B0503020204020204" pitchFamily="34" charset="0"/>
                  </a:rPr>
                  <a:t>Módulo de captura</a:t>
                </a:r>
              </a:p>
            </p:txBody>
          </p:sp>
        </p:grpSp>
        <p:pic>
          <p:nvPicPr>
            <p:cNvPr id="1419" name="Picture 2" descr="Whatsapp - Free social media icons">
              <a:extLst>
                <a:ext uri="{FF2B5EF4-FFF2-40B4-BE49-F238E27FC236}">
                  <a16:creationId xmlns:a16="http://schemas.microsoft.com/office/drawing/2014/main" id="{9F63F015-83E2-A158-0BCF-0AEE5C75E1C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38345" y="3920820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425" name="Picture 2" descr="Whatsapp - Free social media icons">
            <a:extLst>
              <a:ext uri="{FF2B5EF4-FFF2-40B4-BE49-F238E27FC236}">
                <a16:creationId xmlns:a16="http://schemas.microsoft.com/office/drawing/2014/main" id="{7A839A46-37B8-5CA8-BC6D-44B1977A40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2811" y="3290522"/>
            <a:ext cx="25200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26" name="Conector: Angulado 1425">
            <a:extLst>
              <a:ext uri="{FF2B5EF4-FFF2-40B4-BE49-F238E27FC236}">
                <a16:creationId xmlns:a16="http://schemas.microsoft.com/office/drawing/2014/main" id="{A67B68CF-8A0C-5C23-3558-4A606BCAFD19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2780813" y="2424250"/>
            <a:ext cx="446554" cy="229553"/>
          </a:xfrm>
          <a:prstGeom prst="bentConnector3">
            <a:avLst>
              <a:gd name="adj1" fmla="val 99770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8" name="Conector: Angulado 1427">
            <a:extLst>
              <a:ext uri="{FF2B5EF4-FFF2-40B4-BE49-F238E27FC236}">
                <a16:creationId xmlns:a16="http://schemas.microsoft.com/office/drawing/2014/main" id="{503512CB-1FE5-EAD3-E49D-5E7D92C32227}"/>
              </a:ext>
            </a:extLst>
          </p:cNvPr>
          <p:cNvCxnSpPr>
            <a:cxnSpLocks/>
          </p:cNvCxnSpPr>
          <p:nvPr/>
        </p:nvCxnSpPr>
        <p:spPr>
          <a:xfrm>
            <a:off x="3394082" y="2312963"/>
            <a:ext cx="1155541" cy="448927"/>
          </a:xfrm>
          <a:prstGeom prst="bentConnector2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0" name="Conector de Seta Reta 1429">
            <a:extLst>
              <a:ext uri="{FF2B5EF4-FFF2-40B4-BE49-F238E27FC236}">
                <a16:creationId xmlns:a16="http://schemas.microsoft.com/office/drawing/2014/main" id="{96F002D3-8C60-0131-66E8-51AF4D3426F9}"/>
              </a:ext>
            </a:extLst>
          </p:cNvPr>
          <p:cNvCxnSpPr>
            <a:cxnSpLocks/>
          </p:cNvCxnSpPr>
          <p:nvPr/>
        </p:nvCxnSpPr>
        <p:spPr>
          <a:xfrm flipV="1">
            <a:off x="4857166" y="3388445"/>
            <a:ext cx="242136" cy="6487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1" name="Conector de Seta Reta 1430">
            <a:extLst>
              <a:ext uri="{FF2B5EF4-FFF2-40B4-BE49-F238E27FC236}">
                <a16:creationId xmlns:a16="http://schemas.microsoft.com/office/drawing/2014/main" id="{6B0CB728-A3B6-17D4-4A57-0D5FB91A2E3C}"/>
              </a:ext>
            </a:extLst>
          </p:cNvPr>
          <p:cNvCxnSpPr>
            <a:cxnSpLocks/>
          </p:cNvCxnSpPr>
          <p:nvPr/>
        </p:nvCxnSpPr>
        <p:spPr>
          <a:xfrm>
            <a:off x="5498083" y="3380749"/>
            <a:ext cx="379040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2" name="Conector de Seta Reta 1431">
            <a:extLst>
              <a:ext uri="{FF2B5EF4-FFF2-40B4-BE49-F238E27FC236}">
                <a16:creationId xmlns:a16="http://schemas.microsoft.com/office/drawing/2014/main" id="{49DB5571-62CE-84C5-96E1-A4F8C152F3A8}"/>
              </a:ext>
            </a:extLst>
          </p:cNvPr>
          <p:cNvCxnSpPr>
            <a:cxnSpLocks/>
          </p:cNvCxnSpPr>
          <p:nvPr/>
        </p:nvCxnSpPr>
        <p:spPr>
          <a:xfrm>
            <a:off x="6292229" y="3388445"/>
            <a:ext cx="379040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3" name="CaixaDeTexto 1432">
            <a:extLst>
              <a:ext uri="{FF2B5EF4-FFF2-40B4-BE49-F238E27FC236}">
                <a16:creationId xmlns:a16="http://schemas.microsoft.com/office/drawing/2014/main" id="{01A519A6-9D20-8C15-892C-AA478C01BC24}"/>
              </a:ext>
            </a:extLst>
          </p:cNvPr>
          <p:cNvSpPr txBox="1"/>
          <p:nvPr/>
        </p:nvSpPr>
        <p:spPr>
          <a:xfrm>
            <a:off x="4785736" y="3710002"/>
            <a:ext cx="96592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165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OCR</a:t>
            </a:r>
          </a:p>
        </p:txBody>
      </p:sp>
      <p:grpSp>
        <p:nvGrpSpPr>
          <p:cNvPr id="1434" name="Agrupar 1433">
            <a:extLst>
              <a:ext uri="{FF2B5EF4-FFF2-40B4-BE49-F238E27FC236}">
                <a16:creationId xmlns:a16="http://schemas.microsoft.com/office/drawing/2014/main" id="{91CDEFC2-EE81-6045-DEC7-1285673036B3}"/>
              </a:ext>
            </a:extLst>
          </p:cNvPr>
          <p:cNvGrpSpPr>
            <a:grpSpLocks noChangeAspect="1"/>
          </p:cNvGrpSpPr>
          <p:nvPr/>
        </p:nvGrpSpPr>
        <p:grpSpPr>
          <a:xfrm>
            <a:off x="5175155" y="3452544"/>
            <a:ext cx="191739" cy="252000"/>
            <a:chOff x="12768438" y="5980470"/>
            <a:chExt cx="333375" cy="438150"/>
          </a:xfrm>
        </p:grpSpPr>
        <p:sp>
          <p:nvSpPr>
            <p:cNvPr id="1435" name="Forma Livre: Forma 1434">
              <a:extLst>
                <a:ext uri="{FF2B5EF4-FFF2-40B4-BE49-F238E27FC236}">
                  <a16:creationId xmlns:a16="http://schemas.microsoft.com/office/drawing/2014/main" id="{E2A91675-FB1E-6FEE-14D0-D5F0A1387265}"/>
                </a:ext>
              </a:extLst>
            </p:cNvPr>
            <p:cNvSpPr/>
            <p:nvPr/>
          </p:nvSpPr>
          <p:spPr>
            <a:xfrm>
              <a:off x="12768438" y="6056670"/>
              <a:ext cx="257175" cy="361950"/>
            </a:xfrm>
            <a:custGeom>
              <a:avLst/>
              <a:gdLst>
                <a:gd name="connsiteX0" fmla="*/ 0 w 257175"/>
                <a:gd name="connsiteY0" fmla="*/ 361950 h 361950"/>
                <a:gd name="connsiteX1" fmla="*/ 257175 w 257175"/>
                <a:gd name="connsiteY1" fmla="*/ 361950 h 361950"/>
                <a:gd name="connsiteX2" fmla="*/ 257175 w 257175"/>
                <a:gd name="connsiteY2" fmla="*/ 0 h 361950"/>
                <a:gd name="connsiteX3" fmla="*/ 47625 w 257175"/>
                <a:gd name="connsiteY3" fmla="*/ 0 h 361950"/>
                <a:gd name="connsiteX4" fmla="*/ 0 w 257175"/>
                <a:gd name="connsiteY4" fmla="*/ 47625 h 361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7175" h="361950">
                  <a:moveTo>
                    <a:pt x="0" y="361950"/>
                  </a:moveTo>
                  <a:lnTo>
                    <a:pt x="257175" y="361950"/>
                  </a:lnTo>
                  <a:lnTo>
                    <a:pt x="257175" y="0"/>
                  </a:lnTo>
                  <a:lnTo>
                    <a:pt x="47625" y="0"/>
                  </a:lnTo>
                  <a:lnTo>
                    <a:pt x="0" y="47625"/>
                  </a:lnTo>
                  <a:close/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6" name="Forma Livre: Forma 1435">
              <a:extLst>
                <a:ext uri="{FF2B5EF4-FFF2-40B4-BE49-F238E27FC236}">
                  <a16:creationId xmlns:a16="http://schemas.microsoft.com/office/drawing/2014/main" id="{24782828-560E-8B77-BA2C-B6D80728E7B2}"/>
                </a:ext>
              </a:extLst>
            </p:cNvPr>
            <p:cNvSpPr/>
            <p:nvPr/>
          </p:nvSpPr>
          <p:spPr>
            <a:xfrm>
              <a:off x="12844638" y="6018570"/>
              <a:ext cx="219075" cy="361950"/>
            </a:xfrm>
            <a:custGeom>
              <a:avLst/>
              <a:gdLst>
                <a:gd name="connsiteX0" fmla="*/ 219075 w 219075"/>
                <a:gd name="connsiteY0" fmla="*/ 361950 h 361950"/>
                <a:gd name="connsiteX1" fmla="*/ 219075 w 219075"/>
                <a:gd name="connsiteY1" fmla="*/ 0 h 361950"/>
                <a:gd name="connsiteX2" fmla="*/ 0 w 219075"/>
                <a:gd name="connsiteY2" fmla="*/ 0 h 361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9075" h="361950">
                  <a:moveTo>
                    <a:pt x="219075" y="361950"/>
                  </a:moveTo>
                  <a:lnTo>
                    <a:pt x="219075" y="0"/>
                  </a:lnTo>
                  <a:lnTo>
                    <a:pt x="0" y="0"/>
                  </a:lnTo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7" name="Forma Livre: Forma 1436">
              <a:extLst>
                <a:ext uri="{FF2B5EF4-FFF2-40B4-BE49-F238E27FC236}">
                  <a16:creationId xmlns:a16="http://schemas.microsoft.com/office/drawing/2014/main" id="{C0576326-8231-475B-0FA7-EE87D4B96943}"/>
                </a:ext>
              </a:extLst>
            </p:cNvPr>
            <p:cNvSpPr/>
            <p:nvPr/>
          </p:nvSpPr>
          <p:spPr>
            <a:xfrm>
              <a:off x="12882738" y="5980470"/>
              <a:ext cx="219075" cy="361950"/>
            </a:xfrm>
            <a:custGeom>
              <a:avLst/>
              <a:gdLst>
                <a:gd name="connsiteX0" fmla="*/ 219075 w 219075"/>
                <a:gd name="connsiteY0" fmla="*/ 361950 h 361950"/>
                <a:gd name="connsiteX1" fmla="*/ 219075 w 219075"/>
                <a:gd name="connsiteY1" fmla="*/ 0 h 361950"/>
                <a:gd name="connsiteX2" fmla="*/ 0 w 219075"/>
                <a:gd name="connsiteY2" fmla="*/ 0 h 361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9075" h="361950">
                  <a:moveTo>
                    <a:pt x="219075" y="361950"/>
                  </a:moveTo>
                  <a:lnTo>
                    <a:pt x="219075" y="0"/>
                  </a:lnTo>
                  <a:lnTo>
                    <a:pt x="0" y="0"/>
                  </a:lnTo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8" name="Forma Livre: Forma 1437">
              <a:extLst>
                <a:ext uri="{FF2B5EF4-FFF2-40B4-BE49-F238E27FC236}">
                  <a16:creationId xmlns:a16="http://schemas.microsoft.com/office/drawing/2014/main" id="{6CAC25A2-AA6F-C528-63F5-424DEA6D50F5}"/>
                </a:ext>
              </a:extLst>
            </p:cNvPr>
            <p:cNvSpPr/>
            <p:nvPr/>
          </p:nvSpPr>
          <p:spPr>
            <a:xfrm>
              <a:off x="12787488" y="6075720"/>
              <a:ext cx="47625" cy="47625"/>
            </a:xfrm>
            <a:custGeom>
              <a:avLst/>
              <a:gdLst>
                <a:gd name="connsiteX0" fmla="*/ 0 w 47625"/>
                <a:gd name="connsiteY0" fmla="*/ 47625 h 47625"/>
                <a:gd name="connsiteX1" fmla="*/ 47625 w 47625"/>
                <a:gd name="connsiteY1" fmla="*/ 47625 h 47625"/>
                <a:gd name="connsiteX2" fmla="*/ 47625 w 47625"/>
                <a:gd name="connsiteY2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625" h="47625">
                  <a:moveTo>
                    <a:pt x="0" y="47625"/>
                  </a:moveTo>
                  <a:lnTo>
                    <a:pt x="47625" y="47625"/>
                  </a:lnTo>
                  <a:lnTo>
                    <a:pt x="47625" y="0"/>
                  </a:lnTo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9" name="Forma Livre: Forma 1438">
              <a:extLst>
                <a:ext uri="{FF2B5EF4-FFF2-40B4-BE49-F238E27FC236}">
                  <a16:creationId xmlns:a16="http://schemas.microsoft.com/office/drawing/2014/main" id="{B3C39D8A-4055-C63E-9991-5826F5D653D5}"/>
                </a:ext>
              </a:extLst>
            </p:cNvPr>
            <p:cNvSpPr/>
            <p:nvPr/>
          </p:nvSpPr>
          <p:spPr>
            <a:xfrm>
              <a:off x="12816063" y="6180495"/>
              <a:ext cx="142875" cy="142875"/>
            </a:xfrm>
            <a:custGeom>
              <a:avLst/>
              <a:gdLst>
                <a:gd name="connsiteX0" fmla="*/ 142875 w 142875"/>
                <a:gd name="connsiteY0" fmla="*/ 71438 h 142875"/>
                <a:gd name="connsiteX1" fmla="*/ 71438 w 142875"/>
                <a:gd name="connsiteY1" fmla="*/ 142875 h 142875"/>
                <a:gd name="connsiteX2" fmla="*/ 0 w 142875"/>
                <a:gd name="connsiteY2" fmla="*/ 71438 h 142875"/>
                <a:gd name="connsiteX3" fmla="*/ 71438 w 142875"/>
                <a:gd name="connsiteY3" fmla="*/ 0 h 142875"/>
                <a:gd name="connsiteX4" fmla="*/ 142875 w 142875"/>
                <a:gd name="connsiteY4" fmla="*/ 71438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875" h="142875">
                  <a:moveTo>
                    <a:pt x="142875" y="71438"/>
                  </a:moveTo>
                  <a:cubicBezTo>
                    <a:pt x="142875" y="110891"/>
                    <a:pt x="110891" y="142875"/>
                    <a:pt x="71438" y="142875"/>
                  </a:cubicBezTo>
                  <a:cubicBezTo>
                    <a:pt x="31984" y="142875"/>
                    <a:pt x="0" y="110891"/>
                    <a:pt x="0" y="71438"/>
                  </a:cubicBezTo>
                  <a:cubicBezTo>
                    <a:pt x="0" y="31984"/>
                    <a:pt x="31984" y="0"/>
                    <a:pt x="71438" y="0"/>
                  </a:cubicBezTo>
                  <a:cubicBezTo>
                    <a:pt x="110891" y="0"/>
                    <a:pt x="142875" y="31984"/>
                    <a:pt x="142875" y="71438"/>
                  </a:cubicBezTo>
                  <a:close/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0" name="Forma Livre: Forma 1439">
              <a:extLst>
                <a:ext uri="{FF2B5EF4-FFF2-40B4-BE49-F238E27FC236}">
                  <a16:creationId xmlns:a16="http://schemas.microsoft.com/office/drawing/2014/main" id="{F6E492B8-C91A-6C8C-B6B6-30D5F6B5BCFB}"/>
                </a:ext>
              </a:extLst>
            </p:cNvPr>
            <p:cNvSpPr/>
            <p:nvPr/>
          </p:nvSpPr>
          <p:spPr>
            <a:xfrm>
              <a:off x="12939888" y="6294795"/>
              <a:ext cx="47625" cy="47625"/>
            </a:xfrm>
            <a:custGeom>
              <a:avLst/>
              <a:gdLst>
                <a:gd name="connsiteX0" fmla="*/ 0 w 47625"/>
                <a:gd name="connsiteY0" fmla="*/ 0 h 47625"/>
                <a:gd name="connsiteX1" fmla="*/ 47625 w 47625"/>
                <a:gd name="connsiteY1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5" h="47625">
                  <a:moveTo>
                    <a:pt x="0" y="0"/>
                  </a:moveTo>
                  <a:lnTo>
                    <a:pt x="47625" y="47625"/>
                  </a:lnTo>
                </a:path>
              </a:pathLst>
            </a:custGeom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1" name="Forma Livre: Forma 1440">
              <a:extLst>
                <a:ext uri="{FF2B5EF4-FFF2-40B4-BE49-F238E27FC236}">
                  <a16:creationId xmlns:a16="http://schemas.microsoft.com/office/drawing/2014/main" id="{88DB7B17-FBF6-C313-1814-D1A6CC42A001}"/>
                </a:ext>
              </a:extLst>
            </p:cNvPr>
            <p:cNvSpPr/>
            <p:nvPr/>
          </p:nvSpPr>
          <p:spPr>
            <a:xfrm>
              <a:off x="12854163" y="6218595"/>
              <a:ext cx="66675" cy="57150"/>
            </a:xfrm>
            <a:custGeom>
              <a:avLst/>
              <a:gdLst>
                <a:gd name="connsiteX0" fmla="*/ 0 w 66675"/>
                <a:gd name="connsiteY0" fmla="*/ 28575 h 57150"/>
                <a:gd name="connsiteX1" fmla="*/ 28575 w 66675"/>
                <a:gd name="connsiteY1" fmla="*/ 57150 h 57150"/>
                <a:gd name="connsiteX2" fmla="*/ 66675 w 66675"/>
                <a:gd name="connsiteY2" fmla="*/ 0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675" h="57150">
                  <a:moveTo>
                    <a:pt x="0" y="28575"/>
                  </a:moveTo>
                  <a:lnTo>
                    <a:pt x="28575" y="57150"/>
                  </a:lnTo>
                  <a:lnTo>
                    <a:pt x="66675" y="0"/>
                  </a:lnTo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459" name="Agrupar 1458">
            <a:extLst>
              <a:ext uri="{FF2B5EF4-FFF2-40B4-BE49-F238E27FC236}">
                <a16:creationId xmlns:a16="http://schemas.microsoft.com/office/drawing/2014/main" id="{8B0AFF66-2916-DDF3-620F-179D91A95603}"/>
              </a:ext>
            </a:extLst>
          </p:cNvPr>
          <p:cNvGrpSpPr/>
          <p:nvPr/>
        </p:nvGrpSpPr>
        <p:grpSpPr>
          <a:xfrm>
            <a:off x="8953630" y="2139397"/>
            <a:ext cx="1194068" cy="1544113"/>
            <a:chOff x="8814488" y="2053333"/>
            <a:chExt cx="1194068" cy="1544113"/>
          </a:xfrm>
        </p:grpSpPr>
        <p:pic>
          <p:nvPicPr>
            <p:cNvPr id="1460" name="Picture 2" descr="Whatsapp - Free social media icons">
              <a:extLst>
                <a:ext uri="{FF2B5EF4-FFF2-40B4-BE49-F238E27FC236}">
                  <a16:creationId xmlns:a16="http://schemas.microsoft.com/office/drawing/2014/main" id="{3012477A-C843-9A29-9A91-951EEF16793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99507" y="2890831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464" name="Agrupar 1463">
              <a:extLst>
                <a:ext uri="{FF2B5EF4-FFF2-40B4-BE49-F238E27FC236}">
                  <a16:creationId xmlns:a16="http://schemas.microsoft.com/office/drawing/2014/main" id="{8B29F5AC-0B3F-4799-EDCF-C3BA95D6E1C5}"/>
                </a:ext>
              </a:extLst>
            </p:cNvPr>
            <p:cNvGrpSpPr/>
            <p:nvPr/>
          </p:nvGrpSpPr>
          <p:grpSpPr>
            <a:xfrm>
              <a:off x="8814488" y="2053333"/>
              <a:ext cx="1194068" cy="1544113"/>
              <a:chOff x="8814488" y="2053333"/>
              <a:chExt cx="1194068" cy="1544113"/>
            </a:xfrm>
          </p:grpSpPr>
          <p:sp>
            <p:nvSpPr>
              <p:cNvPr id="1024" name="Forma">
                <a:extLst>
                  <a:ext uri="{FF2B5EF4-FFF2-40B4-BE49-F238E27FC236}">
                    <a16:creationId xmlns:a16="http://schemas.microsoft.com/office/drawing/2014/main" id="{C210FEEB-4939-0249-F7D1-3913116BB85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333756" y="2525345"/>
                <a:ext cx="151261" cy="252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018" y="950"/>
                    </a:moveTo>
                    <a:cubicBezTo>
                      <a:pt x="21073" y="1583"/>
                      <a:pt x="21600" y="2347"/>
                      <a:pt x="21600" y="3241"/>
                    </a:cubicBezTo>
                    <a:lnTo>
                      <a:pt x="21600" y="18359"/>
                    </a:lnTo>
                    <a:cubicBezTo>
                      <a:pt x="21600" y="19254"/>
                      <a:pt x="21073" y="20017"/>
                      <a:pt x="20018" y="20650"/>
                    </a:cubicBezTo>
                    <a:cubicBezTo>
                      <a:pt x="18963" y="21283"/>
                      <a:pt x="17690" y="21600"/>
                      <a:pt x="16200" y="21600"/>
                    </a:cubicBezTo>
                    <a:lnTo>
                      <a:pt x="5400" y="21600"/>
                    </a:lnTo>
                    <a:cubicBezTo>
                      <a:pt x="3909" y="21600"/>
                      <a:pt x="2637" y="21283"/>
                      <a:pt x="1582" y="20650"/>
                    </a:cubicBezTo>
                    <a:cubicBezTo>
                      <a:pt x="527" y="20017"/>
                      <a:pt x="0" y="19254"/>
                      <a:pt x="0" y="18359"/>
                    </a:cubicBezTo>
                    <a:lnTo>
                      <a:pt x="0" y="3241"/>
                    </a:lnTo>
                    <a:cubicBezTo>
                      <a:pt x="0" y="2347"/>
                      <a:pt x="527" y="1583"/>
                      <a:pt x="1582" y="950"/>
                    </a:cubicBezTo>
                    <a:cubicBezTo>
                      <a:pt x="2637" y="317"/>
                      <a:pt x="3909" y="0"/>
                      <a:pt x="5400" y="0"/>
                    </a:cubicBezTo>
                    <a:lnTo>
                      <a:pt x="16200" y="0"/>
                    </a:lnTo>
                    <a:cubicBezTo>
                      <a:pt x="17690" y="0"/>
                      <a:pt x="18963" y="317"/>
                      <a:pt x="20018" y="950"/>
                    </a:cubicBezTo>
                    <a:lnTo>
                      <a:pt x="20018" y="950"/>
                    </a:lnTo>
                    <a:close/>
                    <a:moveTo>
                      <a:pt x="19786" y="18359"/>
                    </a:moveTo>
                    <a:lnTo>
                      <a:pt x="19786" y="16206"/>
                    </a:lnTo>
                    <a:lnTo>
                      <a:pt x="1814" y="16206"/>
                    </a:lnTo>
                    <a:lnTo>
                      <a:pt x="1814" y="18359"/>
                    </a:lnTo>
                    <a:cubicBezTo>
                      <a:pt x="1814" y="18950"/>
                      <a:pt x="2165" y="19456"/>
                      <a:pt x="2869" y="19878"/>
                    </a:cubicBezTo>
                    <a:cubicBezTo>
                      <a:pt x="3571" y="20300"/>
                      <a:pt x="4415" y="20511"/>
                      <a:pt x="5400" y="20511"/>
                    </a:cubicBezTo>
                    <a:lnTo>
                      <a:pt x="16200" y="20511"/>
                    </a:lnTo>
                    <a:cubicBezTo>
                      <a:pt x="17184" y="20511"/>
                      <a:pt x="18028" y="20300"/>
                      <a:pt x="18731" y="19878"/>
                    </a:cubicBezTo>
                    <a:cubicBezTo>
                      <a:pt x="19434" y="19456"/>
                      <a:pt x="19786" y="18950"/>
                      <a:pt x="19786" y="18359"/>
                    </a:cubicBezTo>
                    <a:lnTo>
                      <a:pt x="19786" y="18359"/>
                    </a:lnTo>
                    <a:lnTo>
                      <a:pt x="19786" y="18359"/>
                    </a:lnTo>
                    <a:close/>
                    <a:moveTo>
                      <a:pt x="19786" y="4305"/>
                    </a:moveTo>
                    <a:lnTo>
                      <a:pt x="1814" y="4305"/>
                    </a:lnTo>
                    <a:lnTo>
                      <a:pt x="1814" y="15117"/>
                    </a:lnTo>
                    <a:lnTo>
                      <a:pt x="19786" y="15117"/>
                    </a:lnTo>
                    <a:lnTo>
                      <a:pt x="19786" y="4305"/>
                    </a:lnTo>
                    <a:lnTo>
                      <a:pt x="19786" y="4305"/>
                    </a:lnTo>
                    <a:close/>
                    <a:moveTo>
                      <a:pt x="1814" y="3241"/>
                    </a:moveTo>
                    <a:lnTo>
                      <a:pt x="19786" y="3241"/>
                    </a:lnTo>
                    <a:cubicBezTo>
                      <a:pt x="19786" y="2634"/>
                      <a:pt x="19434" y="2119"/>
                      <a:pt x="18731" y="1697"/>
                    </a:cubicBezTo>
                    <a:cubicBezTo>
                      <a:pt x="18028" y="1275"/>
                      <a:pt x="17184" y="1064"/>
                      <a:pt x="16200" y="1064"/>
                    </a:cubicBezTo>
                    <a:lnTo>
                      <a:pt x="5400" y="1064"/>
                    </a:lnTo>
                    <a:cubicBezTo>
                      <a:pt x="4415" y="1064"/>
                      <a:pt x="3571" y="1275"/>
                      <a:pt x="2869" y="1697"/>
                    </a:cubicBezTo>
                    <a:cubicBezTo>
                      <a:pt x="2165" y="2119"/>
                      <a:pt x="1814" y="2634"/>
                      <a:pt x="1814" y="3241"/>
                    </a:cubicBezTo>
                    <a:lnTo>
                      <a:pt x="1814" y="3241"/>
                    </a:lnTo>
                    <a:lnTo>
                      <a:pt x="1814" y="3241"/>
                    </a:lnTo>
                    <a:close/>
                    <a:moveTo>
                      <a:pt x="8986" y="18359"/>
                    </a:moveTo>
                    <a:cubicBezTo>
                      <a:pt x="8986" y="18663"/>
                      <a:pt x="9161" y="18920"/>
                      <a:pt x="9513" y="19131"/>
                    </a:cubicBezTo>
                    <a:cubicBezTo>
                      <a:pt x="9865" y="19342"/>
                      <a:pt x="10294" y="19448"/>
                      <a:pt x="10800" y="19448"/>
                    </a:cubicBezTo>
                    <a:cubicBezTo>
                      <a:pt x="11306" y="19448"/>
                      <a:pt x="11735" y="19342"/>
                      <a:pt x="12087" y="19131"/>
                    </a:cubicBezTo>
                    <a:cubicBezTo>
                      <a:pt x="12438" y="18920"/>
                      <a:pt x="12614" y="18663"/>
                      <a:pt x="12614" y="18359"/>
                    </a:cubicBezTo>
                    <a:cubicBezTo>
                      <a:pt x="12614" y="18055"/>
                      <a:pt x="12438" y="17798"/>
                      <a:pt x="12087" y="17586"/>
                    </a:cubicBezTo>
                    <a:cubicBezTo>
                      <a:pt x="11735" y="17376"/>
                      <a:pt x="11306" y="17270"/>
                      <a:pt x="10800" y="17270"/>
                    </a:cubicBezTo>
                    <a:cubicBezTo>
                      <a:pt x="10294" y="17270"/>
                      <a:pt x="9865" y="17376"/>
                      <a:pt x="9513" y="17586"/>
                    </a:cubicBezTo>
                    <a:cubicBezTo>
                      <a:pt x="9161" y="17798"/>
                      <a:pt x="8986" y="18055"/>
                      <a:pt x="8986" y="18359"/>
                    </a:cubicBezTo>
                    <a:lnTo>
                      <a:pt x="8986" y="18359"/>
                    </a:lnTo>
                    <a:lnTo>
                      <a:pt x="8986" y="18359"/>
                    </a:lnTo>
                    <a:close/>
                    <a:moveTo>
                      <a:pt x="6286" y="7546"/>
                    </a:moveTo>
                    <a:cubicBezTo>
                      <a:pt x="6539" y="7546"/>
                      <a:pt x="6757" y="7495"/>
                      <a:pt x="6940" y="7394"/>
                    </a:cubicBezTo>
                    <a:cubicBezTo>
                      <a:pt x="7122" y="7293"/>
                      <a:pt x="7214" y="7166"/>
                      <a:pt x="7214" y="7014"/>
                    </a:cubicBezTo>
                    <a:lnTo>
                      <a:pt x="7214" y="5925"/>
                    </a:lnTo>
                    <a:cubicBezTo>
                      <a:pt x="7214" y="5791"/>
                      <a:pt x="7122" y="5668"/>
                      <a:pt x="6940" y="5558"/>
                    </a:cubicBezTo>
                    <a:cubicBezTo>
                      <a:pt x="6757" y="5449"/>
                      <a:pt x="6539" y="5394"/>
                      <a:pt x="6286" y="5394"/>
                    </a:cubicBezTo>
                    <a:lnTo>
                      <a:pt x="4514" y="5394"/>
                    </a:lnTo>
                    <a:cubicBezTo>
                      <a:pt x="4261" y="5394"/>
                      <a:pt x="4043" y="5449"/>
                      <a:pt x="3860" y="5558"/>
                    </a:cubicBezTo>
                    <a:cubicBezTo>
                      <a:pt x="3677" y="5668"/>
                      <a:pt x="3586" y="5791"/>
                      <a:pt x="3586" y="5925"/>
                    </a:cubicBezTo>
                    <a:lnTo>
                      <a:pt x="3586" y="7014"/>
                    </a:lnTo>
                    <a:cubicBezTo>
                      <a:pt x="3586" y="7166"/>
                      <a:pt x="3677" y="7293"/>
                      <a:pt x="3860" y="7394"/>
                    </a:cubicBezTo>
                    <a:cubicBezTo>
                      <a:pt x="4043" y="7495"/>
                      <a:pt x="4261" y="7546"/>
                      <a:pt x="4514" y="7546"/>
                    </a:cubicBezTo>
                    <a:lnTo>
                      <a:pt x="6286" y="7546"/>
                    </a:lnTo>
                    <a:lnTo>
                      <a:pt x="6286" y="7546"/>
                    </a:lnTo>
                    <a:lnTo>
                      <a:pt x="6286" y="7546"/>
                    </a:lnTo>
                    <a:close/>
                    <a:moveTo>
                      <a:pt x="12340" y="7394"/>
                    </a:moveTo>
                    <a:cubicBezTo>
                      <a:pt x="12522" y="7293"/>
                      <a:pt x="12614" y="7166"/>
                      <a:pt x="12614" y="7014"/>
                    </a:cubicBezTo>
                    <a:lnTo>
                      <a:pt x="12614" y="5925"/>
                    </a:lnTo>
                    <a:cubicBezTo>
                      <a:pt x="12614" y="5791"/>
                      <a:pt x="12522" y="5668"/>
                      <a:pt x="12340" y="5558"/>
                    </a:cubicBezTo>
                    <a:cubicBezTo>
                      <a:pt x="12157" y="5449"/>
                      <a:pt x="11939" y="5394"/>
                      <a:pt x="11686" y="5394"/>
                    </a:cubicBezTo>
                    <a:lnTo>
                      <a:pt x="9914" y="5394"/>
                    </a:lnTo>
                    <a:cubicBezTo>
                      <a:pt x="9661" y="5394"/>
                      <a:pt x="9443" y="5449"/>
                      <a:pt x="9260" y="5558"/>
                    </a:cubicBezTo>
                    <a:cubicBezTo>
                      <a:pt x="9077" y="5668"/>
                      <a:pt x="8986" y="5791"/>
                      <a:pt x="8986" y="5925"/>
                    </a:cubicBezTo>
                    <a:lnTo>
                      <a:pt x="8986" y="7014"/>
                    </a:lnTo>
                    <a:cubicBezTo>
                      <a:pt x="8986" y="7166"/>
                      <a:pt x="9077" y="7293"/>
                      <a:pt x="9260" y="7394"/>
                    </a:cubicBezTo>
                    <a:cubicBezTo>
                      <a:pt x="9443" y="7495"/>
                      <a:pt x="9661" y="7546"/>
                      <a:pt x="9914" y="7546"/>
                    </a:cubicBezTo>
                    <a:lnTo>
                      <a:pt x="11686" y="7546"/>
                    </a:lnTo>
                    <a:cubicBezTo>
                      <a:pt x="11939" y="7546"/>
                      <a:pt x="12157" y="7495"/>
                      <a:pt x="12340" y="7394"/>
                    </a:cubicBezTo>
                    <a:lnTo>
                      <a:pt x="12340" y="7394"/>
                    </a:lnTo>
                    <a:close/>
                    <a:moveTo>
                      <a:pt x="17740" y="7394"/>
                    </a:moveTo>
                    <a:cubicBezTo>
                      <a:pt x="17922" y="7293"/>
                      <a:pt x="18014" y="7166"/>
                      <a:pt x="18014" y="7014"/>
                    </a:cubicBezTo>
                    <a:lnTo>
                      <a:pt x="18014" y="5925"/>
                    </a:lnTo>
                    <a:cubicBezTo>
                      <a:pt x="18014" y="5791"/>
                      <a:pt x="17922" y="5668"/>
                      <a:pt x="17740" y="5558"/>
                    </a:cubicBezTo>
                    <a:cubicBezTo>
                      <a:pt x="17557" y="5449"/>
                      <a:pt x="17339" y="5394"/>
                      <a:pt x="17086" y="5394"/>
                    </a:cubicBezTo>
                    <a:lnTo>
                      <a:pt x="15314" y="5394"/>
                    </a:lnTo>
                    <a:cubicBezTo>
                      <a:pt x="15061" y="5394"/>
                      <a:pt x="14843" y="5449"/>
                      <a:pt x="14660" y="5558"/>
                    </a:cubicBezTo>
                    <a:cubicBezTo>
                      <a:pt x="14477" y="5668"/>
                      <a:pt x="14386" y="5791"/>
                      <a:pt x="14386" y="5925"/>
                    </a:cubicBezTo>
                    <a:lnTo>
                      <a:pt x="14386" y="7014"/>
                    </a:lnTo>
                    <a:cubicBezTo>
                      <a:pt x="14386" y="7166"/>
                      <a:pt x="14477" y="7293"/>
                      <a:pt x="14660" y="7394"/>
                    </a:cubicBezTo>
                    <a:cubicBezTo>
                      <a:pt x="14843" y="7495"/>
                      <a:pt x="15061" y="7546"/>
                      <a:pt x="15314" y="7546"/>
                    </a:cubicBezTo>
                    <a:lnTo>
                      <a:pt x="17086" y="7546"/>
                    </a:lnTo>
                    <a:cubicBezTo>
                      <a:pt x="17339" y="7546"/>
                      <a:pt x="17557" y="7495"/>
                      <a:pt x="17740" y="7394"/>
                    </a:cubicBezTo>
                    <a:lnTo>
                      <a:pt x="17740" y="7394"/>
                    </a:lnTo>
                    <a:close/>
                    <a:moveTo>
                      <a:pt x="6286" y="10787"/>
                    </a:moveTo>
                    <a:cubicBezTo>
                      <a:pt x="6539" y="10787"/>
                      <a:pt x="6757" y="10737"/>
                      <a:pt x="6940" y="10635"/>
                    </a:cubicBezTo>
                    <a:cubicBezTo>
                      <a:pt x="7122" y="10534"/>
                      <a:pt x="7214" y="10408"/>
                      <a:pt x="7214" y="10256"/>
                    </a:cubicBezTo>
                    <a:lnTo>
                      <a:pt x="7214" y="9167"/>
                    </a:lnTo>
                    <a:cubicBezTo>
                      <a:pt x="7214" y="9032"/>
                      <a:pt x="7122" y="8910"/>
                      <a:pt x="6940" y="8800"/>
                    </a:cubicBezTo>
                    <a:cubicBezTo>
                      <a:pt x="6757" y="8690"/>
                      <a:pt x="6539" y="8635"/>
                      <a:pt x="6286" y="8635"/>
                    </a:cubicBezTo>
                    <a:lnTo>
                      <a:pt x="4514" y="8635"/>
                    </a:lnTo>
                    <a:cubicBezTo>
                      <a:pt x="4261" y="8635"/>
                      <a:pt x="4043" y="8690"/>
                      <a:pt x="3860" y="8800"/>
                    </a:cubicBezTo>
                    <a:cubicBezTo>
                      <a:pt x="3677" y="8910"/>
                      <a:pt x="3586" y="9032"/>
                      <a:pt x="3586" y="9167"/>
                    </a:cubicBezTo>
                    <a:lnTo>
                      <a:pt x="3586" y="10256"/>
                    </a:lnTo>
                    <a:cubicBezTo>
                      <a:pt x="3586" y="10408"/>
                      <a:pt x="3677" y="10534"/>
                      <a:pt x="3860" y="10635"/>
                    </a:cubicBezTo>
                    <a:cubicBezTo>
                      <a:pt x="4043" y="10737"/>
                      <a:pt x="4261" y="10787"/>
                      <a:pt x="4514" y="10787"/>
                    </a:cubicBezTo>
                    <a:lnTo>
                      <a:pt x="6286" y="10787"/>
                    </a:lnTo>
                    <a:lnTo>
                      <a:pt x="6286" y="10787"/>
                    </a:lnTo>
                    <a:lnTo>
                      <a:pt x="6286" y="10787"/>
                    </a:lnTo>
                    <a:close/>
                    <a:moveTo>
                      <a:pt x="12340" y="10635"/>
                    </a:moveTo>
                    <a:cubicBezTo>
                      <a:pt x="12522" y="10534"/>
                      <a:pt x="12614" y="10408"/>
                      <a:pt x="12614" y="10256"/>
                    </a:cubicBezTo>
                    <a:lnTo>
                      <a:pt x="12614" y="9167"/>
                    </a:lnTo>
                    <a:cubicBezTo>
                      <a:pt x="12614" y="9032"/>
                      <a:pt x="12522" y="8910"/>
                      <a:pt x="12340" y="8800"/>
                    </a:cubicBezTo>
                    <a:cubicBezTo>
                      <a:pt x="12157" y="8690"/>
                      <a:pt x="11939" y="8635"/>
                      <a:pt x="11686" y="8635"/>
                    </a:cubicBezTo>
                    <a:lnTo>
                      <a:pt x="9914" y="8635"/>
                    </a:lnTo>
                    <a:cubicBezTo>
                      <a:pt x="9661" y="8635"/>
                      <a:pt x="9443" y="8690"/>
                      <a:pt x="9260" y="8800"/>
                    </a:cubicBezTo>
                    <a:cubicBezTo>
                      <a:pt x="9077" y="8910"/>
                      <a:pt x="8986" y="9032"/>
                      <a:pt x="8986" y="9167"/>
                    </a:cubicBezTo>
                    <a:lnTo>
                      <a:pt x="8986" y="10256"/>
                    </a:lnTo>
                    <a:cubicBezTo>
                      <a:pt x="8986" y="10408"/>
                      <a:pt x="9077" y="10534"/>
                      <a:pt x="9260" y="10635"/>
                    </a:cubicBezTo>
                    <a:cubicBezTo>
                      <a:pt x="9443" y="10737"/>
                      <a:pt x="9661" y="10787"/>
                      <a:pt x="9914" y="10787"/>
                    </a:cubicBezTo>
                    <a:lnTo>
                      <a:pt x="11686" y="10787"/>
                    </a:lnTo>
                    <a:cubicBezTo>
                      <a:pt x="11939" y="10787"/>
                      <a:pt x="12157" y="10737"/>
                      <a:pt x="12340" y="10635"/>
                    </a:cubicBezTo>
                    <a:lnTo>
                      <a:pt x="12340" y="10635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12700">
                <a:miter lim="400000"/>
              </a:ln>
            </p:spPr>
            <p:txBody>
              <a:bodyPr lIns="27428" tIns="27428" rIns="27428" bIns="27428" anchor="ctr"/>
              <a:lstStyle/>
              <a:p>
                <a:pPr marL="0" marR="0" lvl="0" indent="0" algn="l" defTabSz="3291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b="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kumimoji="0" lang="pt-BR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uLnTx/>
                  <a:uFillTx/>
                  <a:latin typeface="Gill Sans"/>
                  <a:sym typeface="Gill Sans"/>
                </a:endParaRPr>
              </a:p>
            </p:txBody>
          </p:sp>
          <p:sp>
            <p:nvSpPr>
              <p:cNvPr id="1027" name="Forma">
                <a:extLst>
                  <a:ext uri="{FF2B5EF4-FFF2-40B4-BE49-F238E27FC236}">
                    <a16:creationId xmlns:a16="http://schemas.microsoft.com/office/drawing/2014/main" id="{C5EFF117-50B4-9E26-4F03-85EEEC89F17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255495" y="2180285"/>
                <a:ext cx="307782" cy="25200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462" y="21417"/>
                    </a:moveTo>
                    <a:cubicBezTo>
                      <a:pt x="21554" y="21295"/>
                      <a:pt x="21600" y="21160"/>
                      <a:pt x="21600" y="21009"/>
                    </a:cubicBezTo>
                    <a:cubicBezTo>
                      <a:pt x="21600" y="20841"/>
                      <a:pt x="21554" y="20696"/>
                      <a:pt x="21462" y="20573"/>
                    </a:cubicBezTo>
                    <a:cubicBezTo>
                      <a:pt x="21370" y="20452"/>
                      <a:pt x="21255" y="20391"/>
                      <a:pt x="21116" y="20391"/>
                    </a:cubicBezTo>
                    <a:lnTo>
                      <a:pt x="484" y="20391"/>
                    </a:lnTo>
                    <a:cubicBezTo>
                      <a:pt x="345" y="20391"/>
                      <a:pt x="230" y="20452"/>
                      <a:pt x="138" y="20573"/>
                    </a:cubicBezTo>
                    <a:cubicBezTo>
                      <a:pt x="46" y="20696"/>
                      <a:pt x="0" y="20841"/>
                      <a:pt x="0" y="21009"/>
                    </a:cubicBezTo>
                    <a:cubicBezTo>
                      <a:pt x="0" y="21160"/>
                      <a:pt x="46" y="21295"/>
                      <a:pt x="138" y="21417"/>
                    </a:cubicBezTo>
                    <a:cubicBezTo>
                      <a:pt x="230" y="21539"/>
                      <a:pt x="345" y="21600"/>
                      <a:pt x="484" y="21600"/>
                    </a:cubicBezTo>
                    <a:lnTo>
                      <a:pt x="21116" y="21600"/>
                    </a:lnTo>
                    <a:lnTo>
                      <a:pt x="21116" y="21600"/>
                    </a:lnTo>
                    <a:lnTo>
                      <a:pt x="21116" y="21600"/>
                    </a:lnTo>
                    <a:cubicBezTo>
                      <a:pt x="21255" y="21600"/>
                      <a:pt x="21370" y="21539"/>
                      <a:pt x="21462" y="21417"/>
                    </a:cubicBezTo>
                    <a:lnTo>
                      <a:pt x="21462" y="21417"/>
                    </a:lnTo>
                    <a:close/>
                    <a:moveTo>
                      <a:pt x="19643" y="15609"/>
                    </a:moveTo>
                    <a:lnTo>
                      <a:pt x="1957" y="15609"/>
                    </a:lnTo>
                    <a:lnTo>
                      <a:pt x="1957" y="1209"/>
                    </a:lnTo>
                    <a:lnTo>
                      <a:pt x="19643" y="1209"/>
                    </a:lnTo>
                    <a:lnTo>
                      <a:pt x="19643" y="15609"/>
                    </a:lnTo>
                    <a:lnTo>
                      <a:pt x="19643" y="15609"/>
                    </a:lnTo>
                    <a:close/>
                    <a:moveTo>
                      <a:pt x="1957" y="0"/>
                    </a:moveTo>
                    <a:cubicBezTo>
                      <a:pt x="1681" y="0"/>
                      <a:pt x="1447" y="117"/>
                      <a:pt x="1255" y="352"/>
                    </a:cubicBezTo>
                    <a:cubicBezTo>
                      <a:pt x="1063" y="586"/>
                      <a:pt x="967" y="872"/>
                      <a:pt x="967" y="1209"/>
                    </a:cubicBezTo>
                    <a:lnTo>
                      <a:pt x="967" y="15609"/>
                    </a:lnTo>
                    <a:cubicBezTo>
                      <a:pt x="967" y="15928"/>
                      <a:pt x="1063" y="16205"/>
                      <a:pt x="1255" y="16439"/>
                    </a:cubicBezTo>
                    <a:cubicBezTo>
                      <a:pt x="1447" y="16674"/>
                      <a:pt x="1681" y="16791"/>
                      <a:pt x="1957" y="16791"/>
                    </a:cubicBezTo>
                    <a:lnTo>
                      <a:pt x="19643" y="16791"/>
                    </a:lnTo>
                    <a:cubicBezTo>
                      <a:pt x="19919" y="16791"/>
                      <a:pt x="20153" y="16674"/>
                      <a:pt x="20345" y="16439"/>
                    </a:cubicBezTo>
                    <a:cubicBezTo>
                      <a:pt x="20537" y="16205"/>
                      <a:pt x="20633" y="15928"/>
                      <a:pt x="20633" y="15609"/>
                    </a:cubicBezTo>
                    <a:lnTo>
                      <a:pt x="20633" y="1209"/>
                    </a:lnTo>
                    <a:cubicBezTo>
                      <a:pt x="20633" y="872"/>
                      <a:pt x="20537" y="586"/>
                      <a:pt x="20345" y="352"/>
                    </a:cubicBezTo>
                    <a:cubicBezTo>
                      <a:pt x="20153" y="117"/>
                      <a:pt x="19919" y="0"/>
                      <a:pt x="19643" y="0"/>
                    </a:cubicBezTo>
                    <a:lnTo>
                      <a:pt x="1957" y="0"/>
                    </a:lnTo>
                    <a:lnTo>
                      <a:pt x="1957" y="0"/>
                    </a:lnTo>
                    <a:close/>
                    <a:moveTo>
                      <a:pt x="15221" y="2391"/>
                    </a:moveTo>
                    <a:cubicBezTo>
                      <a:pt x="15359" y="2391"/>
                      <a:pt x="15475" y="2452"/>
                      <a:pt x="15567" y="2573"/>
                    </a:cubicBezTo>
                    <a:cubicBezTo>
                      <a:pt x="15659" y="2696"/>
                      <a:pt x="15705" y="2841"/>
                      <a:pt x="15705" y="3009"/>
                    </a:cubicBezTo>
                    <a:lnTo>
                      <a:pt x="15705" y="4191"/>
                    </a:lnTo>
                    <a:cubicBezTo>
                      <a:pt x="15705" y="4359"/>
                      <a:pt x="15659" y="4505"/>
                      <a:pt x="15567" y="4627"/>
                    </a:cubicBezTo>
                    <a:cubicBezTo>
                      <a:pt x="15475" y="4749"/>
                      <a:pt x="15359" y="4809"/>
                      <a:pt x="15221" y="4809"/>
                    </a:cubicBezTo>
                    <a:lnTo>
                      <a:pt x="14231" y="4809"/>
                    </a:lnTo>
                    <a:cubicBezTo>
                      <a:pt x="14108" y="4809"/>
                      <a:pt x="13997" y="4749"/>
                      <a:pt x="13897" y="4627"/>
                    </a:cubicBezTo>
                    <a:cubicBezTo>
                      <a:pt x="13797" y="4505"/>
                      <a:pt x="13748" y="4359"/>
                      <a:pt x="13748" y="4191"/>
                    </a:cubicBezTo>
                    <a:lnTo>
                      <a:pt x="13748" y="3009"/>
                    </a:lnTo>
                    <a:cubicBezTo>
                      <a:pt x="13748" y="2841"/>
                      <a:pt x="13797" y="2696"/>
                      <a:pt x="13897" y="2573"/>
                    </a:cubicBezTo>
                    <a:cubicBezTo>
                      <a:pt x="13997" y="2452"/>
                      <a:pt x="14108" y="2391"/>
                      <a:pt x="14231" y="2391"/>
                    </a:cubicBezTo>
                    <a:lnTo>
                      <a:pt x="15221" y="2391"/>
                    </a:lnTo>
                    <a:lnTo>
                      <a:pt x="15221" y="2391"/>
                    </a:lnTo>
                    <a:lnTo>
                      <a:pt x="15221" y="2391"/>
                    </a:lnTo>
                    <a:close/>
                    <a:moveTo>
                      <a:pt x="18169" y="2391"/>
                    </a:moveTo>
                    <a:cubicBezTo>
                      <a:pt x="18307" y="2391"/>
                      <a:pt x="18422" y="2452"/>
                      <a:pt x="18514" y="2573"/>
                    </a:cubicBezTo>
                    <a:cubicBezTo>
                      <a:pt x="18606" y="2696"/>
                      <a:pt x="18652" y="2841"/>
                      <a:pt x="18652" y="3009"/>
                    </a:cubicBezTo>
                    <a:lnTo>
                      <a:pt x="18652" y="4191"/>
                    </a:lnTo>
                    <a:cubicBezTo>
                      <a:pt x="18652" y="4359"/>
                      <a:pt x="18606" y="4505"/>
                      <a:pt x="18514" y="4627"/>
                    </a:cubicBezTo>
                    <a:cubicBezTo>
                      <a:pt x="18422" y="4749"/>
                      <a:pt x="18307" y="4809"/>
                      <a:pt x="18169" y="4809"/>
                    </a:cubicBezTo>
                    <a:lnTo>
                      <a:pt x="17179" y="4809"/>
                    </a:lnTo>
                    <a:cubicBezTo>
                      <a:pt x="17056" y="4809"/>
                      <a:pt x="16944" y="4749"/>
                      <a:pt x="16845" y="4627"/>
                    </a:cubicBezTo>
                    <a:cubicBezTo>
                      <a:pt x="16745" y="4505"/>
                      <a:pt x="16695" y="4359"/>
                      <a:pt x="16695" y="4191"/>
                    </a:cubicBezTo>
                    <a:lnTo>
                      <a:pt x="16695" y="3009"/>
                    </a:lnTo>
                    <a:cubicBezTo>
                      <a:pt x="16695" y="2841"/>
                      <a:pt x="16745" y="2696"/>
                      <a:pt x="16845" y="2573"/>
                    </a:cubicBezTo>
                    <a:cubicBezTo>
                      <a:pt x="16944" y="2452"/>
                      <a:pt x="17056" y="2391"/>
                      <a:pt x="17179" y="2391"/>
                    </a:cubicBezTo>
                    <a:lnTo>
                      <a:pt x="18169" y="2391"/>
                    </a:lnTo>
                    <a:lnTo>
                      <a:pt x="18169" y="2391"/>
                    </a:lnTo>
                    <a:lnTo>
                      <a:pt x="18169" y="2391"/>
                    </a:lnTo>
                    <a:close/>
                    <a:moveTo>
                      <a:pt x="15221" y="5991"/>
                    </a:moveTo>
                    <a:cubicBezTo>
                      <a:pt x="15359" y="5991"/>
                      <a:pt x="15475" y="6052"/>
                      <a:pt x="15567" y="6173"/>
                    </a:cubicBezTo>
                    <a:cubicBezTo>
                      <a:pt x="15659" y="6296"/>
                      <a:pt x="15705" y="6441"/>
                      <a:pt x="15705" y="6609"/>
                    </a:cubicBezTo>
                    <a:lnTo>
                      <a:pt x="15705" y="7791"/>
                    </a:lnTo>
                    <a:cubicBezTo>
                      <a:pt x="15705" y="7959"/>
                      <a:pt x="15659" y="8105"/>
                      <a:pt x="15567" y="8227"/>
                    </a:cubicBezTo>
                    <a:cubicBezTo>
                      <a:pt x="15475" y="8349"/>
                      <a:pt x="15359" y="8409"/>
                      <a:pt x="15221" y="8409"/>
                    </a:cubicBezTo>
                    <a:lnTo>
                      <a:pt x="14231" y="8409"/>
                    </a:lnTo>
                    <a:cubicBezTo>
                      <a:pt x="14108" y="8409"/>
                      <a:pt x="13997" y="8349"/>
                      <a:pt x="13897" y="8227"/>
                    </a:cubicBezTo>
                    <a:cubicBezTo>
                      <a:pt x="13797" y="8105"/>
                      <a:pt x="13748" y="7959"/>
                      <a:pt x="13748" y="7791"/>
                    </a:cubicBezTo>
                    <a:lnTo>
                      <a:pt x="13748" y="6609"/>
                    </a:lnTo>
                    <a:cubicBezTo>
                      <a:pt x="13748" y="6441"/>
                      <a:pt x="13797" y="6296"/>
                      <a:pt x="13897" y="6173"/>
                    </a:cubicBezTo>
                    <a:cubicBezTo>
                      <a:pt x="13997" y="6052"/>
                      <a:pt x="14108" y="5991"/>
                      <a:pt x="14231" y="5991"/>
                    </a:cubicBezTo>
                    <a:lnTo>
                      <a:pt x="15221" y="5991"/>
                    </a:lnTo>
                    <a:lnTo>
                      <a:pt x="15221" y="5991"/>
                    </a:lnTo>
                    <a:lnTo>
                      <a:pt x="15221" y="5991"/>
                    </a:lnTo>
                    <a:close/>
                    <a:moveTo>
                      <a:pt x="18169" y="5991"/>
                    </a:moveTo>
                    <a:cubicBezTo>
                      <a:pt x="18307" y="5991"/>
                      <a:pt x="18422" y="6052"/>
                      <a:pt x="18514" y="6173"/>
                    </a:cubicBezTo>
                    <a:cubicBezTo>
                      <a:pt x="18606" y="6296"/>
                      <a:pt x="18652" y="6441"/>
                      <a:pt x="18652" y="6609"/>
                    </a:cubicBezTo>
                    <a:lnTo>
                      <a:pt x="18652" y="7791"/>
                    </a:lnTo>
                    <a:cubicBezTo>
                      <a:pt x="18652" y="7959"/>
                      <a:pt x="18606" y="8105"/>
                      <a:pt x="18514" y="8227"/>
                    </a:cubicBezTo>
                    <a:cubicBezTo>
                      <a:pt x="18422" y="8349"/>
                      <a:pt x="18307" y="8409"/>
                      <a:pt x="18169" y="8409"/>
                    </a:cubicBezTo>
                    <a:lnTo>
                      <a:pt x="17179" y="8409"/>
                    </a:lnTo>
                    <a:cubicBezTo>
                      <a:pt x="17056" y="8409"/>
                      <a:pt x="16944" y="8349"/>
                      <a:pt x="16845" y="8227"/>
                    </a:cubicBezTo>
                    <a:cubicBezTo>
                      <a:pt x="16745" y="8105"/>
                      <a:pt x="16695" y="7959"/>
                      <a:pt x="16695" y="7791"/>
                    </a:cubicBezTo>
                    <a:lnTo>
                      <a:pt x="16695" y="6609"/>
                    </a:lnTo>
                    <a:cubicBezTo>
                      <a:pt x="16695" y="6441"/>
                      <a:pt x="16745" y="6296"/>
                      <a:pt x="16845" y="6173"/>
                    </a:cubicBezTo>
                    <a:cubicBezTo>
                      <a:pt x="16944" y="6052"/>
                      <a:pt x="17056" y="5991"/>
                      <a:pt x="17179" y="5991"/>
                    </a:cubicBezTo>
                    <a:lnTo>
                      <a:pt x="18169" y="5991"/>
                    </a:lnTo>
                    <a:lnTo>
                      <a:pt x="18169" y="5991"/>
                    </a:lnTo>
                    <a:lnTo>
                      <a:pt x="18169" y="5991"/>
                    </a:lnTo>
                    <a:close/>
                    <a:moveTo>
                      <a:pt x="18169" y="9591"/>
                    </a:moveTo>
                    <a:cubicBezTo>
                      <a:pt x="18307" y="9591"/>
                      <a:pt x="18422" y="9652"/>
                      <a:pt x="18514" y="9773"/>
                    </a:cubicBezTo>
                    <a:cubicBezTo>
                      <a:pt x="18606" y="9896"/>
                      <a:pt x="18652" y="10041"/>
                      <a:pt x="18652" y="10209"/>
                    </a:cubicBezTo>
                    <a:lnTo>
                      <a:pt x="18652" y="11391"/>
                    </a:lnTo>
                    <a:cubicBezTo>
                      <a:pt x="18652" y="11559"/>
                      <a:pt x="18606" y="11705"/>
                      <a:pt x="18514" y="11827"/>
                    </a:cubicBezTo>
                    <a:cubicBezTo>
                      <a:pt x="18422" y="11949"/>
                      <a:pt x="18307" y="12009"/>
                      <a:pt x="18169" y="12009"/>
                    </a:cubicBezTo>
                    <a:lnTo>
                      <a:pt x="17179" y="12009"/>
                    </a:lnTo>
                    <a:cubicBezTo>
                      <a:pt x="17056" y="12009"/>
                      <a:pt x="16944" y="11949"/>
                      <a:pt x="16845" y="11827"/>
                    </a:cubicBezTo>
                    <a:cubicBezTo>
                      <a:pt x="16745" y="11705"/>
                      <a:pt x="16695" y="11559"/>
                      <a:pt x="16695" y="11391"/>
                    </a:cubicBezTo>
                    <a:lnTo>
                      <a:pt x="16695" y="10209"/>
                    </a:lnTo>
                    <a:cubicBezTo>
                      <a:pt x="16695" y="10041"/>
                      <a:pt x="16745" y="9896"/>
                      <a:pt x="16845" y="9773"/>
                    </a:cubicBezTo>
                    <a:cubicBezTo>
                      <a:pt x="16944" y="9652"/>
                      <a:pt x="17056" y="9591"/>
                      <a:pt x="17179" y="9591"/>
                    </a:cubicBezTo>
                    <a:lnTo>
                      <a:pt x="18169" y="9591"/>
                    </a:lnTo>
                    <a:lnTo>
                      <a:pt x="18169" y="9591"/>
                    </a:lnTo>
                    <a:lnTo>
                      <a:pt x="18169" y="9591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12700">
                <a:miter lim="400000"/>
              </a:ln>
            </p:spPr>
            <p:txBody>
              <a:bodyPr lIns="27428" tIns="27428" rIns="27428" bIns="27428" anchor="ctr"/>
              <a:lstStyle/>
              <a:p>
                <a:pPr marL="0" marR="0" lvl="0" indent="0" algn="l" defTabSz="3291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b="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kumimoji="0" lang="pt-BR" sz="1296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uLnTx/>
                  <a:uFillTx/>
                  <a:latin typeface="Gill Sans"/>
                  <a:sym typeface="Gill Sans"/>
                </a:endParaRPr>
              </a:p>
            </p:txBody>
          </p:sp>
          <p:sp>
            <p:nvSpPr>
              <p:cNvPr id="1028" name="Retângulo 1027">
                <a:extLst>
                  <a:ext uri="{FF2B5EF4-FFF2-40B4-BE49-F238E27FC236}">
                    <a16:creationId xmlns:a16="http://schemas.microsoft.com/office/drawing/2014/main" id="{B2C937BE-8DFE-4121-8F91-9033A28550A6}"/>
                  </a:ext>
                </a:extLst>
              </p:cNvPr>
              <p:cNvSpPr/>
              <p:nvPr/>
            </p:nvSpPr>
            <p:spPr>
              <a:xfrm>
                <a:off x="9090071" y="2053333"/>
                <a:ext cx="619904" cy="1202183"/>
              </a:xfrm>
              <a:prstGeom prst="rect">
                <a:avLst/>
              </a:prstGeom>
              <a:noFill/>
              <a:ln>
                <a:solidFill>
                  <a:srgbClr val="99999B"/>
                </a:solidFill>
                <a:prstDash val="dash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29" name="CaixaDeTexto 1028">
                <a:extLst>
                  <a:ext uri="{FF2B5EF4-FFF2-40B4-BE49-F238E27FC236}">
                    <a16:creationId xmlns:a16="http://schemas.microsoft.com/office/drawing/2014/main" id="{50D4319B-70EE-12C7-2C7A-53EF0CC86C8D}"/>
                  </a:ext>
                </a:extLst>
              </p:cNvPr>
              <p:cNvSpPr txBox="1"/>
              <p:nvPr/>
            </p:nvSpPr>
            <p:spPr>
              <a:xfrm>
                <a:off x="8814488" y="3228114"/>
                <a:ext cx="119406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31656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Itau Display" panose="020B0503020204020204" pitchFamily="34" charset="0"/>
                    <a:ea typeface="+mn-ea"/>
                    <a:cs typeface="Itau Display" panose="020B0503020204020204" pitchFamily="34" charset="0"/>
                  </a:rPr>
                  <a:t>Módulo de recuperação</a:t>
                </a:r>
              </a:p>
            </p:txBody>
          </p:sp>
        </p:grpSp>
      </p:grpSp>
      <p:cxnSp>
        <p:nvCxnSpPr>
          <p:cNvPr id="1030" name="Conector reto 1029">
            <a:extLst>
              <a:ext uri="{FF2B5EF4-FFF2-40B4-BE49-F238E27FC236}">
                <a16:creationId xmlns:a16="http://schemas.microsoft.com/office/drawing/2014/main" id="{04495ED9-78FC-6FD0-89F1-FBDFBE774ACB}"/>
              </a:ext>
            </a:extLst>
          </p:cNvPr>
          <p:cNvCxnSpPr/>
          <p:nvPr/>
        </p:nvCxnSpPr>
        <p:spPr>
          <a:xfrm>
            <a:off x="8044861" y="1976773"/>
            <a:ext cx="188290" cy="0"/>
          </a:xfrm>
          <a:prstGeom prst="line">
            <a:avLst/>
          </a:prstGeom>
          <a:ln>
            <a:solidFill>
              <a:srgbClr val="99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2" name="Conector reto 1031">
            <a:extLst>
              <a:ext uri="{FF2B5EF4-FFF2-40B4-BE49-F238E27FC236}">
                <a16:creationId xmlns:a16="http://schemas.microsoft.com/office/drawing/2014/main" id="{7DF3181F-32CC-A27C-8024-48FA8291C234}"/>
              </a:ext>
            </a:extLst>
          </p:cNvPr>
          <p:cNvCxnSpPr>
            <a:cxnSpLocks/>
          </p:cNvCxnSpPr>
          <p:nvPr/>
        </p:nvCxnSpPr>
        <p:spPr>
          <a:xfrm>
            <a:off x="8844991" y="3076996"/>
            <a:ext cx="188290" cy="0"/>
          </a:xfrm>
          <a:prstGeom prst="line">
            <a:avLst/>
          </a:prstGeom>
          <a:ln>
            <a:solidFill>
              <a:srgbClr val="99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5" name="Conector reto 1034">
            <a:extLst>
              <a:ext uri="{FF2B5EF4-FFF2-40B4-BE49-F238E27FC236}">
                <a16:creationId xmlns:a16="http://schemas.microsoft.com/office/drawing/2014/main" id="{25A57805-1A64-6DEE-CA43-9CF0645CE44F}"/>
              </a:ext>
            </a:extLst>
          </p:cNvPr>
          <p:cNvCxnSpPr>
            <a:cxnSpLocks/>
          </p:cNvCxnSpPr>
          <p:nvPr/>
        </p:nvCxnSpPr>
        <p:spPr>
          <a:xfrm>
            <a:off x="8844991" y="3638477"/>
            <a:ext cx="188290" cy="0"/>
          </a:xfrm>
          <a:prstGeom prst="line">
            <a:avLst/>
          </a:prstGeom>
          <a:ln>
            <a:solidFill>
              <a:srgbClr val="99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6" name="Conector reto 1035">
            <a:extLst>
              <a:ext uri="{FF2B5EF4-FFF2-40B4-BE49-F238E27FC236}">
                <a16:creationId xmlns:a16="http://schemas.microsoft.com/office/drawing/2014/main" id="{57D2C49B-9C7D-CD82-DCD0-570721BDE7FA}"/>
              </a:ext>
            </a:extLst>
          </p:cNvPr>
          <p:cNvCxnSpPr>
            <a:cxnSpLocks/>
          </p:cNvCxnSpPr>
          <p:nvPr/>
        </p:nvCxnSpPr>
        <p:spPr>
          <a:xfrm flipH="1" flipV="1">
            <a:off x="9035965" y="2572180"/>
            <a:ext cx="8109" cy="1058879"/>
          </a:xfrm>
          <a:prstGeom prst="line">
            <a:avLst/>
          </a:prstGeom>
          <a:ln>
            <a:solidFill>
              <a:srgbClr val="99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7" name="Forma">
            <a:extLst>
              <a:ext uri="{FF2B5EF4-FFF2-40B4-BE49-F238E27FC236}">
                <a16:creationId xmlns:a16="http://schemas.microsoft.com/office/drawing/2014/main" id="{EB5698E1-A4FA-5B34-D28A-C768BEDD0713}"/>
              </a:ext>
            </a:extLst>
          </p:cNvPr>
          <p:cNvSpPr>
            <a:spLocks noChangeAspect="1"/>
          </p:cNvSpPr>
          <p:nvPr/>
        </p:nvSpPr>
        <p:spPr>
          <a:xfrm>
            <a:off x="7039896" y="2537501"/>
            <a:ext cx="151261" cy="252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018" y="950"/>
                </a:moveTo>
                <a:cubicBezTo>
                  <a:pt x="21073" y="1583"/>
                  <a:pt x="21600" y="2347"/>
                  <a:pt x="21600" y="3241"/>
                </a:cubicBezTo>
                <a:lnTo>
                  <a:pt x="21600" y="18359"/>
                </a:lnTo>
                <a:cubicBezTo>
                  <a:pt x="21600" y="19254"/>
                  <a:pt x="21073" y="20017"/>
                  <a:pt x="20018" y="20650"/>
                </a:cubicBezTo>
                <a:cubicBezTo>
                  <a:pt x="18963" y="21283"/>
                  <a:pt x="17690" y="21600"/>
                  <a:pt x="16200" y="21600"/>
                </a:cubicBezTo>
                <a:lnTo>
                  <a:pt x="5400" y="21600"/>
                </a:lnTo>
                <a:cubicBezTo>
                  <a:pt x="3909" y="21600"/>
                  <a:pt x="2637" y="21283"/>
                  <a:pt x="1582" y="20650"/>
                </a:cubicBezTo>
                <a:cubicBezTo>
                  <a:pt x="527" y="20017"/>
                  <a:pt x="0" y="19254"/>
                  <a:pt x="0" y="18359"/>
                </a:cubicBezTo>
                <a:lnTo>
                  <a:pt x="0" y="3241"/>
                </a:lnTo>
                <a:cubicBezTo>
                  <a:pt x="0" y="2347"/>
                  <a:pt x="527" y="1583"/>
                  <a:pt x="1582" y="950"/>
                </a:cubicBezTo>
                <a:cubicBezTo>
                  <a:pt x="2637" y="317"/>
                  <a:pt x="3909" y="0"/>
                  <a:pt x="5400" y="0"/>
                </a:cubicBezTo>
                <a:lnTo>
                  <a:pt x="16200" y="0"/>
                </a:lnTo>
                <a:cubicBezTo>
                  <a:pt x="17690" y="0"/>
                  <a:pt x="18963" y="317"/>
                  <a:pt x="20018" y="950"/>
                </a:cubicBezTo>
                <a:lnTo>
                  <a:pt x="20018" y="950"/>
                </a:lnTo>
                <a:close/>
                <a:moveTo>
                  <a:pt x="19786" y="18359"/>
                </a:moveTo>
                <a:lnTo>
                  <a:pt x="19786" y="16206"/>
                </a:lnTo>
                <a:lnTo>
                  <a:pt x="1814" y="16206"/>
                </a:lnTo>
                <a:lnTo>
                  <a:pt x="1814" y="18359"/>
                </a:lnTo>
                <a:cubicBezTo>
                  <a:pt x="1814" y="18950"/>
                  <a:pt x="2165" y="19456"/>
                  <a:pt x="2869" y="19878"/>
                </a:cubicBezTo>
                <a:cubicBezTo>
                  <a:pt x="3571" y="20300"/>
                  <a:pt x="4415" y="20511"/>
                  <a:pt x="5400" y="20511"/>
                </a:cubicBezTo>
                <a:lnTo>
                  <a:pt x="16200" y="20511"/>
                </a:lnTo>
                <a:cubicBezTo>
                  <a:pt x="17184" y="20511"/>
                  <a:pt x="18028" y="20300"/>
                  <a:pt x="18731" y="19878"/>
                </a:cubicBezTo>
                <a:cubicBezTo>
                  <a:pt x="19434" y="19456"/>
                  <a:pt x="19786" y="18950"/>
                  <a:pt x="19786" y="18359"/>
                </a:cubicBezTo>
                <a:lnTo>
                  <a:pt x="19786" y="18359"/>
                </a:lnTo>
                <a:lnTo>
                  <a:pt x="19786" y="18359"/>
                </a:lnTo>
                <a:close/>
                <a:moveTo>
                  <a:pt x="19786" y="4305"/>
                </a:moveTo>
                <a:lnTo>
                  <a:pt x="1814" y="4305"/>
                </a:lnTo>
                <a:lnTo>
                  <a:pt x="1814" y="15117"/>
                </a:lnTo>
                <a:lnTo>
                  <a:pt x="19786" y="15117"/>
                </a:lnTo>
                <a:lnTo>
                  <a:pt x="19786" y="4305"/>
                </a:lnTo>
                <a:lnTo>
                  <a:pt x="19786" y="4305"/>
                </a:lnTo>
                <a:close/>
                <a:moveTo>
                  <a:pt x="1814" y="3241"/>
                </a:moveTo>
                <a:lnTo>
                  <a:pt x="19786" y="3241"/>
                </a:lnTo>
                <a:cubicBezTo>
                  <a:pt x="19786" y="2634"/>
                  <a:pt x="19434" y="2119"/>
                  <a:pt x="18731" y="1697"/>
                </a:cubicBezTo>
                <a:cubicBezTo>
                  <a:pt x="18028" y="1275"/>
                  <a:pt x="17184" y="1064"/>
                  <a:pt x="16200" y="1064"/>
                </a:cubicBezTo>
                <a:lnTo>
                  <a:pt x="5400" y="1064"/>
                </a:lnTo>
                <a:cubicBezTo>
                  <a:pt x="4415" y="1064"/>
                  <a:pt x="3571" y="1275"/>
                  <a:pt x="2869" y="1697"/>
                </a:cubicBezTo>
                <a:cubicBezTo>
                  <a:pt x="2165" y="2119"/>
                  <a:pt x="1814" y="2634"/>
                  <a:pt x="1814" y="3241"/>
                </a:cubicBezTo>
                <a:lnTo>
                  <a:pt x="1814" y="3241"/>
                </a:lnTo>
                <a:lnTo>
                  <a:pt x="1814" y="3241"/>
                </a:lnTo>
                <a:close/>
                <a:moveTo>
                  <a:pt x="8986" y="18359"/>
                </a:moveTo>
                <a:cubicBezTo>
                  <a:pt x="8986" y="18663"/>
                  <a:pt x="9161" y="18920"/>
                  <a:pt x="9513" y="19131"/>
                </a:cubicBezTo>
                <a:cubicBezTo>
                  <a:pt x="9865" y="19342"/>
                  <a:pt x="10294" y="19448"/>
                  <a:pt x="10800" y="19448"/>
                </a:cubicBezTo>
                <a:cubicBezTo>
                  <a:pt x="11306" y="19448"/>
                  <a:pt x="11735" y="19342"/>
                  <a:pt x="12087" y="19131"/>
                </a:cubicBezTo>
                <a:cubicBezTo>
                  <a:pt x="12438" y="18920"/>
                  <a:pt x="12614" y="18663"/>
                  <a:pt x="12614" y="18359"/>
                </a:cubicBezTo>
                <a:cubicBezTo>
                  <a:pt x="12614" y="18055"/>
                  <a:pt x="12438" y="17798"/>
                  <a:pt x="12087" y="17586"/>
                </a:cubicBezTo>
                <a:cubicBezTo>
                  <a:pt x="11735" y="17376"/>
                  <a:pt x="11306" y="17270"/>
                  <a:pt x="10800" y="17270"/>
                </a:cubicBezTo>
                <a:cubicBezTo>
                  <a:pt x="10294" y="17270"/>
                  <a:pt x="9865" y="17376"/>
                  <a:pt x="9513" y="17586"/>
                </a:cubicBezTo>
                <a:cubicBezTo>
                  <a:pt x="9161" y="17798"/>
                  <a:pt x="8986" y="18055"/>
                  <a:pt x="8986" y="18359"/>
                </a:cubicBezTo>
                <a:lnTo>
                  <a:pt x="8986" y="18359"/>
                </a:lnTo>
                <a:lnTo>
                  <a:pt x="8986" y="18359"/>
                </a:lnTo>
                <a:close/>
                <a:moveTo>
                  <a:pt x="6286" y="7546"/>
                </a:moveTo>
                <a:cubicBezTo>
                  <a:pt x="6539" y="7546"/>
                  <a:pt x="6757" y="7495"/>
                  <a:pt x="6940" y="7394"/>
                </a:cubicBezTo>
                <a:cubicBezTo>
                  <a:pt x="7122" y="7293"/>
                  <a:pt x="7214" y="7166"/>
                  <a:pt x="7214" y="7014"/>
                </a:cubicBezTo>
                <a:lnTo>
                  <a:pt x="7214" y="5925"/>
                </a:lnTo>
                <a:cubicBezTo>
                  <a:pt x="7214" y="5791"/>
                  <a:pt x="7122" y="5668"/>
                  <a:pt x="6940" y="5558"/>
                </a:cubicBezTo>
                <a:cubicBezTo>
                  <a:pt x="6757" y="5449"/>
                  <a:pt x="6539" y="5394"/>
                  <a:pt x="6286" y="5394"/>
                </a:cubicBezTo>
                <a:lnTo>
                  <a:pt x="4514" y="5394"/>
                </a:lnTo>
                <a:cubicBezTo>
                  <a:pt x="4261" y="5394"/>
                  <a:pt x="4043" y="5449"/>
                  <a:pt x="3860" y="5558"/>
                </a:cubicBezTo>
                <a:cubicBezTo>
                  <a:pt x="3677" y="5668"/>
                  <a:pt x="3586" y="5791"/>
                  <a:pt x="3586" y="5925"/>
                </a:cubicBezTo>
                <a:lnTo>
                  <a:pt x="3586" y="7014"/>
                </a:lnTo>
                <a:cubicBezTo>
                  <a:pt x="3586" y="7166"/>
                  <a:pt x="3677" y="7293"/>
                  <a:pt x="3860" y="7394"/>
                </a:cubicBezTo>
                <a:cubicBezTo>
                  <a:pt x="4043" y="7495"/>
                  <a:pt x="4261" y="7546"/>
                  <a:pt x="4514" y="7546"/>
                </a:cubicBezTo>
                <a:lnTo>
                  <a:pt x="6286" y="7546"/>
                </a:lnTo>
                <a:lnTo>
                  <a:pt x="6286" y="7546"/>
                </a:lnTo>
                <a:lnTo>
                  <a:pt x="6286" y="7546"/>
                </a:lnTo>
                <a:close/>
                <a:moveTo>
                  <a:pt x="12340" y="7394"/>
                </a:moveTo>
                <a:cubicBezTo>
                  <a:pt x="12522" y="7293"/>
                  <a:pt x="12614" y="7166"/>
                  <a:pt x="12614" y="7014"/>
                </a:cubicBezTo>
                <a:lnTo>
                  <a:pt x="12614" y="5925"/>
                </a:lnTo>
                <a:cubicBezTo>
                  <a:pt x="12614" y="5791"/>
                  <a:pt x="12522" y="5668"/>
                  <a:pt x="12340" y="5558"/>
                </a:cubicBezTo>
                <a:cubicBezTo>
                  <a:pt x="12157" y="5449"/>
                  <a:pt x="11939" y="5394"/>
                  <a:pt x="11686" y="5394"/>
                </a:cubicBezTo>
                <a:lnTo>
                  <a:pt x="9914" y="5394"/>
                </a:lnTo>
                <a:cubicBezTo>
                  <a:pt x="9661" y="5394"/>
                  <a:pt x="9443" y="5449"/>
                  <a:pt x="9260" y="5558"/>
                </a:cubicBezTo>
                <a:cubicBezTo>
                  <a:pt x="9077" y="5668"/>
                  <a:pt x="8986" y="5791"/>
                  <a:pt x="8986" y="5925"/>
                </a:cubicBezTo>
                <a:lnTo>
                  <a:pt x="8986" y="7014"/>
                </a:lnTo>
                <a:cubicBezTo>
                  <a:pt x="8986" y="7166"/>
                  <a:pt x="9077" y="7293"/>
                  <a:pt x="9260" y="7394"/>
                </a:cubicBezTo>
                <a:cubicBezTo>
                  <a:pt x="9443" y="7495"/>
                  <a:pt x="9661" y="7546"/>
                  <a:pt x="9914" y="7546"/>
                </a:cubicBezTo>
                <a:lnTo>
                  <a:pt x="11686" y="7546"/>
                </a:lnTo>
                <a:cubicBezTo>
                  <a:pt x="11939" y="7546"/>
                  <a:pt x="12157" y="7495"/>
                  <a:pt x="12340" y="7394"/>
                </a:cubicBezTo>
                <a:lnTo>
                  <a:pt x="12340" y="7394"/>
                </a:lnTo>
                <a:close/>
                <a:moveTo>
                  <a:pt x="17740" y="7394"/>
                </a:moveTo>
                <a:cubicBezTo>
                  <a:pt x="17922" y="7293"/>
                  <a:pt x="18014" y="7166"/>
                  <a:pt x="18014" y="7014"/>
                </a:cubicBezTo>
                <a:lnTo>
                  <a:pt x="18014" y="5925"/>
                </a:lnTo>
                <a:cubicBezTo>
                  <a:pt x="18014" y="5791"/>
                  <a:pt x="17922" y="5668"/>
                  <a:pt x="17740" y="5558"/>
                </a:cubicBezTo>
                <a:cubicBezTo>
                  <a:pt x="17557" y="5449"/>
                  <a:pt x="17339" y="5394"/>
                  <a:pt x="17086" y="5394"/>
                </a:cubicBezTo>
                <a:lnTo>
                  <a:pt x="15314" y="5394"/>
                </a:lnTo>
                <a:cubicBezTo>
                  <a:pt x="15061" y="5394"/>
                  <a:pt x="14843" y="5449"/>
                  <a:pt x="14660" y="5558"/>
                </a:cubicBezTo>
                <a:cubicBezTo>
                  <a:pt x="14477" y="5668"/>
                  <a:pt x="14386" y="5791"/>
                  <a:pt x="14386" y="5925"/>
                </a:cubicBezTo>
                <a:lnTo>
                  <a:pt x="14386" y="7014"/>
                </a:lnTo>
                <a:cubicBezTo>
                  <a:pt x="14386" y="7166"/>
                  <a:pt x="14477" y="7293"/>
                  <a:pt x="14660" y="7394"/>
                </a:cubicBezTo>
                <a:cubicBezTo>
                  <a:pt x="14843" y="7495"/>
                  <a:pt x="15061" y="7546"/>
                  <a:pt x="15314" y="7546"/>
                </a:cubicBezTo>
                <a:lnTo>
                  <a:pt x="17086" y="7546"/>
                </a:lnTo>
                <a:cubicBezTo>
                  <a:pt x="17339" y="7546"/>
                  <a:pt x="17557" y="7495"/>
                  <a:pt x="17740" y="7394"/>
                </a:cubicBezTo>
                <a:lnTo>
                  <a:pt x="17740" y="7394"/>
                </a:lnTo>
                <a:close/>
                <a:moveTo>
                  <a:pt x="6286" y="10787"/>
                </a:moveTo>
                <a:cubicBezTo>
                  <a:pt x="6539" y="10787"/>
                  <a:pt x="6757" y="10737"/>
                  <a:pt x="6940" y="10635"/>
                </a:cubicBezTo>
                <a:cubicBezTo>
                  <a:pt x="7122" y="10534"/>
                  <a:pt x="7214" y="10408"/>
                  <a:pt x="7214" y="10256"/>
                </a:cubicBezTo>
                <a:lnTo>
                  <a:pt x="7214" y="9167"/>
                </a:lnTo>
                <a:cubicBezTo>
                  <a:pt x="7214" y="9032"/>
                  <a:pt x="7122" y="8910"/>
                  <a:pt x="6940" y="8800"/>
                </a:cubicBezTo>
                <a:cubicBezTo>
                  <a:pt x="6757" y="8690"/>
                  <a:pt x="6539" y="8635"/>
                  <a:pt x="6286" y="8635"/>
                </a:cubicBezTo>
                <a:lnTo>
                  <a:pt x="4514" y="8635"/>
                </a:lnTo>
                <a:cubicBezTo>
                  <a:pt x="4261" y="8635"/>
                  <a:pt x="4043" y="8690"/>
                  <a:pt x="3860" y="8800"/>
                </a:cubicBezTo>
                <a:cubicBezTo>
                  <a:pt x="3677" y="8910"/>
                  <a:pt x="3586" y="9032"/>
                  <a:pt x="3586" y="9167"/>
                </a:cubicBezTo>
                <a:lnTo>
                  <a:pt x="3586" y="10256"/>
                </a:lnTo>
                <a:cubicBezTo>
                  <a:pt x="3586" y="10408"/>
                  <a:pt x="3677" y="10534"/>
                  <a:pt x="3860" y="10635"/>
                </a:cubicBezTo>
                <a:cubicBezTo>
                  <a:pt x="4043" y="10737"/>
                  <a:pt x="4261" y="10787"/>
                  <a:pt x="4514" y="10787"/>
                </a:cubicBezTo>
                <a:lnTo>
                  <a:pt x="6286" y="10787"/>
                </a:lnTo>
                <a:lnTo>
                  <a:pt x="6286" y="10787"/>
                </a:lnTo>
                <a:lnTo>
                  <a:pt x="6286" y="10787"/>
                </a:lnTo>
                <a:close/>
                <a:moveTo>
                  <a:pt x="12340" y="10635"/>
                </a:moveTo>
                <a:cubicBezTo>
                  <a:pt x="12522" y="10534"/>
                  <a:pt x="12614" y="10408"/>
                  <a:pt x="12614" y="10256"/>
                </a:cubicBezTo>
                <a:lnTo>
                  <a:pt x="12614" y="9167"/>
                </a:lnTo>
                <a:cubicBezTo>
                  <a:pt x="12614" y="9032"/>
                  <a:pt x="12522" y="8910"/>
                  <a:pt x="12340" y="8800"/>
                </a:cubicBezTo>
                <a:cubicBezTo>
                  <a:pt x="12157" y="8690"/>
                  <a:pt x="11939" y="8635"/>
                  <a:pt x="11686" y="8635"/>
                </a:cubicBezTo>
                <a:lnTo>
                  <a:pt x="9914" y="8635"/>
                </a:lnTo>
                <a:cubicBezTo>
                  <a:pt x="9661" y="8635"/>
                  <a:pt x="9443" y="8690"/>
                  <a:pt x="9260" y="8800"/>
                </a:cubicBezTo>
                <a:cubicBezTo>
                  <a:pt x="9077" y="8910"/>
                  <a:pt x="8986" y="9032"/>
                  <a:pt x="8986" y="9167"/>
                </a:cubicBezTo>
                <a:lnTo>
                  <a:pt x="8986" y="10256"/>
                </a:lnTo>
                <a:cubicBezTo>
                  <a:pt x="8986" y="10408"/>
                  <a:pt x="9077" y="10534"/>
                  <a:pt x="9260" y="10635"/>
                </a:cubicBezTo>
                <a:cubicBezTo>
                  <a:pt x="9443" y="10737"/>
                  <a:pt x="9661" y="10787"/>
                  <a:pt x="9914" y="10787"/>
                </a:cubicBezTo>
                <a:lnTo>
                  <a:pt x="11686" y="10787"/>
                </a:lnTo>
                <a:cubicBezTo>
                  <a:pt x="11939" y="10787"/>
                  <a:pt x="12157" y="10737"/>
                  <a:pt x="12340" y="10635"/>
                </a:cubicBezTo>
                <a:lnTo>
                  <a:pt x="12340" y="10635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>
            <a:miter lim="400000"/>
          </a:ln>
        </p:spPr>
        <p:txBody>
          <a:bodyPr lIns="27428" tIns="27428" rIns="27428" bIns="27428" anchor="ctr"/>
          <a:lstStyle/>
          <a:p>
            <a:pPr marL="0" marR="0" lvl="0" indent="0" algn="l" defTabSz="3291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lang="pt-BR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038" name="Forma">
            <a:extLst>
              <a:ext uri="{FF2B5EF4-FFF2-40B4-BE49-F238E27FC236}">
                <a16:creationId xmlns:a16="http://schemas.microsoft.com/office/drawing/2014/main" id="{C7D07460-75EC-C3B9-19BC-7CDC29DBC033}"/>
              </a:ext>
            </a:extLst>
          </p:cNvPr>
          <p:cNvSpPr>
            <a:spLocks noChangeAspect="1"/>
          </p:cNvSpPr>
          <p:nvPr/>
        </p:nvSpPr>
        <p:spPr>
          <a:xfrm>
            <a:off x="11517784" y="3785987"/>
            <a:ext cx="339740" cy="216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05" h="21600" extrusionOk="0">
                <a:moveTo>
                  <a:pt x="20523" y="6151"/>
                </a:moveTo>
                <a:lnTo>
                  <a:pt x="20523" y="20044"/>
                </a:lnTo>
                <a:lnTo>
                  <a:pt x="507" y="20044"/>
                </a:lnTo>
                <a:cubicBezTo>
                  <a:pt x="370" y="20044"/>
                  <a:pt x="251" y="20117"/>
                  <a:pt x="152" y="20261"/>
                </a:cubicBezTo>
                <a:cubicBezTo>
                  <a:pt x="53" y="20406"/>
                  <a:pt x="3" y="20587"/>
                  <a:pt x="3" y="20804"/>
                </a:cubicBezTo>
                <a:cubicBezTo>
                  <a:pt x="-12" y="21021"/>
                  <a:pt x="30" y="21208"/>
                  <a:pt x="129" y="21365"/>
                </a:cubicBezTo>
                <a:cubicBezTo>
                  <a:pt x="228" y="21522"/>
                  <a:pt x="347" y="21600"/>
                  <a:pt x="484" y="21600"/>
                </a:cubicBezTo>
                <a:lnTo>
                  <a:pt x="20523" y="21600"/>
                </a:lnTo>
                <a:cubicBezTo>
                  <a:pt x="20783" y="21600"/>
                  <a:pt x="21008" y="21450"/>
                  <a:pt x="21199" y="21148"/>
                </a:cubicBezTo>
                <a:cubicBezTo>
                  <a:pt x="21389" y="20846"/>
                  <a:pt x="21485" y="20478"/>
                  <a:pt x="21485" y="20044"/>
                </a:cubicBezTo>
                <a:lnTo>
                  <a:pt x="21485" y="4631"/>
                </a:lnTo>
                <a:lnTo>
                  <a:pt x="20523" y="6151"/>
                </a:lnTo>
                <a:lnTo>
                  <a:pt x="20523" y="6151"/>
                </a:lnTo>
                <a:close/>
                <a:moveTo>
                  <a:pt x="4881" y="0"/>
                </a:moveTo>
                <a:cubicBezTo>
                  <a:pt x="4438" y="0"/>
                  <a:pt x="4137" y="326"/>
                  <a:pt x="3977" y="977"/>
                </a:cubicBezTo>
                <a:cubicBezTo>
                  <a:pt x="3816" y="1628"/>
                  <a:pt x="3904" y="2195"/>
                  <a:pt x="4240" y="2677"/>
                </a:cubicBezTo>
                <a:lnTo>
                  <a:pt x="12050" y="13495"/>
                </a:lnTo>
                <a:cubicBezTo>
                  <a:pt x="12233" y="13761"/>
                  <a:pt x="12450" y="13893"/>
                  <a:pt x="12702" y="13893"/>
                </a:cubicBezTo>
                <a:cubicBezTo>
                  <a:pt x="12954" y="13893"/>
                  <a:pt x="13172" y="13761"/>
                  <a:pt x="13355" y="13495"/>
                </a:cubicBezTo>
                <a:lnTo>
                  <a:pt x="21164" y="2677"/>
                </a:lnTo>
                <a:cubicBezTo>
                  <a:pt x="21500" y="2195"/>
                  <a:pt x="21588" y="1628"/>
                  <a:pt x="21428" y="977"/>
                </a:cubicBezTo>
                <a:cubicBezTo>
                  <a:pt x="21267" y="326"/>
                  <a:pt x="20966" y="0"/>
                  <a:pt x="20523" y="0"/>
                </a:cubicBezTo>
                <a:lnTo>
                  <a:pt x="4881" y="0"/>
                </a:lnTo>
                <a:lnTo>
                  <a:pt x="4881" y="0"/>
                </a:lnTo>
                <a:lnTo>
                  <a:pt x="4881" y="0"/>
                </a:lnTo>
                <a:close/>
                <a:moveTo>
                  <a:pt x="12691" y="12084"/>
                </a:moveTo>
                <a:lnTo>
                  <a:pt x="4790" y="1520"/>
                </a:lnTo>
                <a:lnTo>
                  <a:pt x="20615" y="1520"/>
                </a:lnTo>
                <a:lnTo>
                  <a:pt x="12691" y="12084"/>
                </a:lnTo>
                <a:lnTo>
                  <a:pt x="12691" y="12084"/>
                </a:lnTo>
                <a:lnTo>
                  <a:pt x="12691" y="12084"/>
                </a:lnTo>
                <a:close/>
                <a:moveTo>
                  <a:pt x="2099" y="12103"/>
                </a:moveTo>
                <a:cubicBezTo>
                  <a:pt x="1999" y="11946"/>
                  <a:pt x="1950" y="11771"/>
                  <a:pt x="1950" y="11578"/>
                </a:cubicBezTo>
                <a:cubicBezTo>
                  <a:pt x="1950" y="11361"/>
                  <a:pt x="1999" y="11174"/>
                  <a:pt x="2099" y="11017"/>
                </a:cubicBezTo>
                <a:cubicBezTo>
                  <a:pt x="2198" y="10860"/>
                  <a:pt x="2309" y="10782"/>
                  <a:pt x="2431" y="10782"/>
                </a:cubicBezTo>
                <a:lnTo>
                  <a:pt x="4400" y="10782"/>
                </a:lnTo>
                <a:cubicBezTo>
                  <a:pt x="4522" y="10782"/>
                  <a:pt x="4633" y="10860"/>
                  <a:pt x="4733" y="11017"/>
                </a:cubicBezTo>
                <a:cubicBezTo>
                  <a:pt x="4832" y="11174"/>
                  <a:pt x="4881" y="11361"/>
                  <a:pt x="4881" y="11578"/>
                </a:cubicBezTo>
                <a:cubicBezTo>
                  <a:pt x="4881" y="11771"/>
                  <a:pt x="4832" y="11946"/>
                  <a:pt x="4733" y="12103"/>
                </a:cubicBezTo>
                <a:cubicBezTo>
                  <a:pt x="4633" y="12260"/>
                  <a:pt x="4522" y="12338"/>
                  <a:pt x="4400" y="12338"/>
                </a:cubicBezTo>
                <a:lnTo>
                  <a:pt x="2431" y="12338"/>
                </a:lnTo>
                <a:lnTo>
                  <a:pt x="2431" y="12338"/>
                </a:lnTo>
                <a:lnTo>
                  <a:pt x="2431" y="12338"/>
                </a:lnTo>
                <a:cubicBezTo>
                  <a:pt x="2309" y="12338"/>
                  <a:pt x="2198" y="12260"/>
                  <a:pt x="2099" y="12103"/>
                </a:cubicBezTo>
                <a:lnTo>
                  <a:pt x="2099" y="12103"/>
                </a:lnTo>
                <a:close/>
                <a:moveTo>
                  <a:pt x="1469" y="16969"/>
                </a:moveTo>
                <a:cubicBezTo>
                  <a:pt x="1332" y="16969"/>
                  <a:pt x="1213" y="16891"/>
                  <a:pt x="1114" y="16734"/>
                </a:cubicBezTo>
                <a:cubicBezTo>
                  <a:pt x="1015" y="16577"/>
                  <a:pt x="965" y="16402"/>
                  <a:pt x="965" y="16209"/>
                </a:cubicBezTo>
                <a:cubicBezTo>
                  <a:pt x="965" y="15992"/>
                  <a:pt x="1015" y="15805"/>
                  <a:pt x="1114" y="15648"/>
                </a:cubicBezTo>
                <a:cubicBezTo>
                  <a:pt x="1213" y="15491"/>
                  <a:pt x="1332" y="15413"/>
                  <a:pt x="1469" y="15413"/>
                </a:cubicBezTo>
                <a:lnTo>
                  <a:pt x="5362" y="15413"/>
                </a:lnTo>
                <a:cubicBezTo>
                  <a:pt x="5500" y="15413"/>
                  <a:pt x="5618" y="15491"/>
                  <a:pt x="5717" y="15648"/>
                </a:cubicBezTo>
                <a:cubicBezTo>
                  <a:pt x="5816" y="15805"/>
                  <a:pt x="5866" y="15992"/>
                  <a:pt x="5866" y="16209"/>
                </a:cubicBezTo>
                <a:cubicBezTo>
                  <a:pt x="5866" y="16402"/>
                  <a:pt x="5816" y="16577"/>
                  <a:pt x="5717" y="16734"/>
                </a:cubicBezTo>
                <a:cubicBezTo>
                  <a:pt x="5618" y="16891"/>
                  <a:pt x="5500" y="16969"/>
                  <a:pt x="5362" y="16969"/>
                </a:cubicBezTo>
                <a:lnTo>
                  <a:pt x="1469" y="16969"/>
                </a:lnTo>
                <a:lnTo>
                  <a:pt x="1469" y="16969"/>
                </a:lnTo>
                <a:lnTo>
                  <a:pt x="1469" y="16969"/>
                </a:lnTo>
                <a:lnTo>
                  <a:pt x="1469" y="16969"/>
                </a:lnTo>
                <a:lnTo>
                  <a:pt x="1469" y="16969"/>
                </a:lnTo>
                <a:close/>
                <a:moveTo>
                  <a:pt x="2935" y="7707"/>
                </a:moveTo>
                <a:lnTo>
                  <a:pt x="2935" y="6151"/>
                </a:lnTo>
                <a:lnTo>
                  <a:pt x="3897" y="6151"/>
                </a:lnTo>
                <a:lnTo>
                  <a:pt x="3897" y="7707"/>
                </a:lnTo>
                <a:lnTo>
                  <a:pt x="2935" y="7707"/>
                </a:lnTo>
                <a:lnTo>
                  <a:pt x="2935" y="7707"/>
                </a:lnTo>
                <a:lnTo>
                  <a:pt x="2935" y="7707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>
            <a:miter lim="400000"/>
          </a:ln>
        </p:spPr>
        <p:txBody>
          <a:bodyPr lIns="27428" tIns="27428" rIns="27428" bIns="27428" anchor="ctr"/>
          <a:lstStyle/>
          <a:p>
            <a:pPr marL="0" marR="0" lvl="0" indent="0" algn="l" defTabSz="3291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lang="pt-BR" sz="129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039" name="Forma">
            <a:extLst>
              <a:ext uri="{FF2B5EF4-FFF2-40B4-BE49-F238E27FC236}">
                <a16:creationId xmlns:a16="http://schemas.microsoft.com/office/drawing/2014/main" id="{8B27C93D-D6E9-2794-69C9-DF14C9D22D6B}"/>
              </a:ext>
            </a:extLst>
          </p:cNvPr>
          <p:cNvSpPr>
            <a:spLocks noChangeAspect="1"/>
          </p:cNvSpPr>
          <p:nvPr/>
        </p:nvSpPr>
        <p:spPr>
          <a:xfrm>
            <a:off x="11571211" y="3042062"/>
            <a:ext cx="265385" cy="252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54" extrusionOk="0">
                <a:moveTo>
                  <a:pt x="12950" y="0"/>
                </a:moveTo>
                <a:cubicBezTo>
                  <a:pt x="14147" y="0"/>
                  <a:pt x="15268" y="239"/>
                  <a:pt x="16314" y="718"/>
                </a:cubicBezTo>
                <a:cubicBezTo>
                  <a:pt x="17359" y="1196"/>
                  <a:pt x="18274" y="1847"/>
                  <a:pt x="19058" y="2671"/>
                </a:cubicBezTo>
                <a:cubicBezTo>
                  <a:pt x="19842" y="3495"/>
                  <a:pt x="20462" y="4457"/>
                  <a:pt x="20917" y="5555"/>
                </a:cubicBezTo>
                <a:cubicBezTo>
                  <a:pt x="21372" y="6654"/>
                  <a:pt x="21600" y="7832"/>
                  <a:pt x="21600" y="9090"/>
                </a:cubicBezTo>
                <a:lnTo>
                  <a:pt x="21600" y="10207"/>
                </a:lnTo>
                <a:cubicBezTo>
                  <a:pt x="21600" y="11465"/>
                  <a:pt x="21372" y="12643"/>
                  <a:pt x="20917" y="13742"/>
                </a:cubicBezTo>
                <a:cubicBezTo>
                  <a:pt x="20462" y="14840"/>
                  <a:pt x="19842" y="15802"/>
                  <a:pt x="19058" y="16625"/>
                </a:cubicBezTo>
                <a:cubicBezTo>
                  <a:pt x="18274" y="17449"/>
                  <a:pt x="17359" y="18101"/>
                  <a:pt x="16314" y="18579"/>
                </a:cubicBezTo>
                <a:cubicBezTo>
                  <a:pt x="15268" y="19058"/>
                  <a:pt x="14147" y="19297"/>
                  <a:pt x="12950" y="19297"/>
                </a:cubicBezTo>
                <a:lnTo>
                  <a:pt x="8094" y="19297"/>
                </a:lnTo>
                <a:lnTo>
                  <a:pt x="2352" y="21529"/>
                </a:lnTo>
                <a:cubicBezTo>
                  <a:pt x="2015" y="21600"/>
                  <a:pt x="1720" y="21521"/>
                  <a:pt x="1467" y="21290"/>
                </a:cubicBezTo>
                <a:cubicBezTo>
                  <a:pt x="1214" y="21060"/>
                  <a:pt x="1088" y="20768"/>
                  <a:pt x="1088" y="20413"/>
                </a:cubicBezTo>
                <a:lnTo>
                  <a:pt x="1088" y="14619"/>
                </a:lnTo>
                <a:cubicBezTo>
                  <a:pt x="750" y="13963"/>
                  <a:pt x="485" y="13263"/>
                  <a:pt x="291" y="12519"/>
                </a:cubicBezTo>
                <a:cubicBezTo>
                  <a:pt x="97" y="11775"/>
                  <a:pt x="0" y="11004"/>
                  <a:pt x="0" y="10207"/>
                </a:cubicBezTo>
                <a:lnTo>
                  <a:pt x="0" y="9090"/>
                </a:lnTo>
                <a:cubicBezTo>
                  <a:pt x="0" y="7832"/>
                  <a:pt x="228" y="6654"/>
                  <a:pt x="683" y="5555"/>
                </a:cubicBezTo>
                <a:cubicBezTo>
                  <a:pt x="1138" y="4457"/>
                  <a:pt x="1758" y="3495"/>
                  <a:pt x="2542" y="2671"/>
                </a:cubicBezTo>
                <a:cubicBezTo>
                  <a:pt x="3326" y="1847"/>
                  <a:pt x="4241" y="1196"/>
                  <a:pt x="5286" y="718"/>
                </a:cubicBezTo>
                <a:cubicBezTo>
                  <a:pt x="6332" y="239"/>
                  <a:pt x="7453" y="0"/>
                  <a:pt x="8650" y="0"/>
                </a:cubicBezTo>
                <a:lnTo>
                  <a:pt x="12950" y="0"/>
                </a:lnTo>
                <a:lnTo>
                  <a:pt x="12950" y="0"/>
                </a:lnTo>
                <a:lnTo>
                  <a:pt x="12950" y="0"/>
                </a:lnTo>
                <a:close/>
                <a:moveTo>
                  <a:pt x="20512" y="10207"/>
                </a:moveTo>
                <a:lnTo>
                  <a:pt x="20512" y="9090"/>
                </a:lnTo>
                <a:cubicBezTo>
                  <a:pt x="20512" y="8541"/>
                  <a:pt x="20462" y="8010"/>
                  <a:pt x="20361" y="7495"/>
                </a:cubicBezTo>
                <a:cubicBezTo>
                  <a:pt x="20259" y="6982"/>
                  <a:pt x="20116" y="6477"/>
                  <a:pt x="19931" y="5980"/>
                </a:cubicBezTo>
                <a:cubicBezTo>
                  <a:pt x="19728" y="5520"/>
                  <a:pt x="19492" y="5077"/>
                  <a:pt x="19222" y="4651"/>
                </a:cubicBezTo>
                <a:cubicBezTo>
                  <a:pt x="18953" y="4226"/>
                  <a:pt x="18649" y="3827"/>
                  <a:pt x="18312" y="3455"/>
                </a:cubicBezTo>
                <a:cubicBezTo>
                  <a:pt x="17958" y="3101"/>
                  <a:pt x="17578" y="2782"/>
                  <a:pt x="17174" y="2498"/>
                </a:cubicBezTo>
                <a:cubicBezTo>
                  <a:pt x="16769" y="2215"/>
                  <a:pt x="16348" y="1967"/>
                  <a:pt x="15909" y="1754"/>
                </a:cubicBezTo>
                <a:cubicBezTo>
                  <a:pt x="15437" y="1559"/>
                  <a:pt x="14956" y="1409"/>
                  <a:pt x="14467" y="1302"/>
                </a:cubicBezTo>
                <a:cubicBezTo>
                  <a:pt x="13978" y="1196"/>
                  <a:pt x="13473" y="1143"/>
                  <a:pt x="12950" y="1143"/>
                </a:cubicBezTo>
                <a:lnTo>
                  <a:pt x="8650" y="1143"/>
                </a:lnTo>
                <a:cubicBezTo>
                  <a:pt x="8127" y="1143"/>
                  <a:pt x="7622" y="1196"/>
                  <a:pt x="7133" y="1302"/>
                </a:cubicBezTo>
                <a:cubicBezTo>
                  <a:pt x="6644" y="1409"/>
                  <a:pt x="6163" y="1559"/>
                  <a:pt x="5691" y="1754"/>
                </a:cubicBezTo>
                <a:cubicBezTo>
                  <a:pt x="5252" y="1967"/>
                  <a:pt x="4831" y="2215"/>
                  <a:pt x="4426" y="2498"/>
                </a:cubicBezTo>
                <a:cubicBezTo>
                  <a:pt x="4022" y="2782"/>
                  <a:pt x="3642" y="3101"/>
                  <a:pt x="3288" y="3455"/>
                </a:cubicBezTo>
                <a:cubicBezTo>
                  <a:pt x="2951" y="3827"/>
                  <a:pt x="2647" y="4226"/>
                  <a:pt x="2378" y="4651"/>
                </a:cubicBezTo>
                <a:cubicBezTo>
                  <a:pt x="2108" y="5077"/>
                  <a:pt x="1872" y="5520"/>
                  <a:pt x="1669" y="5980"/>
                </a:cubicBezTo>
                <a:cubicBezTo>
                  <a:pt x="1484" y="6477"/>
                  <a:pt x="1341" y="6982"/>
                  <a:pt x="1239" y="7495"/>
                </a:cubicBezTo>
                <a:cubicBezTo>
                  <a:pt x="1138" y="8010"/>
                  <a:pt x="1088" y="8541"/>
                  <a:pt x="1088" y="9090"/>
                </a:cubicBezTo>
                <a:lnTo>
                  <a:pt x="1088" y="10207"/>
                </a:lnTo>
                <a:cubicBezTo>
                  <a:pt x="1088" y="10738"/>
                  <a:pt x="1138" y="11266"/>
                  <a:pt x="1239" y="11788"/>
                </a:cubicBezTo>
                <a:cubicBezTo>
                  <a:pt x="1341" y="12311"/>
                  <a:pt x="1484" y="12811"/>
                  <a:pt x="1669" y="13290"/>
                </a:cubicBezTo>
                <a:cubicBezTo>
                  <a:pt x="1754" y="13467"/>
                  <a:pt x="1834" y="13640"/>
                  <a:pt x="1910" y="13808"/>
                </a:cubicBezTo>
                <a:cubicBezTo>
                  <a:pt x="1985" y="13977"/>
                  <a:pt x="2074" y="14140"/>
                  <a:pt x="2175" y="14300"/>
                </a:cubicBezTo>
                <a:lnTo>
                  <a:pt x="2175" y="20413"/>
                </a:lnTo>
                <a:lnTo>
                  <a:pt x="7563" y="18154"/>
                </a:lnTo>
                <a:lnTo>
                  <a:pt x="12950" y="18154"/>
                </a:lnTo>
                <a:cubicBezTo>
                  <a:pt x="13473" y="18154"/>
                  <a:pt x="13978" y="18101"/>
                  <a:pt x="14467" y="17994"/>
                </a:cubicBezTo>
                <a:cubicBezTo>
                  <a:pt x="14956" y="17888"/>
                  <a:pt x="15437" y="17738"/>
                  <a:pt x="15909" y="17542"/>
                </a:cubicBezTo>
                <a:cubicBezTo>
                  <a:pt x="16348" y="17330"/>
                  <a:pt x="16769" y="17082"/>
                  <a:pt x="17174" y="16798"/>
                </a:cubicBezTo>
                <a:cubicBezTo>
                  <a:pt x="17578" y="16515"/>
                  <a:pt x="17958" y="16196"/>
                  <a:pt x="18312" y="15841"/>
                </a:cubicBezTo>
                <a:cubicBezTo>
                  <a:pt x="18649" y="15469"/>
                  <a:pt x="18953" y="15071"/>
                  <a:pt x="19222" y="14645"/>
                </a:cubicBezTo>
                <a:cubicBezTo>
                  <a:pt x="19492" y="14220"/>
                  <a:pt x="19728" y="13777"/>
                  <a:pt x="19931" y="13316"/>
                </a:cubicBezTo>
                <a:cubicBezTo>
                  <a:pt x="20116" y="12820"/>
                  <a:pt x="20259" y="12315"/>
                  <a:pt x="20361" y="11801"/>
                </a:cubicBezTo>
                <a:cubicBezTo>
                  <a:pt x="20462" y="11288"/>
                  <a:pt x="20512" y="10756"/>
                  <a:pt x="20512" y="10207"/>
                </a:cubicBezTo>
                <a:lnTo>
                  <a:pt x="20512" y="10207"/>
                </a:lnTo>
                <a:lnTo>
                  <a:pt x="20512" y="10207"/>
                </a:lnTo>
                <a:close/>
                <a:moveTo>
                  <a:pt x="16744" y="10207"/>
                </a:moveTo>
                <a:cubicBezTo>
                  <a:pt x="16879" y="10207"/>
                  <a:pt x="17001" y="10153"/>
                  <a:pt x="17111" y="10047"/>
                </a:cubicBezTo>
                <a:cubicBezTo>
                  <a:pt x="17220" y="9941"/>
                  <a:pt x="17275" y="9808"/>
                  <a:pt x="17275" y="9648"/>
                </a:cubicBezTo>
                <a:cubicBezTo>
                  <a:pt x="17275" y="9489"/>
                  <a:pt x="17220" y="9356"/>
                  <a:pt x="17111" y="9250"/>
                </a:cubicBezTo>
                <a:cubicBezTo>
                  <a:pt x="17001" y="9143"/>
                  <a:pt x="16879" y="9090"/>
                  <a:pt x="16744" y="9090"/>
                </a:cubicBezTo>
                <a:lnTo>
                  <a:pt x="4856" y="9090"/>
                </a:lnTo>
                <a:cubicBezTo>
                  <a:pt x="4721" y="9090"/>
                  <a:pt x="4599" y="9143"/>
                  <a:pt x="4489" y="9250"/>
                </a:cubicBezTo>
                <a:cubicBezTo>
                  <a:pt x="4380" y="9356"/>
                  <a:pt x="4325" y="9489"/>
                  <a:pt x="4325" y="9648"/>
                </a:cubicBezTo>
                <a:cubicBezTo>
                  <a:pt x="4325" y="9808"/>
                  <a:pt x="4380" y="9941"/>
                  <a:pt x="4489" y="10047"/>
                </a:cubicBezTo>
                <a:cubicBezTo>
                  <a:pt x="4599" y="10153"/>
                  <a:pt x="4721" y="10207"/>
                  <a:pt x="4856" y="10207"/>
                </a:cubicBezTo>
                <a:lnTo>
                  <a:pt x="16744" y="10207"/>
                </a:lnTo>
                <a:lnTo>
                  <a:pt x="16744" y="10207"/>
                </a:lnTo>
                <a:lnTo>
                  <a:pt x="16744" y="10207"/>
                </a:lnTo>
                <a:lnTo>
                  <a:pt x="16744" y="10207"/>
                </a:lnTo>
                <a:lnTo>
                  <a:pt x="16744" y="10207"/>
                </a:lnTo>
                <a:close/>
                <a:moveTo>
                  <a:pt x="13506" y="7947"/>
                </a:moveTo>
                <a:cubicBezTo>
                  <a:pt x="13641" y="7947"/>
                  <a:pt x="13763" y="7890"/>
                  <a:pt x="13873" y="7775"/>
                </a:cubicBezTo>
                <a:cubicBezTo>
                  <a:pt x="13983" y="7659"/>
                  <a:pt x="14037" y="7531"/>
                  <a:pt x="14037" y="7389"/>
                </a:cubicBezTo>
                <a:cubicBezTo>
                  <a:pt x="14037" y="7230"/>
                  <a:pt x="13983" y="7093"/>
                  <a:pt x="13873" y="6977"/>
                </a:cubicBezTo>
                <a:cubicBezTo>
                  <a:pt x="13763" y="6862"/>
                  <a:pt x="13641" y="6804"/>
                  <a:pt x="13506" y="6804"/>
                </a:cubicBezTo>
                <a:lnTo>
                  <a:pt x="8094" y="6804"/>
                </a:lnTo>
                <a:cubicBezTo>
                  <a:pt x="7959" y="6804"/>
                  <a:pt x="7837" y="6862"/>
                  <a:pt x="7727" y="6977"/>
                </a:cubicBezTo>
                <a:cubicBezTo>
                  <a:pt x="7617" y="7093"/>
                  <a:pt x="7563" y="7230"/>
                  <a:pt x="7563" y="7389"/>
                </a:cubicBezTo>
                <a:cubicBezTo>
                  <a:pt x="7563" y="7531"/>
                  <a:pt x="7617" y="7659"/>
                  <a:pt x="7727" y="7775"/>
                </a:cubicBezTo>
                <a:cubicBezTo>
                  <a:pt x="7837" y="7890"/>
                  <a:pt x="7959" y="7947"/>
                  <a:pt x="8094" y="7947"/>
                </a:cubicBezTo>
                <a:lnTo>
                  <a:pt x="13506" y="7947"/>
                </a:lnTo>
                <a:lnTo>
                  <a:pt x="13506" y="7947"/>
                </a:lnTo>
                <a:lnTo>
                  <a:pt x="13506" y="7947"/>
                </a:lnTo>
                <a:lnTo>
                  <a:pt x="13506" y="7947"/>
                </a:lnTo>
                <a:lnTo>
                  <a:pt x="13506" y="7947"/>
                </a:lnTo>
                <a:close/>
                <a:moveTo>
                  <a:pt x="13873" y="12320"/>
                </a:moveTo>
                <a:cubicBezTo>
                  <a:pt x="13983" y="12205"/>
                  <a:pt x="14037" y="12067"/>
                  <a:pt x="14037" y="11908"/>
                </a:cubicBezTo>
                <a:cubicBezTo>
                  <a:pt x="14037" y="11766"/>
                  <a:pt x="13983" y="11638"/>
                  <a:pt x="13873" y="11522"/>
                </a:cubicBezTo>
                <a:cubicBezTo>
                  <a:pt x="13763" y="11407"/>
                  <a:pt x="13641" y="11349"/>
                  <a:pt x="13506" y="11349"/>
                </a:cubicBezTo>
                <a:lnTo>
                  <a:pt x="8094" y="11349"/>
                </a:lnTo>
                <a:cubicBezTo>
                  <a:pt x="7959" y="11349"/>
                  <a:pt x="7837" y="11407"/>
                  <a:pt x="7727" y="11522"/>
                </a:cubicBezTo>
                <a:cubicBezTo>
                  <a:pt x="7617" y="11638"/>
                  <a:pt x="7563" y="11766"/>
                  <a:pt x="7563" y="11908"/>
                </a:cubicBezTo>
                <a:cubicBezTo>
                  <a:pt x="7563" y="12067"/>
                  <a:pt x="7617" y="12205"/>
                  <a:pt x="7727" y="12320"/>
                </a:cubicBezTo>
                <a:cubicBezTo>
                  <a:pt x="7837" y="12435"/>
                  <a:pt x="7959" y="12492"/>
                  <a:pt x="8094" y="12492"/>
                </a:cubicBezTo>
                <a:lnTo>
                  <a:pt x="13506" y="12492"/>
                </a:lnTo>
                <a:lnTo>
                  <a:pt x="13506" y="12492"/>
                </a:lnTo>
                <a:lnTo>
                  <a:pt x="13506" y="12492"/>
                </a:lnTo>
                <a:cubicBezTo>
                  <a:pt x="13641" y="12492"/>
                  <a:pt x="13763" y="12435"/>
                  <a:pt x="13873" y="12320"/>
                </a:cubicBezTo>
                <a:lnTo>
                  <a:pt x="13873" y="12320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>
            <a:miter lim="400000"/>
          </a:ln>
        </p:spPr>
        <p:txBody>
          <a:bodyPr lIns="27428" tIns="27428" rIns="27428" bIns="27428" anchor="ctr"/>
          <a:lstStyle/>
          <a:p>
            <a:pPr marL="0" marR="0" lvl="0" indent="0" algn="l" defTabSz="3291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29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1040" name="Retângulo 1039">
            <a:extLst>
              <a:ext uri="{FF2B5EF4-FFF2-40B4-BE49-F238E27FC236}">
                <a16:creationId xmlns:a16="http://schemas.microsoft.com/office/drawing/2014/main" id="{81C21B41-88EA-4F89-0EF6-3E16D4D4C6A7}"/>
              </a:ext>
            </a:extLst>
          </p:cNvPr>
          <p:cNvSpPr/>
          <p:nvPr/>
        </p:nvSpPr>
        <p:spPr>
          <a:xfrm>
            <a:off x="11389644" y="2572180"/>
            <a:ext cx="619904" cy="1512317"/>
          </a:xfrm>
          <a:prstGeom prst="rect">
            <a:avLst/>
          </a:prstGeom>
          <a:noFill/>
          <a:ln>
            <a:solidFill>
              <a:srgbClr val="99999B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41" name="CaixaDeTexto 1040">
            <a:extLst>
              <a:ext uri="{FF2B5EF4-FFF2-40B4-BE49-F238E27FC236}">
                <a16:creationId xmlns:a16="http://schemas.microsoft.com/office/drawing/2014/main" id="{4980977A-FB65-DA46-4B5A-434D8B46161D}"/>
              </a:ext>
            </a:extLst>
          </p:cNvPr>
          <p:cNvSpPr txBox="1"/>
          <p:nvPr/>
        </p:nvSpPr>
        <p:spPr>
          <a:xfrm>
            <a:off x="11115056" y="4057523"/>
            <a:ext cx="11940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165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Módulo de comunicação</a:t>
            </a:r>
          </a:p>
        </p:txBody>
      </p:sp>
      <p:pic>
        <p:nvPicPr>
          <p:cNvPr id="1042" name="Picture 2" descr="Whatsapp - Free social media icons">
            <a:extLst>
              <a:ext uri="{FF2B5EF4-FFF2-40B4-BE49-F238E27FC236}">
                <a16:creationId xmlns:a16="http://schemas.microsoft.com/office/drawing/2014/main" id="{0E9CFEFA-4149-FCBC-7A6E-14C719BDC9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85603" y="3432006"/>
            <a:ext cx="25200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43" name="Forma">
            <a:extLst>
              <a:ext uri="{FF2B5EF4-FFF2-40B4-BE49-F238E27FC236}">
                <a16:creationId xmlns:a16="http://schemas.microsoft.com/office/drawing/2014/main" id="{83DA5A24-6F2D-5191-5750-052ED3928B56}"/>
              </a:ext>
            </a:extLst>
          </p:cNvPr>
          <p:cNvSpPr>
            <a:spLocks noChangeAspect="1"/>
          </p:cNvSpPr>
          <p:nvPr/>
        </p:nvSpPr>
        <p:spPr>
          <a:xfrm>
            <a:off x="11632688" y="2678985"/>
            <a:ext cx="151261" cy="252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018" y="950"/>
                </a:moveTo>
                <a:cubicBezTo>
                  <a:pt x="21073" y="1583"/>
                  <a:pt x="21600" y="2347"/>
                  <a:pt x="21600" y="3241"/>
                </a:cubicBezTo>
                <a:lnTo>
                  <a:pt x="21600" y="18359"/>
                </a:lnTo>
                <a:cubicBezTo>
                  <a:pt x="21600" y="19254"/>
                  <a:pt x="21073" y="20017"/>
                  <a:pt x="20018" y="20650"/>
                </a:cubicBezTo>
                <a:cubicBezTo>
                  <a:pt x="18963" y="21283"/>
                  <a:pt x="17690" y="21600"/>
                  <a:pt x="16200" y="21600"/>
                </a:cubicBezTo>
                <a:lnTo>
                  <a:pt x="5400" y="21600"/>
                </a:lnTo>
                <a:cubicBezTo>
                  <a:pt x="3909" y="21600"/>
                  <a:pt x="2637" y="21283"/>
                  <a:pt x="1582" y="20650"/>
                </a:cubicBezTo>
                <a:cubicBezTo>
                  <a:pt x="527" y="20017"/>
                  <a:pt x="0" y="19254"/>
                  <a:pt x="0" y="18359"/>
                </a:cubicBezTo>
                <a:lnTo>
                  <a:pt x="0" y="3241"/>
                </a:lnTo>
                <a:cubicBezTo>
                  <a:pt x="0" y="2347"/>
                  <a:pt x="527" y="1583"/>
                  <a:pt x="1582" y="950"/>
                </a:cubicBezTo>
                <a:cubicBezTo>
                  <a:pt x="2637" y="317"/>
                  <a:pt x="3909" y="0"/>
                  <a:pt x="5400" y="0"/>
                </a:cubicBezTo>
                <a:lnTo>
                  <a:pt x="16200" y="0"/>
                </a:lnTo>
                <a:cubicBezTo>
                  <a:pt x="17690" y="0"/>
                  <a:pt x="18963" y="317"/>
                  <a:pt x="20018" y="950"/>
                </a:cubicBezTo>
                <a:lnTo>
                  <a:pt x="20018" y="950"/>
                </a:lnTo>
                <a:close/>
                <a:moveTo>
                  <a:pt x="19786" y="18359"/>
                </a:moveTo>
                <a:lnTo>
                  <a:pt x="19786" y="16206"/>
                </a:lnTo>
                <a:lnTo>
                  <a:pt x="1814" y="16206"/>
                </a:lnTo>
                <a:lnTo>
                  <a:pt x="1814" y="18359"/>
                </a:lnTo>
                <a:cubicBezTo>
                  <a:pt x="1814" y="18950"/>
                  <a:pt x="2165" y="19456"/>
                  <a:pt x="2869" y="19878"/>
                </a:cubicBezTo>
                <a:cubicBezTo>
                  <a:pt x="3571" y="20300"/>
                  <a:pt x="4415" y="20511"/>
                  <a:pt x="5400" y="20511"/>
                </a:cubicBezTo>
                <a:lnTo>
                  <a:pt x="16200" y="20511"/>
                </a:lnTo>
                <a:cubicBezTo>
                  <a:pt x="17184" y="20511"/>
                  <a:pt x="18028" y="20300"/>
                  <a:pt x="18731" y="19878"/>
                </a:cubicBezTo>
                <a:cubicBezTo>
                  <a:pt x="19434" y="19456"/>
                  <a:pt x="19786" y="18950"/>
                  <a:pt x="19786" y="18359"/>
                </a:cubicBezTo>
                <a:lnTo>
                  <a:pt x="19786" y="18359"/>
                </a:lnTo>
                <a:lnTo>
                  <a:pt x="19786" y="18359"/>
                </a:lnTo>
                <a:close/>
                <a:moveTo>
                  <a:pt x="19786" y="4305"/>
                </a:moveTo>
                <a:lnTo>
                  <a:pt x="1814" y="4305"/>
                </a:lnTo>
                <a:lnTo>
                  <a:pt x="1814" y="15117"/>
                </a:lnTo>
                <a:lnTo>
                  <a:pt x="19786" y="15117"/>
                </a:lnTo>
                <a:lnTo>
                  <a:pt x="19786" y="4305"/>
                </a:lnTo>
                <a:lnTo>
                  <a:pt x="19786" y="4305"/>
                </a:lnTo>
                <a:close/>
                <a:moveTo>
                  <a:pt x="1814" y="3241"/>
                </a:moveTo>
                <a:lnTo>
                  <a:pt x="19786" y="3241"/>
                </a:lnTo>
                <a:cubicBezTo>
                  <a:pt x="19786" y="2634"/>
                  <a:pt x="19434" y="2119"/>
                  <a:pt x="18731" y="1697"/>
                </a:cubicBezTo>
                <a:cubicBezTo>
                  <a:pt x="18028" y="1275"/>
                  <a:pt x="17184" y="1064"/>
                  <a:pt x="16200" y="1064"/>
                </a:cubicBezTo>
                <a:lnTo>
                  <a:pt x="5400" y="1064"/>
                </a:lnTo>
                <a:cubicBezTo>
                  <a:pt x="4415" y="1064"/>
                  <a:pt x="3571" y="1275"/>
                  <a:pt x="2869" y="1697"/>
                </a:cubicBezTo>
                <a:cubicBezTo>
                  <a:pt x="2165" y="2119"/>
                  <a:pt x="1814" y="2634"/>
                  <a:pt x="1814" y="3241"/>
                </a:cubicBezTo>
                <a:lnTo>
                  <a:pt x="1814" y="3241"/>
                </a:lnTo>
                <a:lnTo>
                  <a:pt x="1814" y="3241"/>
                </a:lnTo>
                <a:close/>
                <a:moveTo>
                  <a:pt x="8986" y="18359"/>
                </a:moveTo>
                <a:cubicBezTo>
                  <a:pt x="8986" y="18663"/>
                  <a:pt x="9161" y="18920"/>
                  <a:pt x="9513" y="19131"/>
                </a:cubicBezTo>
                <a:cubicBezTo>
                  <a:pt x="9865" y="19342"/>
                  <a:pt x="10294" y="19448"/>
                  <a:pt x="10800" y="19448"/>
                </a:cubicBezTo>
                <a:cubicBezTo>
                  <a:pt x="11306" y="19448"/>
                  <a:pt x="11735" y="19342"/>
                  <a:pt x="12087" y="19131"/>
                </a:cubicBezTo>
                <a:cubicBezTo>
                  <a:pt x="12438" y="18920"/>
                  <a:pt x="12614" y="18663"/>
                  <a:pt x="12614" y="18359"/>
                </a:cubicBezTo>
                <a:cubicBezTo>
                  <a:pt x="12614" y="18055"/>
                  <a:pt x="12438" y="17798"/>
                  <a:pt x="12087" y="17586"/>
                </a:cubicBezTo>
                <a:cubicBezTo>
                  <a:pt x="11735" y="17376"/>
                  <a:pt x="11306" y="17270"/>
                  <a:pt x="10800" y="17270"/>
                </a:cubicBezTo>
                <a:cubicBezTo>
                  <a:pt x="10294" y="17270"/>
                  <a:pt x="9865" y="17376"/>
                  <a:pt x="9513" y="17586"/>
                </a:cubicBezTo>
                <a:cubicBezTo>
                  <a:pt x="9161" y="17798"/>
                  <a:pt x="8986" y="18055"/>
                  <a:pt x="8986" y="18359"/>
                </a:cubicBezTo>
                <a:lnTo>
                  <a:pt x="8986" y="18359"/>
                </a:lnTo>
                <a:lnTo>
                  <a:pt x="8986" y="18359"/>
                </a:lnTo>
                <a:close/>
                <a:moveTo>
                  <a:pt x="6286" y="7546"/>
                </a:moveTo>
                <a:cubicBezTo>
                  <a:pt x="6539" y="7546"/>
                  <a:pt x="6757" y="7495"/>
                  <a:pt x="6940" y="7394"/>
                </a:cubicBezTo>
                <a:cubicBezTo>
                  <a:pt x="7122" y="7293"/>
                  <a:pt x="7214" y="7166"/>
                  <a:pt x="7214" y="7014"/>
                </a:cubicBezTo>
                <a:lnTo>
                  <a:pt x="7214" y="5925"/>
                </a:lnTo>
                <a:cubicBezTo>
                  <a:pt x="7214" y="5791"/>
                  <a:pt x="7122" y="5668"/>
                  <a:pt x="6940" y="5558"/>
                </a:cubicBezTo>
                <a:cubicBezTo>
                  <a:pt x="6757" y="5449"/>
                  <a:pt x="6539" y="5394"/>
                  <a:pt x="6286" y="5394"/>
                </a:cubicBezTo>
                <a:lnTo>
                  <a:pt x="4514" y="5394"/>
                </a:lnTo>
                <a:cubicBezTo>
                  <a:pt x="4261" y="5394"/>
                  <a:pt x="4043" y="5449"/>
                  <a:pt x="3860" y="5558"/>
                </a:cubicBezTo>
                <a:cubicBezTo>
                  <a:pt x="3677" y="5668"/>
                  <a:pt x="3586" y="5791"/>
                  <a:pt x="3586" y="5925"/>
                </a:cubicBezTo>
                <a:lnTo>
                  <a:pt x="3586" y="7014"/>
                </a:lnTo>
                <a:cubicBezTo>
                  <a:pt x="3586" y="7166"/>
                  <a:pt x="3677" y="7293"/>
                  <a:pt x="3860" y="7394"/>
                </a:cubicBezTo>
                <a:cubicBezTo>
                  <a:pt x="4043" y="7495"/>
                  <a:pt x="4261" y="7546"/>
                  <a:pt x="4514" y="7546"/>
                </a:cubicBezTo>
                <a:lnTo>
                  <a:pt x="6286" y="7546"/>
                </a:lnTo>
                <a:lnTo>
                  <a:pt x="6286" y="7546"/>
                </a:lnTo>
                <a:lnTo>
                  <a:pt x="6286" y="7546"/>
                </a:lnTo>
                <a:close/>
                <a:moveTo>
                  <a:pt x="12340" y="7394"/>
                </a:moveTo>
                <a:cubicBezTo>
                  <a:pt x="12522" y="7293"/>
                  <a:pt x="12614" y="7166"/>
                  <a:pt x="12614" y="7014"/>
                </a:cubicBezTo>
                <a:lnTo>
                  <a:pt x="12614" y="5925"/>
                </a:lnTo>
                <a:cubicBezTo>
                  <a:pt x="12614" y="5791"/>
                  <a:pt x="12522" y="5668"/>
                  <a:pt x="12340" y="5558"/>
                </a:cubicBezTo>
                <a:cubicBezTo>
                  <a:pt x="12157" y="5449"/>
                  <a:pt x="11939" y="5394"/>
                  <a:pt x="11686" y="5394"/>
                </a:cubicBezTo>
                <a:lnTo>
                  <a:pt x="9914" y="5394"/>
                </a:lnTo>
                <a:cubicBezTo>
                  <a:pt x="9661" y="5394"/>
                  <a:pt x="9443" y="5449"/>
                  <a:pt x="9260" y="5558"/>
                </a:cubicBezTo>
                <a:cubicBezTo>
                  <a:pt x="9077" y="5668"/>
                  <a:pt x="8986" y="5791"/>
                  <a:pt x="8986" y="5925"/>
                </a:cubicBezTo>
                <a:lnTo>
                  <a:pt x="8986" y="7014"/>
                </a:lnTo>
                <a:cubicBezTo>
                  <a:pt x="8986" y="7166"/>
                  <a:pt x="9077" y="7293"/>
                  <a:pt x="9260" y="7394"/>
                </a:cubicBezTo>
                <a:cubicBezTo>
                  <a:pt x="9443" y="7495"/>
                  <a:pt x="9661" y="7546"/>
                  <a:pt x="9914" y="7546"/>
                </a:cubicBezTo>
                <a:lnTo>
                  <a:pt x="11686" y="7546"/>
                </a:lnTo>
                <a:cubicBezTo>
                  <a:pt x="11939" y="7546"/>
                  <a:pt x="12157" y="7495"/>
                  <a:pt x="12340" y="7394"/>
                </a:cubicBezTo>
                <a:lnTo>
                  <a:pt x="12340" y="7394"/>
                </a:lnTo>
                <a:close/>
                <a:moveTo>
                  <a:pt x="17740" y="7394"/>
                </a:moveTo>
                <a:cubicBezTo>
                  <a:pt x="17922" y="7293"/>
                  <a:pt x="18014" y="7166"/>
                  <a:pt x="18014" y="7014"/>
                </a:cubicBezTo>
                <a:lnTo>
                  <a:pt x="18014" y="5925"/>
                </a:lnTo>
                <a:cubicBezTo>
                  <a:pt x="18014" y="5791"/>
                  <a:pt x="17922" y="5668"/>
                  <a:pt x="17740" y="5558"/>
                </a:cubicBezTo>
                <a:cubicBezTo>
                  <a:pt x="17557" y="5449"/>
                  <a:pt x="17339" y="5394"/>
                  <a:pt x="17086" y="5394"/>
                </a:cubicBezTo>
                <a:lnTo>
                  <a:pt x="15314" y="5394"/>
                </a:lnTo>
                <a:cubicBezTo>
                  <a:pt x="15061" y="5394"/>
                  <a:pt x="14843" y="5449"/>
                  <a:pt x="14660" y="5558"/>
                </a:cubicBezTo>
                <a:cubicBezTo>
                  <a:pt x="14477" y="5668"/>
                  <a:pt x="14386" y="5791"/>
                  <a:pt x="14386" y="5925"/>
                </a:cubicBezTo>
                <a:lnTo>
                  <a:pt x="14386" y="7014"/>
                </a:lnTo>
                <a:cubicBezTo>
                  <a:pt x="14386" y="7166"/>
                  <a:pt x="14477" y="7293"/>
                  <a:pt x="14660" y="7394"/>
                </a:cubicBezTo>
                <a:cubicBezTo>
                  <a:pt x="14843" y="7495"/>
                  <a:pt x="15061" y="7546"/>
                  <a:pt x="15314" y="7546"/>
                </a:cubicBezTo>
                <a:lnTo>
                  <a:pt x="17086" y="7546"/>
                </a:lnTo>
                <a:cubicBezTo>
                  <a:pt x="17339" y="7546"/>
                  <a:pt x="17557" y="7495"/>
                  <a:pt x="17740" y="7394"/>
                </a:cubicBezTo>
                <a:lnTo>
                  <a:pt x="17740" y="7394"/>
                </a:lnTo>
                <a:close/>
                <a:moveTo>
                  <a:pt x="6286" y="10787"/>
                </a:moveTo>
                <a:cubicBezTo>
                  <a:pt x="6539" y="10787"/>
                  <a:pt x="6757" y="10737"/>
                  <a:pt x="6940" y="10635"/>
                </a:cubicBezTo>
                <a:cubicBezTo>
                  <a:pt x="7122" y="10534"/>
                  <a:pt x="7214" y="10408"/>
                  <a:pt x="7214" y="10256"/>
                </a:cubicBezTo>
                <a:lnTo>
                  <a:pt x="7214" y="9167"/>
                </a:lnTo>
                <a:cubicBezTo>
                  <a:pt x="7214" y="9032"/>
                  <a:pt x="7122" y="8910"/>
                  <a:pt x="6940" y="8800"/>
                </a:cubicBezTo>
                <a:cubicBezTo>
                  <a:pt x="6757" y="8690"/>
                  <a:pt x="6539" y="8635"/>
                  <a:pt x="6286" y="8635"/>
                </a:cubicBezTo>
                <a:lnTo>
                  <a:pt x="4514" y="8635"/>
                </a:lnTo>
                <a:cubicBezTo>
                  <a:pt x="4261" y="8635"/>
                  <a:pt x="4043" y="8690"/>
                  <a:pt x="3860" y="8800"/>
                </a:cubicBezTo>
                <a:cubicBezTo>
                  <a:pt x="3677" y="8910"/>
                  <a:pt x="3586" y="9032"/>
                  <a:pt x="3586" y="9167"/>
                </a:cubicBezTo>
                <a:lnTo>
                  <a:pt x="3586" y="10256"/>
                </a:lnTo>
                <a:cubicBezTo>
                  <a:pt x="3586" y="10408"/>
                  <a:pt x="3677" y="10534"/>
                  <a:pt x="3860" y="10635"/>
                </a:cubicBezTo>
                <a:cubicBezTo>
                  <a:pt x="4043" y="10737"/>
                  <a:pt x="4261" y="10787"/>
                  <a:pt x="4514" y="10787"/>
                </a:cubicBezTo>
                <a:lnTo>
                  <a:pt x="6286" y="10787"/>
                </a:lnTo>
                <a:lnTo>
                  <a:pt x="6286" y="10787"/>
                </a:lnTo>
                <a:lnTo>
                  <a:pt x="6286" y="10787"/>
                </a:lnTo>
                <a:close/>
                <a:moveTo>
                  <a:pt x="12340" y="10635"/>
                </a:moveTo>
                <a:cubicBezTo>
                  <a:pt x="12522" y="10534"/>
                  <a:pt x="12614" y="10408"/>
                  <a:pt x="12614" y="10256"/>
                </a:cubicBezTo>
                <a:lnTo>
                  <a:pt x="12614" y="9167"/>
                </a:lnTo>
                <a:cubicBezTo>
                  <a:pt x="12614" y="9032"/>
                  <a:pt x="12522" y="8910"/>
                  <a:pt x="12340" y="8800"/>
                </a:cubicBezTo>
                <a:cubicBezTo>
                  <a:pt x="12157" y="8690"/>
                  <a:pt x="11939" y="8635"/>
                  <a:pt x="11686" y="8635"/>
                </a:cubicBezTo>
                <a:lnTo>
                  <a:pt x="9914" y="8635"/>
                </a:lnTo>
                <a:cubicBezTo>
                  <a:pt x="9661" y="8635"/>
                  <a:pt x="9443" y="8690"/>
                  <a:pt x="9260" y="8800"/>
                </a:cubicBezTo>
                <a:cubicBezTo>
                  <a:pt x="9077" y="8910"/>
                  <a:pt x="8986" y="9032"/>
                  <a:pt x="8986" y="9167"/>
                </a:cubicBezTo>
                <a:lnTo>
                  <a:pt x="8986" y="10256"/>
                </a:lnTo>
                <a:cubicBezTo>
                  <a:pt x="8986" y="10408"/>
                  <a:pt x="9077" y="10534"/>
                  <a:pt x="9260" y="10635"/>
                </a:cubicBezTo>
                <a:cubicBezTo>
                  <a:pt x="9443" y="10737"/>
                  <a:pt x="9661" y="10787"/>
                  <a:pt x="9914" y="10787"/>
                </a:cubicBezTo>
                <a:lnTo>
                  <a:pt x="11686" y="10787"/>
                </a:lnTo>
                <a:cubicBezTo>
                  <a:pt x="11939" y="10787"/>
                  <a:pt x="12157" y="10737"/>
                  <a:pt x="12340" y="10635"/>
                </a:cubicBezTo>
                <a:lnTo>
                  <a:pt x="12340" y="10635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>
            <a:miter lim="400000"/>
          </a:ln>
        </p:spPr>
        <p:txBody>
          <a:bodyPr lIns="27428" tIns="27428" rIns="27428" bIns="27428" anchor="ctr"/>
          <a:lstStyle/>
          <a:p>
            <a:pPr marL="0" marR="0" lvl="0" indent="0" algn="l" defTabSz="3291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lang="pt-BR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cxnSp>
        <p:nvCxnSpPr>
          <p:cNvPr id="1044" name="Conector: Angulado 1043">
            <a:extLst>
              <a:ext uri="{FF2B5EF4-FFF2-40B4-BE49-F238E27FC236}">
                <a16:creationId xmlns:a16="http://schemas.microsoft.com/office/drawing/2014/main" id="{CDB42CA6-D520-DFC2-DC2E-8780D4E665AA}"/>
              </a:ext>
            </a:extLst>
          </p:cNvPr>
          <p:cNvCxnSpPr>
            <a:cxnSpLocks/>
            <a:stCxn id="1408" idx="2"/>
            <a:endCxn id="1040" idx="1"/>
          </p:cNvCxnSpPr>
          <p:nvPr/>
        </p:nvCxnSpPr>
        <p:spPr>
          <a:xfrm rot="16200000" flipH="1">
            <a:off x="11003803" y="2942498"/>
            <a:ext cx="390114" cy="381568"/>
          </a:xfrm>
          <a:prstGeom prst="bentConnector2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45" name="Agrupar 1044">
            <a:extLst>
              <a:ext uri="{FF2B5EF4-FFF2-40B4-BE49-F238E27FC236}">
                <a16:creationId xmlns:a16="http://schemas.microsoft.com/office/drawing/2014/main" id="{0D1CDB22-2633-BA84-9B39-3188B2915D69}"/>
              </a:ext>
            </a:extLst>
          </p:cNvPr>
          <p:cNvGrpSpPr>
            <a:grpSpLocks noChangeAspect="1"/>
          </p:cNvGrpSpPr>
          <p:nvPr/>
        </p:nvGrpSpPr>
        <p:grpSpPr>
          <a:xfrm>
            <a:off x="10874313" y="3645329"/>
            <a:ext cx="244503" cy="284166"/>
            <a:chOff x="1314272" y="5999659"/>
            <a:chExt cx="438150" cy="371475"/>
          </a:xfrm>
        </p:grpSpPr>
        <p:sp>
          <p:nvSpPr>
            <p:cNvPr id="1047" name="Forma Livre: Forma 1046">
              <a:extLst>
                <a:ext uri="{FF2B5EF4-FFF2-40B4-BE49-F238E27FC236}">
                  <a16:creationId xmlns:a16="http://schemas.microsoft.com/office/drawing/2014/main" id="{26204041-B2F1-66DA-C59F-50BE42E6403B}"/>
                </a:ext>
              </a:extLst>
            </p:cNvPr>
            <p:cNvSpPr/>
            <p:nvPr/>
          </p:nvSpPr>
          <p:spPr>
            <a:xfrm>
              <a:off x="1314272" y="5999659"/>
              <a:ext cx="438150" cy="257175"/>
            </a:xfrm>
            <a:custGeom>
              <a:avLst/>
              <a:gdLst>
                <a:gd name="connsiteX0" fmla="*/ 352425 w 438150"/>
                <a:gd name="connsiteY0" fmla="*/ 257175 h 257175"/>
                <a:gd name="connsiteX1" fmla="*/ 361950 w 438150"/>
                <a:gd name="connsiteY1" fmla="*/ 257175 h 257175"/>
                <a:gd name="connsiteX2" fmla="*/ 371475 w 438150"/>
                <a:gd name="connsiteY2" fmla="*/ 257175 h 257175"/>
                <a:gd name="connsiteX3" fmla="*/ 438150 w 438150"/>
                <a:gd name="connsiteY3" fmla="*/ 190500 h 257175"/>
                <a:gd name="connsiteX4" fmla="*/ 371475 w 438150"/>
                <a:gd name="connsiteY4" fmla="*/ 123825 h 257175"/>
                <a:gd name="connsiteX5" fmla="*/ 351187 w 438150"/>
                <a:gd name="connsiteY5" fmla="*/ 126968 h 257175"/>
                <a:gd name="connsiteX6" fmla="*/ 352425 w 438150"/>
                <a:gd name="connsiteY6" fmla="*/ 114300 h 257175"/>
                <a:gd name="connsiteX7" fmla="*/ 285750 w 438150"/>
                <a:gd name="connsiteY7" fmla="*/ 47625 h 257175"/>
                <a:gd name="connsiteX8" fmla="*/ 242221 w 438150"/>
                <a:gd name="connsiteY8" fmla="*/ 63913 h 257175"/>
                <a:gd name="connsiteX9" fmla="*/ 152305 w 438150"/>
                <a:gd name="connsiteY9" fmla="*/ 0 h 257175"/>
                <a:gd name="connsiteX10" fmla="*/ 57055 w 438150"/>
                <a:gd name="connsiteY10" fmla="*/ 95250 h 257175"/>
                <a:gd name="connsiteX11" fmla="*/ 61532 w 438150"/>
                <a:gd name="connsiteY11" fmla="*/ 124016 h 257175"/>
                <a:gd name="connsiteX12" fmla="*/ 0 w 438150"/>
                <a:gd name="connsiteY12" fmla="*/ 190500 h 257175"/>
                <a:gd name="connsiteX13" fmla="*/ 66675 w 438150"/>
                <a:gd name="connsiteY13" fmla="*/ 257175 h 257175"/>
                <a:gd name="connsiteX14" fmla="*/ 76200 w 438150"/>
                <a:gd name="connsiteY14" fmla="*/ 257175 h 257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8150" h="257175">
                  <a:moveTo>
                    <a:pt x="352425" y="257175"/>
                  </a:moveTo>
                  <a:lnTo>
                    <a:pt x="361950" y="257175"/>
                  </a:lnTo>
                  <a:lnTo>
                    <a:pt x="371475" y="257175"/>
                  </a:lnTo>
                  <a:cubicBezTo>
                    <a:pt x="408337" y="257175"/>
                    <a:pt x="438150" y="227362"/>
                    <a:pt x="438150" y="190500"/>
                  </a:cubicBezTo>
                  <a:cubicBezTo>
                    <a:pt x="438150" y="153638"/>
                    <a:pt x="408337" y="123825"/>
                    <a:pt x="371475" y="123825"/>
                  </a:cubicBezTo>
                  <a:cubicBezTo>
                    <a:pt x="364426" y="123825"/>
                    <a:pt x="357569" y="124968"/>
                    <a:pt x="351187" y="126968"/>
                  </a:cubicBezTo>
                  <a:cubicBezTo>
                    <a:pt x="351949" y="122873"/>
                    <a:pt x="352425" y="118681"/>
                    <a:pt x="352425" y="114300"/>
                  </a:cubicBezTo>
                  <a:cubicBezTo>
                    <a:pt x="352425" y="77438"/>
                    <a:pt x="322612" y="47625"/>
                    <a:pt x="285750" y="47625"/>
                  </a:cubicBezTo>
                  <a:cubicBezTo>
                    <a:pt x="269081" y="47625"/>
                    <a:pt x="253937" y="53816"/>
                    <a:pt x="242221" y="63913"/>
                  </a:cubicBezTo>
                  <a:cubicBezTo>
                    <a:pt x="229267" y="26670"/>
                    <a:pt x="193929" y="0"/>
                    <a:pt x="152305" y="0"/>
                  </a:cubicBezTo>
                  <a:cubicBezTo>
                    <a:pt x="99727" y="0"/>
                    <a:pt x="57055" y="42672"/>
                    <a:pt x="57055" y="95250"/>
                  </a:cubicBezTo>
                  <a:cubicBezTo>
                    <a:pt x="57055" y="105251"/>
                    <a:pt x="58674" y="114967"/>
                    <a:pt x="61532" y="124016"/>
                  </a:cubicBezTo>
                  <a:cubicBezTo>
                    <a:pt x="27146" y="126682"/>
                    <a:pt x="0" y="155448"/>
                    <a:pt x="0" y="190500"/>
                  </a:cubicBezTo>
                  <a:cubicBezTo>
                    <a:pt x="0" y="227362"/>
                    <a:pt x="29813" y="257175"/>
                    <a:pt x="66675" y="257175"/>
                  </a:cubicBezTo>
                  <a:lnTo>
                    <a:pt x="76200" y="257175"/>
                  </a:lnTo>
                </a:path>
              </a:pathLst>
            </a:custGeom>
            <a:noFill/>
            <a:ln w="1270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48" name="Forma Livre: Forma 1047">
              <a:extLst>
                <a:ext uri="{FF2B5EF4-FFF2-40B4-BE49-F238E27FC236}">
                  <a16:creationId xmlns:a16="http://schemas.microsoft.com/office/drawing/2014/main" id="{1BCF8FBC-EB76-710B-1F7F-B8FA17C1B0B8}"/>
                </a:ext>
              </a:extLst>
            </p:cNvPr>
            <p:cNvSpPr/>
            <p:nvPr/>
          </p:nvSpPr>
          <p:spPr>
            <a:xfrm>
              <a:off x="1556683" y="6063476"/>
              <a:ext cx="9525" cy="19050"/>
            </a:xfrm>
            <a:custGeom>
              <a:avLst/>
              <a:gdLst>
                <a:gd name="connsiteX0" fmla="*/ 0 w 0"/>
                <a:gd name="connsiteY0" fmla="*/ 0 h 19050"/>
                <a:gd name="connsiteX1" fmla="*/ 4858 w 0"/>
                <a:gd name="connsiteY1" fmla="*/ 21908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9050">
                  <a:moveTo>
                    <a:pt x="0" y="0"/>
                  </a:moveTo>
                  <a:cubicBezTo>
                    <a:pt x="2476" y="6953"/>
                    <a:pt x="4096" y="14288"/>
                    <a:pt x="4858" y="21908"/>
                  </a:cubicBezTo>
                </a:path>
              </a:pathLst>
            </a:custGeom>
            <a:noFill/>
            <a:ln w="1270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49" name="Forma Livre: Forma 1048">
              <a:extLst>
                <a:ext uri="{FF2B5EF4-FFF2-40B4-BE49-F238E27FC236}">
                  <a16:creationId xmlns:a16="http://schemas.microsoft.com/office/drawing/2014/main" id="{336BCAFA-403A-E245-9B5F-54A71A7B85B1}"/>
                </a:ext>
              </a:extLst>
            </p:cNvPr>
            <p:cNvSpPr/>
            <p:nvPr/>
          </p:nvSpPr>
          <p:spPr>
            <a:xfrm>
              <a:off x="1657172" y="6126627"/>
              <a:ext cx="9525" cy="19050"/>
            </a:xfrm>
            <a:custGeom>
              <a:avLst/>
              <a:gdLst>
                <a:gd name="connsiteX0" fmla="*/ 8287 w 0"/>
                <a:gd name="connsiteY0" fmla="*/ 0 h 19050"/>
                <a:gd name="connsiteX1" fmla="*/ 0 w 0"/>
                <a:gd name="connsiteY1" fmla="*/ 21622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9050">
                  <a:moveTo>
                    <a:pt x="8287" y="0"/>
                  </a:moveTo>
                  <a:cubicBezTo>
                    <a:pt x="6763" y="7810"/>
                    <a:pt x="3905" y="15145"/>
                    <a:pt x="0" y="21622"/>
                  </a:cubicBezTo>
                </a:path>
              </a:pathLst>
            </a:custGeom>
            <a:noFill/>
            <a:ln w="1270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50" name="Forma Livre: Forma 1049">
              <a:extLst>
                <a:ext uri="{FF2B5EF4-FFF2-40B4-BE49-F238E27FC236}">
                  <a16:creationId xmlns:a16="http://schemas.microsoft.com/office/drawing/2014/main" id="{97B4AE71-CCD8-0E21-8562-892CCFDC4AA3}"/>
                </a:ext>
              </a:extLst>
            </p:cNvPr>
            <p:cNvSpPr/>
            <p:nvPr/>
          </p:nvSpPr>
          <p:spPr>
            <a:xfrm>
              <a:off x="1375804" y="6123468"/>
              <a:ext cx="19050" cy="9525"/>
            </a:xfrm>
            <a:custGeom>
              <a:avLst/>
              <a:gdLst>
                <a:gd name="connsiteX0" fmla="*/ 0 w 19050"/>
                <a:gd name="connsiteY0" fmla="*/ 207 h 0"/>
                <a:gd name="connsiteX1" fmla="*/ 24765 w 19050"/>
                <a:gd name="connsiteY1" fmla="*/ 296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050">
                  <a:moveTo>
                    <a:pt x="0" y="207"/>
                  </a:moveTo>
                  <a:cubicBezTo>
                    <a:pt x="8287" y="-460"/>
                    <a:pt x="16669" y="492"/>
                    <a:pt x="24765" y="2969"/>
                  </a:cubicBezTo>
                </a:path>
              </a:pathLst>
            </a:custGeom>
            <a:noFill/>
            <a:ln w="1270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51" name="Forma Livre: Forma 1050">
              <a:extLst>
                <a:ext uri="{FF2B5EF4-FFF2-40B4-BE49-F238E27FC236}">
                  <a16:creationId xmlns:a16="http://schemas.microsoft.com/office/drawing/2014/main" id="{CCA9D077-1642-810D-1FCC-B35EB70A4C83}"/>
                </a:ext>
              </a:extLst>
            </p:cNvPr>
            <p:cNvSpPr/>
            <p:nvPr/>
          </p:nvSpPr>
          <p:spPr>
            <a:xfrm>
              <a:off x="1447622" y="6237784"/>
              <a:ext cx="200025" cy="133350"/>
            </a:xfrm>
            <a:custGeom>
              <a:avLst/>
              <a:gdLst>
                <a:gd name="connsiteX0" fmla="*/ 0 w 200025"/>
                <a:gd name="connsiteY0" fmla="*/ 0 h 133350"/>
                <a:gd name="connsiteX1" fmla="*/ 200025 w 200025"/>
                <a:gd name="connsiteY1" fmla="*/ 0 h 133350"/>
                <a:gd name="connsiteX2" fmla="*/ 200025 w 200025"/>
                <a:gd name="connsiteY2" fmla="*/ 133350 h 133350"/>
                <a:gd name="connsiteX3" fmla="*/ 0 w 200025"/>
                <a:gd name="connsiteY3" fmla="*/ 13335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0025" h="133350">
                  <a:moveTo>
                    <a:pt x="0" y="0"/>
                  </a:moveTo>
                  <a:lnTo>
                    <a:pt x="200025" y="0"/>
                  </a:lnTo>
                  <a:lnTo>
                    <a:pt x="200025" y="133350"/>
                  </a:lnTo>
                  <a:lnTo>
                    <a:pt x="0" y="133350"/>
                  </a:lnTo>
                  <a:close/>
                </a:path>
              </a:pathLst>
            </a:custGeom>
            <a:noFill/>
            <a:ln w="1270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52" name="Forma Livre: Forma 1051">
              <a:extLst>
                <a:ext uri="{FF2B5EF4-FFF2-40B4-BE49-F238E27FC236}">
                  <a16:creationId xmlns:a16="http://schemas.microsoft.com/office/drawing/2014/main" id="{2C30A9C5-CC34-1FFF-13F1-6F0774EA476B}"/>
                </a:ext>
              </a:extLst>
            </p:cNvPr>
            <p:cNvSpPr/>
            <p:nvPr/>
          </p:nvSpPr>
          <p:spPr>
            <a:xfrm>
              <a:off x="1409522" y="6180634"/>
              <a:ext cx="257081" cy="150776"/>
            </a:xfrm>
            <a:custGeom>
              <a:avLst/>
              <a:gdLst>
                <a:gd name="connsiteX0" fmla="*/ 209550 w 209550"/>
                <a:gd name="connsiteY0" fmla="*/ 38100 h 190500"/>
                <a:gd name="connsiteX1" fmla="*/ 209550 w 209550"/>
                <a:gd name="connsiteY1" fmla="*/ 19050 h 190500"/>
                <a:gd name="connsiteX2" fmla="*/ 104775 w 209550"/>
                <a:gd name="connsiteY2" fmla="*/ 19050 h 190500"/>
                <a:gd name="connsiteX3" fmla="*/ 85725 w 209550"/>
                <a:gd name="connsiteY3" fmla="*/ 0 h 190500"/>
                <a:gd name="connsiteX4" fmla="*/ 0 w 209550"/>
                <a:gd name="connsiteY4" fmla="*/ 0 h 190500"/>
                <a:gd name="connsiteX5" fmla="*/ 0 w 209550"/>
                <a:gd name="connsiteY5" fmla="*/ 161925 h 190500"/>
                <a:gd name="connsiteX6" fmla="*/ 28575 w 209550"/>
                <a:gd name="connsiteY6" fmla="*/ 190500 h 190500"/>
                <a:gd name="connsiteX7" fmla="*/ 38100 w 209550"/>
                <a:gd name="connsiteY7" fmla="*/ 19050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0" h="190500">
                  <a:moveTo>
                    <a:pt x="209550" y="38100"/>
                  </a:moveTo>
                  <a:lnTo>
                    <a:pt x="209550" y="19050"/>
                  </a:lnTo>
                  <a:lnTo>
                    <a:pt x="104775" y="19050"/>
                  </a:lnTo>
                  <a:lnTo>
                    <a:pt x="85725" y="0"/>
                  </a:lnTo>
                  <a:lnTo>
                    <a:pt x="0" y="0"/>
                  </a:lnTo>
                  <a:lnTo>
                    <a:pt x="0" y="161925"/>
                  </a:lnTo>
                  <a:lnTo>
                    <a:pt x="28575" y="190500"/>
                  </a:lnTo>
                  <a:lnTo>
                    <a:pt x="38100" y="190500"/>
                  </a:lnTo>
                </a:path>
              </a:pathLst>
            </a:custGeom>
            <a:noFill/>
            <a:ln w="1270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053" name="CaixaDeTexto 1052">
            <a:extLst>
              <a:ext uri="{FF2B5EF4-FFF2-40B4-BE49-F238E27FC236}">
                <a16:creationId xmlns:a16="http://schemas.microsoft.com/office/drawing/2014/main" id="{D9E63A2F-ABB8-9487-507E-DFD591D4ECC1}"/>
              </a:ext>
            </a:extLst>
          </p:cNvPr>
          <p:cNvSpPr txBox="1"/>
          <p:nvPr/>
        </p:nvSpPr>
        <p:spPr>
          <a:xfrm>
            <a:off x="10568094" y="3899562"/>
            <a:ext cx="84811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165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Acervo digital</a:t>
            </a:r>
          </a:p>
        </p:txBody>
      </p:sp>
      <p:cxnSp>
        <p:nvCxnSpPr>
          <p:cNvPr id="1054" name="Conector de Seta Reta 1053">
            <a:extLst>
              <a:ext uri="{FF2B5EF4-FFF2-40B4-BE49-F238E27FC236}">
                <a16:creationId xmlns:a16="http://schemas.microsoft.com/office/drawing/2014/main" id="{D7856B01-EF72-4582-3B9B-2E5079F6E460}"/>
              </a:ext>
            </a:extLst>
          </p:cNvPr>
          <p:cNvCxnSpPr>
            <a:cxnSpLocks/>
          </p:cNvCxnSpPr>
          <p:nvPr/>
        </p:nvCxnSpPr>
        <p:spPr>
          <a:xfrm>
            <a:off x="11004001" y="3196243"/>
            <a:ext cx="8149" cy="406360"/>
          </a:xfrm>
          <a:prstGeom prst="straightConnector1">
            <a:avLst/>
          </a:prstGeom>
          <a:ln>
            <a:solidFill>
              <a:srgbClr val="99999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55" name="Agrupar 1054">
            <a:extLst>
              <a:ext uri="{FF2B5EF4-FFF2-40B4-BE49-F238E27FC236}">
                <a16:creationId xmlns:a16="http://schemas.microsoft.com/office/drawing/2014/main" id="{3B87ECA3-C382-8894-CC87-EC16A536992B}"/>
              </a:ext>
            </a:extLst>
          </p:cNvPr>
          <p:cNvGrpSpPr>
            <a:grpSpLocks noChangeAspect="1"/>
          </p:cNvGrpSpPr>
          <p:nvPr/>
        </p:nvGrpSpPr>
        <p:grpSpPr>
          <a:xfrm>
            <a:off x="2797758" y="2797824"/>
            <a:ext cx="241019" cy="252000"/>
            <a:chOff x="14267631" y="1263332"/>
            <a:chExt cx="419057" cy="438150"/>
          </a:xfrm>
        </p:grpSpPr>
        <p:sp>
          <p:nvSpPr>
            <p:cNvPr id="1056" name="Forma Livre: Forma 1055">
              <a:extLst>
                <a:ext uri="{FF2B5EF4-FFF2-40B4-BE49-F238E27FC236}">
                  <a16:creationId xmlns:a16="http://schemas.microsoft.com/office/drawing/2014/main" id="{2A028FBA-6101-B6F4-DB3C-BA7C8693B87D}"/>
                </a:ext>
              </a:extLst>
            </p:cNvPr>
            <p:cNvSpPr/>
            <p:nvPr/>
          </p:nvSpPr>
          <p:spPr>
            <a:xfrm>
              <a:off x="14267631" y="1310957"/>
              <a:ext cx="342900" cy="390525"/>
            </a:xfrm>
            <a:custGeom>
              <a:avLst/>
              <a:gdLst>
                <a:gd name="connsiteX0" fmla="*/ 342900 w 342900"/>
                <a:gd name="connsiteY0" fmla="*/ 257175 h 390525"/>
                <a:gd name="connsiteX1" fmla="*/ 342900 w 342900"/>
                <a:gd name="connsiteY1" fmla="*/ 371475 h 390525"/>
                <a:gd name="connsiteX2" fmla="*/ 323850 w 342900"/>
                <a:gd name="connsiteY2" fmla="*/ 390525 h 390525"/>
                <a:gd name="connsiteX3" fmla="*/ 19050 w 342900"/>
                <a:gd name="connsiteY3" fmla="*/ 390525 h 390525"/>
                <a:gd name="connsiteX4" fmla="*/ 0 w 342900"/>
                <a:gd name="connsiteY4" fmla="*/ 371475 h 390525"/>
                <a:gd name="connsiteX5" fmla="*/ 0 w 342900"/>
                <a:gd name="connsiteY5" fmla="*/ 19050 h 390525"/>
                <a:gd name="connsiteX6" fmla="*/ 19050 w 342900"/>
                <a:gd name="connsiteY6" fmla="*/ 0 h 390525"/>
                <a:gd name="connsiteX7" fmla="*/ 57150 w 342900"/>
                <a:gd name="connsiteY7" fmla="*/ 0 h 39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2900" h="390525">
                  <a:moveTo>
                    <a:pt x="342900" y="257175"/>
                  </a:moveTo>
                  <a:lnTo>
                    <a:pt x="342900" y="371475"/>
                  </a:lnTo>
                  <a:cubicBezTo>
                    <a:pt x="342900" y="381953"/>
                    <a:pt x="334328" y="390525"/>
                    <a:pt x="323850" y="390525"/>
                  </a:cubicBezTo>
                  <a:lnTo>
                    <a:pt x="19050" y="390525"/>
                  </a:lnTo>
                  <a:cubicBezTo>
                    <a:pt x="8572" y="390525"/>
                    <a:pt x="0" y="381953"/>
                    <a:pt x="0" y="371475"/>
                  </a:cubicBezTo>
                  <a:lnTo>
                    <a:pt x="0" y="19050"/>
                  </a:lnTo>
                  <a:cubicBezTo>
                    <a:pt x="0" y="8573"/>
                    <a:pt x="8572" y="0"/>
                    <a:pt x="19050" y="0"/>
                  </a:cubicBezTo>
                  <a:lnTo>
                    <a:pt x="57150" y="0"/>
                  </a:lnTo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4" name="Forma Livre: Forma 1063">
              <a:extLst>
                <a:ext uri="{FF2B5EF4-FFF2-40B4-BE49-F238E27FC236}">
                  <a16:creationId xmlns:a16="http://schemas.microsoft.com/office/drawing/2014/main" id="{5F105F8E-8DF0-DC6E-43AC-16055B96EB91}"/>
                </a:ext>
              </a:extLst>
            </p:cNvPr>
            <p:cNvSpPr/>
            <p:nvPr/>
          </p:nvSpPr>
          <p:spPr>
            <a:xfrm>
              <a:off x="14553381" y="1310957"/>
              <a:ext cx="57150" cy="104775"/>
            </a:xfrm>
            <a:custGeom>
              <a:avLst/>
              <a:gdLst>
                <a:gd name="connsiteX0" fmla="*/ 0 w 57150"/>
                <a:gd name="connsiteY0" fmla="*/ 0 h 104775"/>
                <a:gd name="connsiteX1" fmla="*/ 38100 w 57150"/>
                <a:gd name="connsiteY1" fmla="*/ 0 h 104775"/>
                <a:gd name="connsiteX2" fmla="*/ 57150 w 57150"/>
                <a:gd name="connsiteY2" fmla="*/ 19050 h 104775"/>
                <a:gd name="connsiteX3" fmla="*/ 57150 w 57150"/>
                <a:gd name="connsiteY3" fmla="*/ 104775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" h="104775">
                  <a:moveTo>
                    <a:pt x="0" y="0"/>
                  </a:moveTo>
                  <a:lnTo>
                    <a:pt x="38100" y="0"/>
                  </a:lnTo>
                  <a:cubicBezTo>
                    <a:pt x="48578" y="0"/>
                    <a:pt x="57150" y="8573"/>
                    <a:pt x="57150" y="19050"/>
                  </a:cubicBezTo>
                  <a:lnTo>
                    <a:pt x="57150" y="104775"/>
                  </a:lnTo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6" name="Forma Livre: Forma 1065">
              <a:extLst>
                <a:ext uri="{FF2B5EF4-FFF2-40B4-BE49-F238E27FC236}">
                  <a16:creationId xmlns:a16="http://schemas.microsoft.com/office/drawing/2014/main" id="{46999EF9-3448-94CE-5678-EA5D5EBE1C1C}"/>
                </a:ext>
              </a:extLst>
            </p:cNvPr>
            <p:cNvSpPr/>
            <p:nvPr/>
          </p:nvSpPr>
          <p:spPr>
            <a:xfrm>
              <a:off x="14305731" y="1349057"/>
              <a:ext cx="266700" cy="314325"/>
            </a:xfrm>
            <a:custGeom>
              <a:avLst/>
              <a:gdLst>
                <a:gd name="connsiteX0" fmla="*/ 266700 w 266700"/>
                <a:gd name="connsiteY0" fmla="*/ 257175 h 314325"/>
                <a:gd name="connsiteX1" fmla="*/ 266700 w 266700"/>
                <a:gd name="connsiteY1" fmla="*/ 314325 h 314325"/>
                <a:gd name="connsiteX2" fmla="*/ 0 w 266700"/>
                <a:gd name="connsiteY2" fmla="*/ 314325 h 314325"/>
                <a:gd name="connsiteX3" fmla="*/ 0 w 266700"/>
                <a:gd name="connsiteY3" fmla="*/ 0 h 314325"/>
                <a:gd name="connsiteX4" fmla="*/ 19050 w 266700"/>
                <a:gd name="connsiteY4" fmla="*/ 0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700" h="314325">
                  <a:moveTo>
                    <a:pt x="266700" y="257175"/>
                  </a:moveTo>
                  <a:lnTo>
                    <a:pt x="266700" y="314325"/>
                  </a:lnTo>
                  <a:lnTo>
                    <a:pt x="0" y="314325"/>
                  </a:lnTo>
                  <a:lnTo>
                    <a:pt x="0" y="0"/>
                  </a:lnTo>
                  <a:lnTo>
                    <a:pt x="19050" y="0"/>
                  </a:lnTo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76" name="Forma Livre: Forma 1075">
              <a:extLst>
                <a:ext uri="{FF2B5EF4-FFF2-40B4-BE49-F238E27FC236}">
                  <a16:creationId xmlns:a16="http://schemas.microsoft.com/office/drawing/2014/main" id="{380BCBDA-C210-CF73-9138-E4F88422A25F}"/>
                </a:ext>
              </a:extLst>
            </p:cNvPr>
            <p:cNvSpPr/>
            <p:nvPr/>
          </p:nvSpPr>
          <p:spPr>
            <a:xfrm>
              <a:off x="14553381" y="1349057"/>
              <a:ext cx="19050" cy="104775"/>
            </a:xfrm>
            <a:custGeom>
              <a:avLst/>
              <a:gdLst>
                <a:gd name="connsiteX0" fmla="*/ 0 w 19050"/>
                <a:gd name="connsiteY0" fmla="*/ 0 h 104775"/>
                <a:gd name="connsiteX1" fmla="*/ 19050 w 19050"/>
                <a:gd name="connsiteY1" fmla="*/ 0 h 104775"/>
                <a:gd name="connsiteX2" fmla="*/ 19050 w 19050"/>
                <a:gd name="connsiteY2" fmla="*/ 104775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050" h="104775">
                  <a:moveTo>
                    <a:pt x="0" y="0"/>
                  </a:moveTo>
                  <a:lnTo>
                    <a:pt x="19050" y="0"/>
                  </a:lnTo>
                  <a:lnTo>
                    <a:pt x="19050" y="104775"/>
                  </a:lnTo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77" name="Forma Livre: Forma 1076">
              <a:extLst>
                <a:ext uri="{FF2B5EF4-FFF2-40B4-BE49-F238E27FC236}">
                  <a16:creationId xmlns:a16="http://schemas.microsoft.com/office/drawing/2014/main" id="{892C7EAD-3D9C-8130-5E6B-8D98041D8B2D}"/>
                </a:ext>
              </a:extLst>
            </p:cNvPr>
            <p:cNvSpPr/>
            <p:nvPr/>
          </p:nvSpPr>
          <p:spPr>
            <a:xfrm>
              <a:off x="14343831" y="1263332"/>
              <a:ext cx="190500" cy="95250"/>
            </a:xfrm>
            <a:custGeom>
              <a:avLst/>
              <a:gdLst>
                <a:gd name="connsiteX0" fmla="*/ 161925 w 190500"/>
                <a:gd name="connsiteY0" fmla="*/ 38100 h 95250"/>
                <a:gd name="connsiteX1" fmla="*/ 133350 w 190500"/>
                <a:gd name="connsiteY1" fmla="*/ 38100 h 95250"/>
                <a:gd name="connsiteX2" fmla="*/ 95250 w 190500"/>
                <a:gd name="connsiteY2" fmla="*/ 0 h 95250"/>
                <a:gd name="connsiteX3" fmla="*/ 57150 w 190500"/>
                <a:gd name="connsiteY3" fmla="*/ 38100 h 95250"/>
                <a:gd name="connsiteX4" fmla="*/ 28575 w 190500"/>
                <a:gd name="connsiteY4" fmla="*/ 38100 h 95250"/>
                <a:gd name="connsiteX5" fmla="*/ 0 w 190500"/>
                <a:gd name="connsiteY5" fmla="*/ 66675 h 95250"/>
                <a:gd name="connsiteX6" fmla="*/ 0 w 190500"/>
                <a:gd name="connsiteY6" fmla="*/ 95250 h 95250"/>
                <a:gd name="connsiteX7" fmla="*/ 190500 w 190500"/>
                <a:gd name="connsiteY7" fmla="*/ 95250 h 95250"/>
                <a:gd name="connsiteX8" fmla="*/ 190500 w 190500"/>
                <a:gd name="connsiteY8" fmla="*/ 66675 h 95250"/>
                <a:gd name="connsiteX9" fmla="*/ 161925 w 190500"/>
                <a:gd name="connsiteY9" fmla="*/ 38100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0500" h="95250">
                  <a:moveTo>
                    <a:pt x="161925" y="38100"/>
                  </a:moveTo>
                  <a:lnTo>
                    <a:pt x="133350" y="38100"/>
                  </a:lnTo>
                  <a:cubicBezTo>
                    <a:pt x="133350" y="17050"/>
                    <a:pt x="116300" y="0"/>
                    <a:pt x="95250" y="0"/>
                  </a:cubicBezTo>
                  <a:cubicBezTo>
                    <a:pt x="74200" y="0"/>
                    <a:pt x="57150" y="17050"/>
                    <a:pt x="57150" y="38100"/>
                  </a:cubicBezTo>
                  <a:lnTo>
                    <a:pt x="28575" y="38100"/>
                  </a:lnTo>
                  <a:cubicBezTo>
                    <a:pt x="12763" y="38100"/>
                    <a:pt x="0" y="50864"/>
                    <a:pt x="0" y="66675"/>
                  </a:cubicBezTo>
                  <a:lnTo>
                    <a:pt x="0" y="95250"/>
                  </a:lnTo>
                  <a:lnTo>
                    <a:pt x="190500" y="95250"/>
                  </a:lnTo>
                  <a:lnTo>
                    <a:pt x="190500" y="66675"/>
                  </a:lnTo>
                  <a:cubicBezTo>
                    <a:pt x="190500" y="50864"/>
                    <a:pt x="177737" y="38100"/>
                    <a:pt x="161925" y="38100"/>
                  </a:cubicBezTo>
                  <a:close/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78" name="Forma Livre: Forma 1077">
              <a:extLst>
                <a:ext uri="{FF2B5EF4-FFF2-40B4-BE49-F238E27FC236}">
                  <a16:creationId xmlns:a16="http://schemas.microsoft.com/office/drawing/2014/main" id="{46FFD435-2962-AEBE-07E9-FA9EE6CBE213}"/>
                </a:ext>
              </a:extLst>
            </p:cNvPr>
            <p:cNvSpPr/>
            <p:nvPr/>
          </p:nvSpPr>
          <p:spPr>
            <a:xfrm>
              <a:off x="14439081" y="1291907"/>
              <a:ext cx="9525" cy="19050"/>
            </a:xfrm>
            <a:custGeom>
              <a:avLst/>
              <a:gdLst>
                <a:gd name="connsiteX0" fmla="*/ 0 w 0"/>
                <a:gd name="connsiteY0" fmla="*/ 0 h 19050"/>
                <a:gd name="connsiteX1" fmla="*/ 0 w 0"/>
                <a:gd name="connsiteY1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9050">
                  <a:moveTo>
                    <a:pt x="0" y="0"/>
                  </a:moveTo>
                  <a:lnTo>
                    <a:pt x="0" y="19050"/>
                  </a:lnTo>
                </a:path>
              </a:pathLst>
            </a:custGeom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79" name="Forma Livre: Forma 1078">
              <a:extLst>
                <a:ext uri="{FF2B5EF4-FFF2-40B4-BE49-F238E27FC236}">
                  <a16:creationId xmlns:a16="http://schemas.microsoft.com/office/drawing/2014/main" id="{B5861D03-3A4B-A299-6580-5357E4B2C2CC}"/>
                </a:ext>
              </a:extLst>
            </p:cNvPr>
            <p:cNvSpPr/>
            <p:nvPr/>
          </p:nvSpPr>
          <p:spPr>
            <a:xfrm>
              <a:off x="14486663" y="1411124"/>
              <a:ext cx="200025" cy="200025"/>
            </a:xfrm>
            <a:custGeom>
              <a:avLst/>
              <a:gdLst>
                <a:gd name="connsiteX0" fmla="*/ 193686 w 200025"/>
                <a:gd name="connsiteY0" fmla="*/ 11751 h 200025"/>
                <a:gd name="connsiteX1" fmla="*/ 204640 w 200025"/>
                <a:gd name="connsiteY1" fmla="*/ 36421 h 200025"/>
                <a:gd name="connsiteX2" fmla="*/ 57574 w 200025"/>
                <a:gd name="connsiteY2" fmla="*/ 183392 h 200025"/>
                <a:gd name="connsiteX3" fmla="*/ 43 w 200025"/>
                <a:gd name="connsiteY3" fmla="*/ 204633 h 200025"/>
                <a:gd name="connsiteX4" fmla="*/ 21284 w 200025"/>
                <a:gd name="connsiteY4" fmla="*/ 147102 h 200025"/>
                <a:gd name="connsiteX5" fmla="*/ 168350 w 200025"/>
                <a:gd name="connsiteY5" fmla="*/ 131 h 200025"/>
                <a:gd name="connsiteX6" fmla="*/ 193020 w 200025"/>
                <a:gd name="connsiteY6" fmla="*/ 11085 h 200025"/>
                <a:gd name="connsiteX7" fmla="*/ 193686 w 200025"/>
                <a:gd name="connsiteY7" fmla="*/ 11751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0025" h="200025">
                  <a:moveTo>
                    <a:pt x="193686" y="11751"/>
                  </a:moveTo>
                  <a:cubicBezTo>
                    <a:pt x="203688" y="21753"/>
                    <a:pt x="205402" y="31182"/>
                    <a:pt x="204640" y="36421"/>
                  </a:cubicBezTo>
                  <a:lnTo>
                    <a:pt x="57574" y="183392"/>
                  </a:lnTo>
                  <a:cubicBezTo>
                    <a:pt x="34524" y="206633"/>
                    <a:pt x="43" y="204633"/>
                    <a:pt x="43" y="204633"/>
                  </a:cubicBezTo>
                  <a:cubicBezTo>
                    <a:pt x="43" y="204633"/>
                    <a:pt x="-1957" y="170247"/>
                    <a:pt x="21284" y="147102"/>
                  </a:cubicBezTo>
                  <a:lnTo>
                    <a:pt x="168350" y="131"/>
                  </a:lnTo>
                  <a:cubicBezTo>
                    <a:pt x="173589" y="-536"/>
                    <a:pt x="183018" y="1083"/>
                    <a:pt x="193020" y="11085"/>
                  </a:cubicBezTo>
                  <a:lnTo>
                    <a:pt x="193686" y="11751"/>
                  </a:lnTo>
                  <a:close/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80" name="Forma Livre: Forma 1079">
              <a:extLst>
                <a:ext uri="{FF2B5EF4-FFF2-40B4-BE49-F238E27FC236}">
                  <a16:creationId xmlns:a16="http://schemas.microsoft.com/office/drawing/2014/main" id="{CE1C9CCC-BBF5-BB0E-6F85-F66A38816F0E}"/>
                </a:ext>
              </a:extLst>
            </p:cNvPr>
            <p:cNvSpPr/>
            <p:nvPr/>
          </p:nvSpPr>
          <p:spPr>
            <a:xfrm>
              <a:off x="14634534" y="1430972"/>
              <a:ext cx="28575" cy="28575"/>
            </a:xfrm>
            <a:custGeom>
              <a:avLst/>
              <a:gdLst>
                <a:gd name="connsiteX0" fmla="*/ 0 w 28575"/>
                <a:gd name="connsiteY0" fmla="*/ 0 h 28575"/>
                <a:gd name="connsiteX1" fmla="*/ 36385 w 28575"/>
                <a:gd name="connsiteY1" fmla="*/ 36386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" h="28575">
                  <a:moveTo>
                    <a:pt x="0" y="0"/>
                  </a:moveTo>
                  <a:lnTo>
                    <a:pt x="36385" y="36386"/>
                  </a:lnTo>
                </a:path>
              </a:pathLst>
            </a:custGeom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82" name="Forma Livre: Forma 1081">
              <a:extLst>
                <a:ext uri="{FF2B5EF4-FFF2-40B4-BE49-F238E27FC236}">
                  <a16:creationId xmlns:a16="http://schemas.microsoft.com/office/drawing/2014/main" id="{CD298553-F106-6D2D-2DB5-A91F37CC7DF9}"/>
                </a:ext>
              </a:extLst>
            </p:cNvPr>
            <p:cNvSpPr/>
            <p:nvPr/>
          </p:nvSpPr>
          <p:spPr>
            <a:xfrm>
              <a:off x="14505756" y="1558607"/>
              <a:ext cx="38100" cy="38100"/>
            </a:xfrm>
            <a:custGeom>
              <a:avLst/>
              <a:gdLst>
                <a:gd name="connsiteX0" fmla="*/ 0 w 38100"/>
                <a:gd name="connsiteY0" fmla="*/ 0 h 38100"/>
                <a:gd name="connsiteX1" fmla="*/ 38100 w 38100"/>
                <a:gd name="connsiteY1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00" h="38100">
                  <a:moveTo>
                    <a:pt x="0" y="0"/>
                  </a:moveTo>
                  <a:lnTo>
                    <a:pt x="38100" y="38100"/>
                  </a:lnTo>
                </a:path>
              </a:pathLst>
            </a:custGeom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83" name="Forma Livre: Forma 1082">
              <a:extLst>
                <a:ext uri="{FF2B5EF4-FFF2-40B4-BE49-F238E27FC236}">
                  <a16:creationId xmlns:a16="http://schemas.microsoft.com/office/drawing/2014/main" id="{6493F4D1-5D29-DAA3-CB3C-593EA17F9139}"/>
                </a:ext>
              </a:extLst>
            </p:cNvPr>
            <p:cNvSpPr/>
            <p:nvPr/>
          </p:nvSpPr>
          <p:spPr>
            <a:xfrm>
              <a:off x="14439081" y="1406207"/>
              <a:ext cx="85725" cy="9525"/>
            </a:xfrm>
            <a:custGeom>
              <a:avLst/>
              <a:gdLst>
                <a:gd name="connsiteX0" fmla="*/ 0 w 85725"/>
                <a:gd name="connsiteY0" fmla="*/ 0 h 0"/>
                <a:gd name="connsiteX1" fmla="*/ 85725 w 8572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25">
                  <a:moveTo>
                    <a:pt x="0" y="0"/>
                  </a:moveTo>
                  <a:lnTo>
                    <a:pt x="85725" y="0"/>
                  </a:lnTo>
                </a:path>
              </a:pathLst>
            </a:custGeom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84" name="Forma Livre: Forma 1083">
              <a:extLst>
                <a:ext uri="{FF2B5EF4-FFF2-40B4-BE49-F238E27FC236}">
                  <a16:creationId xmlns:a16="http://schemas.microsoft.com/office/drawing/2014/main" id="{70B488C8-F080-A098-141E-96A97E14573E}"/>
                </a:ext>
              </a:extLst>
            </p:cNvPr>
            <p:cNvSpPr/>
            <p:nvPr/>
          </p:nvSpPr>
          <p:spPr>
            <a:xfrm>
              <a:off x="14353356" y="1396682"/>
              <a:ext cx="57150" cy="47625"/>
            </a:xfrm>
            <a:custGeom>
              <a:avLst/>
              <a:gdLst>
                <a:gd name="connsiteX0" fmla="*/ 57150 w 57150"/>
                <a:gd name="connsiteY0" fmla="*/ 0 h 47625"/>
                <a:gd name="connsiteX1" fmla="*/ 19050 w 57150"/>
                <a:gd name="connsiteY1" fmla="*/ 47625 h 47625"/>
                <a:gd name="connsiteX2" fmla="*/ 0 w 57150"/>
                <a:gd name="connsiteY2" fmla="*/ 1905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150" h="47625">
                  <a:moveTo>
                    <a:pt x="57150" y="0"/>
                  </a:moveTo>
                  <a:lnTo>
                    <a:pt x="19050" y="47625"/>
                  </a:lnTo>
                  <a:lnTo>
                    <a:pt x="0" y="19050"/>
                  </a:lnTo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85" name="Forma Livre: Forma 1084">
              <a:extLst>
                <a:ext uri="{FF2B5EF4-FFF2-40B4-BE49-F238E27FC236}">
                  <a16:creationId xmlns:a16="http://schemas.microsoft.com/office/drawing/2014/main" id="{461CC37B-EA57-D75D-8200-16D23CF9E3DA}"/>
                </a:ext>
              </a:extLst>
            </p:cNvPr>
            <p:cNvSpPr/>
            <p:nvPr/>
          </p:nvSpPr>
          <p:spPr>
            <a:xfrm>
              <a:off x="14439081" y="1491932"/>
              <a:ext cx="85725" cy="9525"/>
            </a:xfrm>
            <a:custGeom>
              <a:avLst/>
              <a:gdLst>
                <a:gd name="connsiteX0" fmla="*/ 0 w 85725"/>
                <a:gd name="connsiteY0" fmla="*/ 0 h 0"/>
                <a:gd name="connsiteX1" fmla="*/ 85725 w 8572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25">
                  <a:moveTo>
                    <a:pt x="0" y="0"/>
                  </a:moveTo>
                  <a:lnTo>
                    <a:pt x="85725" y="0"/>
                  </a:lnTo>
                </a:path>
              </a:pathLst>
            </a:custGeom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86" name="Forma Livre: Forma 1085">
              <a:extLst>
                <a:ext uri="{FF2B5EF4-FFF2-40B4-BE49-F238E27FC236}">
                  <a16:creationId xmlns:a16="http://schemas.microsoft.com/office/drawing/2014/main" id="{562EB340-0C96-C561-572A-0BF96C1F7BCB}"/>
                </a:ext>
              </a:extLst>
            </p:cNvPr>
            <p:cNvSpPr/>
            <p:nvPr/>
          </p:nvSpPr>
          <p:spPr>
            <a:xfrm>
              <a:off x="14439081" y="1444307"/>
              <a:ext cx="66675" cy="9525"/>
            </a:xfrm>
            <a:custGeom>
              <a:avLst/>
              <a:gdLst>
                <a:gd name="connsiteX0" fmla="*/ 0 w 66675"/>
                <a:gd name="connsiteY0" fmla="*/ 0 h 0"/>
                <a:gd name="connsiteX1" fmla="*/ 66675 w 6667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675">
                  <a:moveTo>
                    <a:pt x="0" y="0"/>
                  </a:moveTo>
                  <a:lnTo>
                    <a:pt x="66675" y="0"/>
                  </a:lnTo>
                </a:path>
              </a:pathLst>
            </a:custGeom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87" name="Forma Livre: Forma 1086">
              <a:extLst>
                <a:ext uri="{FF2B5EF4-FFF2-40B4-BE49-F238E27FC236}">
                  <a16:creationId xmlns:a16="http://schemas.microsoft.com/office/drawing/2014/main" id="{6DF92C1B-1941-1385-9CB8-C913491F33CB}"/>
                </a:ext>
              </a:extLst>
            </p:cNvPr>
            <p:cNvSpPr/>
            <p:nvPr/>
          </p:nvSpPr>
          <p:spPr>
            <a:xfrm>
              <a:off x="14439081" y="1530032"/>
              <a:ext cx="57150" cy="9525"/>
            </a:xfrm>
            <a:custGeom>
              <a:avLst/>
              <a:gdLst>
                <a:gd name="connsiteX0" fmla="*/ 0 w 57150"/>
                <a:gd name="connsiteY0" fmla="*/ 0 h 0"/>
                <a:gd name="connsiteX1" fmla="*/ 57150 w 5715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150">
                  <a:moveTo>
                    <a:pt x="0" y="0"/>
                  </a:moveTo>
                  <a:lnTo>
                    <a:pt x="57150" y="0"/>
                  </a:lnTo>
                </a:path>
              </a:pathLst>
            </a:custGeom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8" name="Forma Livre: Forma 1477">
              <a:extLst>
                <a:ext uri="{FF2B5EF4-FFF2-40B4-BE49-F238E27FC236}">
                  <a16:creationId xmlns:a16="http://schemas.microsoft.com/office/drawing/2014/main" id="{54BF0AE9-6940-CA25-87D4-4D76D6E2533A}"/>
                </a:ext>
              </a:extLst>
            </p:cNvPr>
            <p:cNvSpPr/>
            <p:nvPr/>
          </p:nvSpPr>
          <p:spPr>
            <a:xfrm>
              <a:off x="14353356" y="1482407"/>
              <a:ext cx="57150" cy="47625"/>
            </a:xfrm>
            <a:custGeom>
              <a:avLst/>
              <a:gdLst>
                <a:gd name="connsiteX0" fmla="*/ 57150 w 57150"/>
                <a:gd name="connsiteY0" fmla="*/ 0 h 47625"/>
                <a:gd name="connsiteX1" fmla="*/ 19050 w 57150"/>
                <a:gd name="connsiteY1" fmla="*/ 47625 h 47625"/>
                <a:gd name="connsiteX2" fmla="*/ 0 w 57150"/>
                <a:gd name="connsiteY2" fmla="*/ 1905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150" h="47625">
                  <a:moveTo>
                    <a:pt x="57150" y="0"/>
                  </a:moveTo>
                  <a:lnTo>
                    <a:pt x="19050" y="47625"/>
                  </a:lnTo>
                  <a:lnTo>
                    <a:pt x="0" y="19050"/>
                  </a:lnTo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9" name="Forma Livre: Forma 1478">
              <a:extLst>
                <a:ext uri="{FF2B5EF4-FFF2-40B4-BE49-F238E27FC236}">
                  <a16:creationId xmlns:a16="http://schemas.microsoft.com/office/drawing/2014/main" id="{B5F14B69-8D27-C647-8BA5-D2BCCFD364AB}"/>
                </a:ext>
              </a:extLst>
            </p:cNvPr>
            <p:cNvSpPr/>
            <p:nvPr/>
          </p:nvSpPr>
          <p:spPr>
            <a:xfrm>
              <a:off x="14353356" y="1568132"/>
              <a:ext cx="57150" cy="47625"/>
            </a:xfrm>
            <a:custGeom>
              <a:avLst/>
              <a:gdLst>
                <a:gd name="connsiteX0" fmla="*/ 57150 w 57150"/>
                <a:gd name="connsiteY0" fmla="*/ 0 h 47625"/>
                <a:gd name="connsiteX1" fmla="*/ 19050 w 57150"/>
                <a:gd name="connsiteY1" fmla="*/ 47625 h 47625"/>
                <a:gd name="connsiteX2" fmla="*/ 0 w 57150"/>
                <a:gd name="connsiteY2" fmla="*/ 1905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150" h="47625">
                  <a:moveTo>
                    <a:pt x="57150" y="0"/>
                  </a:moveTo>
                  <a:lnTo>
                    <a:pt x="19050" y="47625"/>
                  </a:lnTo>
                  <a:lnTo>
                    <a:pt x="0" y="19050"/>
                  </a:lnTo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80" name="CaixaDeTexto 1479">
            <a:extLst>
              <a:ext uri="{FF2B5EF4-FFF2-40B4-BE49-F238E27FC236}">
                <a16:creationId xmlns:a16="http://schemas.microsoft.com/office/drawing/2014/main" id="{C672CC6A-F549-6FDE-A3FD-10488E77EA0E}"/>
              </a:ext>
            </a:extLst>
          </p:cNvPr>
          <p:cNvSpPr txBox="1"/>
          <p:nvPr/>
        </p:nvSpPr>
        <p:spPr>
          <a:xfrm>
            <a:off x="2535043" y="3024389"/>
            <a:ext cx="720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3165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Checklist inteligente</a:t>
            </a:r>
          </a:p>
        </p:txBody>
      </p:sp>
      <p:cxnSp>
        <p:nvCxnSpPr>
          <p:cNvPr id="1481" name="Conector de Seta Reta 1480">
            <a:extLst>
              <a:ext uri="{FF2B5EF4-FFF2-40B4-BE49-F238E27FC236}">
                <a16:creationId xmlns:a16="http://schemas.microsoft.com/office/drawing/2014/main" id="{D2DC31C7-40FE-37A2-57B0-EF83E71467F1}"/>
              </a:ext>
            </a:extLst>
          </p:cNvPr>
          <p:cNvCxnSpPr>
            <a:cxnSpLocks/>
          </p:cNvCxnSpPr>
          <p:nvPr/>
        </p:nvCxnSpPr>
        <p:spPr>
          <a:xfrm>
            <a:off x="3025216" y="2936302"/>
            <a:ext cx="282235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2" name="Retângulo: Cantos Arredondados 1481">
            <a:extLst>
              <a:ext uri="{FF2B5EF4-FFF2-40B4-BE49-F238E27FC236}">
                <a16:creationId xmlns:a16="http://schemas.microsoft.com/office/drawing/2014/main" id="{C1029D70-F6E3-8F86-4C65-001E389559E4}"/>
              </a:ext>
            </a:extLst>
          </p:cNvPr>
          <p:cNvSpPr/>
          <p:nvPr/>
        </p:nvSpPr>
        <p:spPr>
          <a:xfrm rot="16200000">
            <a:off x="58772" y="2903619"/>
            <a:ext cx="706430" cy="494840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 Black" panose="020B0903020204020204" pitchFamily="34" charset="0"/>
                <a:ea typeface="+mn-ea"/>
                <a:cs typeface="Itau Display Black" panose="020B0903020204020204" pitchFamily="34" charset="0"/>
              </a:rPr>
              <a:t>To</a:t>
            </a:r>
            <a:r>
              <a:rPr kumimoji="0" lang="pt-BR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 Black" panose="020B0903020204020204" pitchFamily="34" charset="0"/>
                <a:ea typeface="+mn-ea"/>
                <a:cs typeface="Itau Display Black" panose="020B0903020204020204" pitchFamily="34" charset="0"/>
              </a:rPr>
              <a:t> Be</a:t>
            </a:r>
          </a:p>
        </p:txBody>
      </p:sp>
      <p:grpSp>
        <p:nvGrpSpPr>
          <p:cNvPr id="30" name="Agrupar 29">
            <a:extLst>
              <a:ext uri="{FF2B5EF4-FFF2-40B4-BE49-F238E27FC236}">
                <a16:creationId xmlns:a16="http://schemas.microsoft.com/office/drawing/2014/main" id="{24FA3834-7E35-9B0B-CDCF-4CD327D0B516}"/>
              </a:ext>
            </a:extLst>
          </p:cNvPr>
          <p:cNvGrpSpPr/>
          <p:nvPr/>
        </p:nvGrpSpPr>
        <p:grpSpPr>
          <a:xfrm>
            <a:off x="39299" y="4468524"/>
            <a:ext cx="12130409" cy="2208297"/>
            <a:chOff x="39299" y="4468524"/>
            <a:chExt cx="12130409" cy="2208297"/>
          </a:xfrm>
        </p:grpSpPr>
        <p:grpSp>
          <p:nvGrpSpPr>
            <p:cNvPr id="2" name="Agrupar 1">
              <a:extLst>
                <a:ext uri="{FF2B5EF4-FFF2-40B4-BE49-F238E27FC236}">
                  <a16:creationId xmlns:a16="http://schemas.microsoft.com/office/drawing/2014/main" id="{AFAFEADA-7DE8-425E-1347-351726436E45}"/>
                </a:ext>
              </a:extLst>
            </p:cNvPr>
            <p:cNvGrpSpPr/>
            <p:nvPr/>
          </p:nvGrpSpPr>
          <p:grpSpPr>
            <a:xfrm>
              <a:off x="39299" y="4479377"/>
              <a:ext cx="12130409" cy="2121211"/>
              <a:chOff x="19861" y="4728435"/>
              <a:chExt cx="12130409" cy="2121211"/>
            </a:xfrm>
          </p:grpSpPr>
          <p:sp>
            <p:nvSpPr>
              <p:cNvPr id="1065" name="Retângulo: Cantos Arredondados 1064">
                <a:extLst>
                  <a:ext uri="{FF2B5EF4-FFF2-40B4-BE49-F238E27FC236}">
                    <a16:creationId xmlns:a16="http://schemas.microsoft.com/office/drawing/2014/main" id="{959217BA-8252-1761-575F-E1EF722735F2}"/>
                  </a:ext>
                </a:extLst>
              </p:cNvPr>
              <p:cNvSpPr/>
              <p:nvPr/>
            </p:nvSpPr>
            <p:spPr>
              <a:xfrm>
                <a:off x="67926" y="4728436"/>
                <a:ext cx="668016" cy="2093916"/>
              </a:xfrm>
              <a:prstGeom prst="roundRect">
                <a:avLst>
                  <a:gd name="adj" fmla="val 13501"/>
                </a:avLst>
              </a:prstGeom>
              <a:solidFill>
                <a:srgbClr val="0070C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8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Display Black" panose="020B0903020204020204" pitchFamily="34" charset="0"/>
                  <a:ea typeface="+mn-ea"/>
                  <a:cs typeface="Itau Display Black" panose="020B0903020204020204" pitchFamily="34" charset="0"/>
                </a:endParaRPr>
              </a:p>
            </p:txBody>
          </p:sp>
          <p:sp>
            <p:nvSpPr>
              <p:cNvPr id="1067" name="Retângulo: Cantos Arredondados 1066">
                <a:extLst>
                  <a:ext uri="{FF2B5EF4-FFF2-40B4-BE49-F238E27FC236}">
                    <a16:creationId xmlns:a16="http://schemas.microsoft.com/office/drawing/2014/main" id="{FB8544D1-438D-691E-4821-C5538804C830}"/>
                  </a:ext>
                </a:extLst>
              </p:cNvPr>
              <p:cNvSpPr/>
              <p:nvPr/>
            </p:nvSpPr>
            <p:spPr>
              <a:xfrm rot="16200000">
                <a:off x="-667098" y="5415394"/>
                <a:ext cx="2093917" cy="720000"/>
              </a:xfrm>
              <a:prstGeom prst="round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2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Itau Display Black" panose="020B0903020204020204" pitchFamily="34" charset="0"/>
                    <a:ea typeface="+mn-ea"/>
                    <a:cs typeface="Itau Display Black" panose="020B0903020204020204" pitchFamily="34" charset="0"/>
                  </a:rPr>
                  <a:t>Benefícios</a:t>
                </a:r>
              </a:p>
            </p:txBody>
          </p:sp>
          <p:sp>
            <p:nvSpPr>
              <p:cNvPr id="1199" name="Retângulo 1198">
                <a:extLst>
                  <a:ext uri="{FF2B5EF4-FFF2-40B4-BE49-F238E27FC236}">
                    <a16:creationId xmlns:a16="http://schemas.microsoft.com/office/drawing/2014/main" id="{8DB3A380-2CFD-5D8C-FE15-7C008F3D9336}"/>
                  </a:ext>
                </a:extLst>
              </p:cNvPr>
              <p:cNvSpPr/>
              <p:nvPr/>
            </p:nvSpPr>
            <p:spPr>
              <a:xfrm>
                <a:off x="824682" y="4728435"/>
                <a:ext cx="11325588" cy="2121211"/>
              </a:xfrm>
              <a:prstGeom prst="rect">
                <a:avLst/>
              </a:prstGeom>
              <a:noFill/>
              <a:ln w="12700" cap="flat" cmpd="sng" algn="ctr">
                <a:solidFill>
                  <a:schemeClr val="bg1">
                    <a:lumMod val="85000"/>
                  </a:schemeClr>
                </a:solidFill>
                <a:prstDash val="solid"/>
                <a:miter lim="800000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2000" b="1" i="0" u="sng" strike="noStrike" kern="0" cap="none" spc="0" normalizeH="0" baseline="0" noProof="0">
                  <a:ln>
                    <a:noFill/>
                  </a:ln>
                  <a:solidFill>
                    <a:srgbClr val="FF7800"/>
                  </a:solidFill>
                  <a:effectLst/>
                  <a:uLnTx/>
                  <a:uFillTx/>
                  <a:latin typeface="Itau Display Black" panose="020B0903020204020204" pitchFamily="34" charset="0"/>
                  <a:ea typeface="+mn-ea"/>
                  <a:cs typeface="Itau Display Black" panose="020B0903020204020204" pitchFamily="34" charset="0"/>
                </a:endParaRPr>
              </a:p>
            </p:txBody>
          </p:sp>
        </p:grpSp>
        <p:sp>
          <p:nvSpPr>
            <p:cNvPr id="22" name="CaixaDeTexto 21">
              <a:extLst>
                <a:ext uri="{FF2B5EF4-FFF2-40B4-BE49-F238E27FC236}">
                  <a16:creationId xmlns:a16="http://schemas.microsoft.com/office/drawing/2014/main" id="{560ED610-5D76-B30B-AE9F-43649C6DB19C}"/>
                </a:ext>
              </a:extLst>
            </p:cNvPr>
            <p:cNvSpPr txBox="1">
              <a:spLocks/>
            </p:cNvSpPr>
            <p:nvPr/>
          </p:nvSpPr>
          <p:spPr>
            <a:xfrm>
              <a:off x="871562" y="4468524"/>
              <a:ext cx="2685545" cy="10780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pt-BR"/>
              </a:defPPr>
              <a:lvl1pPr marL="285750" indent="-285750">
                <a:buFont typeface="Arial" panose="020B0604020202020204" pitchFamily="34" charset="0"/>
                <a:buChar char="•"/>
                <a:defRPr sz="1400">
                  <a:latin typeface="Itau Display Light" panose="020B0403020204020204" pitchFamily="34" charset="0"/>
                  <a:cs typeface="Itau Display Light" panose="020B0403020204020204" pitchFamily="34" charset="0"/>
                </a:defRPr>
              </a:lvl1pPr>
            </a:lstStyle>
            <a:p>
              <a:pPr marL="285750" marR="0" lvl="0" indent="-2857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sz="11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Jornada </a:t>
              </a:r>
              <a:r>
                <a:rPr kumimoji="0" lang="pt-BR" sz="1100" b="0" i="0" u="none" strike="noStrike" kern="1200" cap="none" spc="0" normalizeH="0" baseline="0" noProof="0" err="1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Omnichannel</a:t>
              </a:r>
              <a:r>
                <a:rPr kumimoji="0" lang="pt-BR" sz="11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.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sz="11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Checklist inteligente de conteúdos.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sz="11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Reuso de documentos.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sz="11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Jornada simplificada.</a:t>
              </a:r>
            </a:p>
          </p:txBody>
        </p:sp>
        <p:sp>
          <p:nvSpPr>
            <p:cNvPr id="23" name="CaixaDeTexto 22">
              <a:extLst>
                <a:ext uri="{FF2B5EF4-FFF2-40B4-BE49-F238E27FC236}">
                  <a16:creationId xmlns:a16="http://schemas.microsoft.com/office/drawing/2014/main" id="{4B978A4D-B18A-755F-710A-B4F7E09DB0C8}"/>
                </a:ext>
              </a:extLst>
            </p:cNvPr>
            <p:cNvSpPr txBox="1">
              <a:spLocks/>
            </p:cNvSpPr>
            <p:nvPr/>
          </p:nvSpPr>
          <p:spPr>
            <a:xfrm>
              <a:off x="3760517" y="4468524"/>
              <a:ext cx="3504215" cy="22082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pt-BR"/>
              </a:defPPr>
              <a:lvl1pPr marL="285750" indent="-285750">
                <a:buFont typeface="Arial" panose="020B0604020202020204" pitchFamily="34" charset="0"/>
                <a:buChar char="•"/>
                <a:defRPr sz="1400">
                  <a:latin typeface="Itau Display Light" panose="020B0403020204020204" pitchFamily="34" charset="0"/>
                  <a:cs typeface="Itau Display Light" panose="020B0403020204020204" pitchFamily="34" charset="0"/>
                </a:defRPr>
              </a:lvl1pPr>
            </a:lstStyle>
            <a:p>
              <a:pPr marL="285750" marR="0" lvl="0" indent="-2857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sz="11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Jornada modernizada de captura de conteúdos digitais.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sz="11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Integração com repositórios externos (</a:t>
              </a:r>
              <a:r>
                <a:rPr kumimoji="0" lang="pt-BR" sz="1100" b="0" i="0" u="none" strike="noStrike" kern="1200" cap="none" spc="0" normalizeH="0" baseline="0" noProof="0" err="1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ex</a:t>
              </a:r>
              <a:r>
                <a:rPr kumimoji="0" lang="pt-BR" sz="11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: gov.br).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sz="11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Digitalização através de dispositivos mobile.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sz="11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Certificação e confiabilidade do conteúdo digitalizado.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sz="11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Redução de esforço do cliente na captura.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pt-BR" sz="11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pt-B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</a:endParaRPr>
            </a:p>
          </p:txBody>
        </p:sp>
        <p:sp>
          <p:nvSpPr>
            <p:cNvPr id="27" name="CaixaDeTexto 26">
              <a:extLst>
                <a:ext uri="{FF2B5EF4-FFF2-40B4-BE49-F238E27FC236}">
                  <a16:creationId xmlns:a16="http://schemas.microsoft.com/office/drawing/2014/main" id="{024E4A94-18A8-26D8-4886-3BFB35F66D04}"/>
                </a:ext>
              </a:extLst>
            </p:cNvPr>
            <p:cNvSpPr txBox="1"/>
            <p:nvPr/>
          </p:nvSpPr>
          <p:spPr>
            <a:xfrm>
              <a:off x="7564207" y="4468524"/>
              <a:ext cx="4486020" cy="18620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marR="0" lvl="0" indent="-2857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sz="11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Autosserviço na recuperação de conteúdos.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sz="11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Atendimento padronizado e no canal de preferência do cliente.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sz="11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Resolução na hora em centrais de atendimento e agências/plataformas.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sz="11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Organização e transparência dos seus conteúdos .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sz="1100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Experiência mais segura para o cliente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1BDE14AD-3AC6-2EEB-A629-F4CA2C672C29}"/>
              </a:ext>
            </a:extLst>
          </p:cNvPr>
          <p:cNvSpPr txBox="1"/>
          <p:nvPr/>
        </p:nvSpPr>
        <p:spPr>
          <a:xfrm>
            <a:off x="214239" y="172737"/>
            <a:ext cx="4212095" cy="4347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pt-BR"/>
            </a:defPPr>
            <a:lvl1pPr defTabSz="914411">
              <a:lnSpc>
                <a:spcPct val="75000"/>
              </a:lnSpc>
              <a:spcBef>
                <a:spcPts val="0"/>
              </a:spcBef>
              <a:buNone/>
              <a:defRPr kumimoji="0" sz="2800" b="0" i="0" u="none" strike="noStrike" cap="none" spc="0" normalizeH="0" baseline="0">
                <a:ln>
                  <a:noFill/>
                </a:ln>
                <a:solidFill>
                  <a:srgbClr val="FE9600"/>
                </a:solidFill>
                <a:effectLst/>
                <a:uLnTx/>
                <a:uFillTx/>
                <a:latin typeface="Itau Display Heavy" panose="020B0803020204020204" pitchFamily="34" charset="0"/>
                <a:cs typeface="Itau Display Heavy" panose="020B0803020204020204" pitchFamily="34" charset="0"/>
              </a:defRPr>
            </a:lvl1pPr>
            <a:lvl2pPr marL="539756" indent="-182566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>
                <a:solidFill>
                  <a:schemeClr val="accent6"/>
                </a:solidFill>
              </a:defRPr>
            </a:lvl2pPr>
            <a:lvl3pPr marL="898536" indent="-184152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accent6"/>
                </a:solidFill>
              </a:defRPr>
            </a:lvl3pPr>
            <a:lvl4pPr marL="1255729" indent="-184152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>
                <a:solidFill>
                  <a:schemeClr val="accent6"/>
                </a:solidFill>
              </a:defRPr>
            </a:lvl4pPr>
            <a:lvl5pPr marL="1612920" indent="-174628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>
                <a:solidFill>
                  <a:schemeClr val="accent6"/>
                </a:solidFill>
              </a:defRPr>
            </a:lvl5pPr>
            <a:lvl6pPr marL="2514632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6pPr>
            <a:lvl7pPr marL="2971838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7pPr>
            <a:lvl8pPr marL="3429044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8pPr>
            <a:lvl9pPr marL="3886249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9pPr>
          </a:lstStyle>
          <a:p>
            <a:pPr marL="0" marR="0" lvl="0" indent="0" algn="l" defTabSz="914411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0" i="0" u="none" strike="noStrike" kern="1200" cap="none" spc="0" normalizeH="0" baseline="0" noProof="0">
                <a:ln>
                  <a:noFill/>
                </a:ln>
                <a:solidFill>
                  <a:srgbClr val="FE9600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</a:rPr>
              <a:t>_ jornada do cliente: TO BE</a:t>
            </a:r>
          </a:p>
        </p:txBody>
      </p:sp>
    </p:spTree>
    <p:extLst>
      <p:ext uri="{BB962C8B-B14F-4D97-AF65-F5344CB8AC3E}">
        <p14:creationId xmlns:p14="http://schemas.microsoft.com/office/powerpoint/2010/main" val="3003646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Retângulo 267">
            <a:extLst>
              <a:ext uri="{FF2B5EF4-FFF2-40B4-BE49-F238E27FC236}">
                <a16:creationId xmlns:a16="http://schemas.microsoft.com/office/drawing/2014/main" id="{AEF8FF2F-634E-1024-74E0-4CC2AB944AC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-108754" y="0"/>
            <a:ext cx="3682113" cy="6858000"/>
          </a:xfrm>
          <a:prstGeom prst="rect">
            <a:avLst/>
          </a:prstGeom>
          <a:gradFill flip="none" rotWithShape="1">
            <a:gsLst>
              <a:gs pos="0">
                <a:srgbClr val="FF7500"/>
              </a:gs>
              <a:gs pos="100000">
                <a:srgbClr val="FD9D00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1" b="0" i="0" u="none" strike="noStrike" kern="1200" cap="none" spc="0" normalizeH="0" baseline="0" noProof="0">
              <a:ln>
                <a:noFill/>
              </a:ln>
              <a:solidFill>
                <a:srgbClr val="1D4080"/>
              </a:solidFill>
              <a:effectLst/>
              <a:uLnTx/>
              <a:uFillTx/>
              <a:latin typeface="Itau Display"/>
              <a:ea typeface="+mn-ea"/>
              <a:cs typeface="+mn-cs"/>
            </a:endParaRPr>
          </a:p>
        </p:txBody>
      </p:sp>
      <p:sp>
        <p:nvSpPr>
          <p:cNvPr id="271" name="Retângulo 270">
            <a:extLst>
              <a:ext uri="{FF2B5EF4-FFF2-40B4-BE49-F238E27FC236}">
                <a16:creationId xmlns:a16="http://schemas.microsoft.com/office/drawing/2014/main" id="{3818E901-46D5-4501-C1D1-E6EC06254C6E}"/>
              </a:ext>
            </a:extLst>
          </p:cNvPr>
          <p:cNvSpPr/>
          <p:nvPr/>
        </p:nvSpPr>
        <p:spPr>
          <a:xfrm>
            <a:off x="3748563" y="5215942"/>
            <a:ext cx="4320000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30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Black" panose="020B0903020204020204" pitchFamily="34" charset="0"/>
                <a:ea typeface="+mn-ea"/>
                <a:cs typeface="Itau Display Black" panose="020B0903020204020204" pitchFamily="34" charset="0"/>
              </a:rPr>
              <a:t>atendimento</a:t>
            </a:r>
          </a:p>
          <a:p>
            <a:pPr marL="0" marR="0" lvl="0" indent="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Nos canais de preferência do cliente, na linguagem que ele entende. Atendimento rápido, eficiente e humanizado.</a:t>
            </a:r>
          </a:p>
        </p:txBody>
      </p:sp>
      <p:sp>
        <p:nvSpPr>
          <p:cNvPr id="272" name="Retângulo 271">
            <a:extLst>
              <a:ext uri="{FF2B5EF4-FFF2-40B4-BE49-F238E27FC236}">
                <a16:creationId xmlns:a16="http://schemas.microsoft.com/office/drawing/2014/main" id="{4799F20A-C0F0-5391-04D0-A816BDBD351D}"/>
              </a:ext>
            </a:extLst>
          </p:cNvPr>
          <p:cNvSpPr/>
          <p:nvPr/>
        </p:nvSpPr>
        <p:spPr>
          <a:xfrm>
            <a:off x="3791588" y="430212"/>
            <a:ext cx="4320000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0" cap="none" spc="30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Black" panose="020B0903020204020204" pitchFamily="34" charset="0"/>
                <a:ea typeface="+mn-ea"/>
                <a:cs typeface="Itau Display Black" panose="020B0903020204020204" pitchFamily="34" charset="0"/>
              </a:rPr>
              <a:t>autonomi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Simplificar a experiência do cliente para consultar, reutilizar e compartilhar conteúdo, quando ele quiser.</a:t>
            </a:r>
          </a:p>
        </p:txBody>
      </p:sp>
      <p:sp>
        <p:nvSpPr>
          <p:cNvPr id="273" name="Retângulo 272">
            <a:extLst>
              <a:ext uri="{FF2B5EF4-FFF2-40B4-BE49-F238E27FC236}">
                <a16:creationId xmlns:a16="http://schemas.microsoft.com/office/drawing/2014/main" id="{C251EB52-A2E3-BB38-4A02-04C561FF4408}"/>
              </a:ext>
            </a:extLst>
          </p:cNvPr>
          <p:cNvSpPr/>
          <p:nvPr/>
        </p:nvSpPr>
        <p:spPr>
          <a:xfrm>
            <a:off x="3768527" y="1907676"/>
            <a:ext cx="487175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0" cap="none" spc="30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Black" panose="020B0903020204020204" pitchFamily="34" charset="0"/>
                <a:ea typeface="+mn-ea"/>
                <a:cs typeface="Itau Display Black" panose="020B0903020204020204" pitchFamily="34" charset="0"/>
              </a:rPr>
              <a:t>visualização e disponibilização</a:t>
            </a:r>
            <a:endParaRPr kumimoji="0" lang="pt-BR" sz="2000" b="0" i="0" u="none" strike="noStrike" kern="0" cap="none" spc="0" normalizeH="0" baseline="0" noProof="0">
              <a:ln>
                <a:noFill/>
              </a:ln>
              <a:solidFill>
                <a:srgbClr val="5F6062"/>
              </a:solidFill>
              <a:effectLst/>
              <a:uLnTx/>
              <a:uFillTx/>
              <a:latin typeface="Itau Display Light" panose="020B0403020204020204" pitchFamily="34" charset="0"/>
              <a:ea typeface="+mn-ea"/>
              <a:cs typeface="Itau Display Light" panose="020B0403020204020204" pitchFamily="34" charset="0"/>
            </a:endParaRPr>
          </a:p>
          <a:p>
            <a:pPr marL="0" marR="0" lvl="0" indent="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Simples, rápido e prático.</a:t>
            </a:r>
          </a:p>
        </p:txBody>
      </p:sp>
      <p:pic>
        <p:nvPicPr>
          <p:cNvPr id="6" name="Imagem 5" descr="Ícone&#10;&#10;Descrição gerada automaticamente">
            <a:extLst>
              <a:ext uri="{FF2B5EF4-FFF2-40B4-BE49-F238E27FC236}">
                <a16:creationId xmlns:a16="http://schemas.microsoft.com/office/drawing/2014/main" id="{FDBA64F4-FBFF-57C4-1133-8F50DC86D1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2619" y="5873987"/>
            <a:ext cx="828000" cy="828000"/>
          </a:xfrm>
          <a:prstGeom prst="flowChartAlternateProcess">
            <a:avLst/>
          </a:prstGeom>
        </p:spPr>
      </p:pic>
      <p:pic>
        <p:nvPicPr>
          <p:cNvPr id="8" name="Imagem 7" descr="Ícone&#10;&#10;Descrição gerada automaticamente">
            <a:extLst>
              <a:ext uri="{FF2B5EF4-FFF2-40B4-BE49-F238E27FC236}">
                <a16:creationId xmlns:a16="http://schemas.microsoft.com/office/drawing/2014/main" id="{73158A30-4E18-059C-8651-D4118AB3791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2619" y="1707615"/>
            <a:ext cx="828000" cy="828000"/>
          </a:xfrm>
          <a:prstGeom prst="flowChartAlternateProcess">
            <a:avLst/>
          </a:prstGeom>
        </p:spPr>
      </p:pic>
      <p:pic>
        <p:nvPicPr>
          <p:cNvPr id="10" name="Imagem 9" descr="Uma imagem contendo Texto&#10;&#10;Descrição gerada automaticamente">
            <a:extLst>
              <a:ext uri="{FF2B5EF4-FFF2-40B4-BE49-F238E27FC236}">
                <a16:creationId xmlns:a16="http://schemas.microsoft.com/office/drawing/2014/main" id="{9903E993-8547-603C-6D43-76FA53728EF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5106" y="951713"/>
            <a:ext cx="828000" cy="828000"/>
          </a:xfrm>
          <a:prstGeom prst="flowChartAlternateProcess">
            <a:avLst/>
          </a:prstGeom>
        </p:spPr>
      </p:pic>
      <p:pic>
        <p:nvPicPr>
          <p:cNvPr id="12" name="Imagem 11" descr="Desenho de um círculo&#10;&#10;Descrição gerada automaticamente com confiança média">
            <a:extLst>
              <a:ext uri="{FF2B5EF4-FFF2-40B4-BE49-F238E27FC236}">
                <a16:creationId xmlns:a16="http://schemas.microsoft.com/office/drawing/2014/main" id="{AA5FD0CA-8A2A-FBA1-C4F4-499B3A0C262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8388" y="4485197"/>
            <a:ext cx="1156462" cy="828000"/>
          </a:xfrm>
          <a:prstGeom prst="flowChartAlternateProcess">
            <a:avLst/>
          </a:prstGeom>
        </p:spPr>
      </p:pic>
      <p:pic>
        <p:nvPicPr>
          <p:cNvPr id="7" name="Imagem 6" descr="Desenho de personagem de desenho animado&#10;&#10;Descrição gerada automaticamente">
            <a:extLst>
              <a:ext uri="{FF2B5EF4-FFF2-40B4-BE49-F238E27FC236}">
                <a16:creationId xmlns:a16="http://schemas.microsoft.com/office/drawing/2014/main" id="{FE066065-6C14-52FF-CCE3-85AB9D37FDF0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59" t="16716" r="13999" b="15500"/>
          <a:stretch/>
        </p:blipFill>
        <p:spPr>
          <a:xfrm>
            <a:off x="9547218" y="3096406"/>
            <a:ext cx="878802" cy="828000"/>
          </a:xfrm>
          <a:prstGeom prst="flowChartAlternateProcess">
            <a:avLst/>
          </a:prstGeom>
        </p:spPr>
      </p:pic>
      <p:sp>
        <p:nvSpPr>
          <p:cNvPr id="38" name="Retângulo 37">
            <a:extLst>
              <a:ext uri="{FF2B5EF4-FFF2-40B4-BE49-F238E27FC236}">
                <a16:creationId xmlns:a16="http://schemas.microsoft.com/office/drawing/2014/main" id="{D4F91D38-E4D0-16EE-35E0-68637788247F}"/>
              </a:ext>
            </a:extLst>
          </p:cNvPr>
          <p:cNvSpPr/>
          <p:nvPr/>
        </p:nvSpPr>
        <p:spPr>
          <a:xfrm>
            <a:off x="3745467" y="3446695"/>
            <a:ext cx="4917880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0" cap="none" spc="30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Black" panose="020B0903020204020204" pitchFamily="34" charset="0"/>
                <a:ea typeface="+mn-ea"/>
                <a:cs typeface="Itau Display Black" panose="020B0903020204020204" pitchFamily="34" charset="0"/>
              </a:rPr>
              <a:t>segurança e transparência</a:t>
            </a:r>
            <a:endParaRPr kumimoji="0" lang="pt-BR" sz="2000" b="0" i="0" u="none" strike="noStrike" kern="0" cap="none" spc="0" normalizeH="0" baseline="0" noProof="0">
              <a:ln>
                <a:noFill/>
              </a:ln>
              <a:solidFill>
                <a:srgbClr val="5F6062"/>
              </a:solidFill>
              <a:effectLst/>
              <a:uLnTx/>
              <a:uFillTx/>
              <a:latin typeface="Itau Display Light" panose="020B0403020204020204" pitchFamily="34" charset="0"/>
              <a:ea typeface="+mn-ea"/>
              <a:cs typeface="Itau Display Light" panose="020B0403020204020204" pitchFamily="34" charset="0"/>
            </a:endParaRPr>
          </a:p>
          <a:p>
            <a:pPr marL="0" marR="0" lvl="0" indent="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Segurança contra golpes e fraudes e transparência no relacionamento com o cliente. Conteúdos autenticados,  atualizados e com o histórico de navegação.</a:t>
            </a:r>
          </a:p>
        </p:txBody>
      </p:sp>
      <p:pic>
        <p:nvPicPr>
          <p:cNvPr id="787" name="Imagem 786" descr="Uma imagem contendo Interface gráfica do usuário&#10;&#10;Descrição gerada automaticamente">
            <a:extLst>
              <a:ext uri="{FF2B5EF4-FFF2-40B4-BE49-F238E27FC236}">
                <a16:creationId xmlns:a16="http://schemas.microsoft.com/office/drawing/2014/main" id="{252AB2C5-9C6F-6295-4F52-EB94348FA192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19" t="6513" r="3449" b="10646"/>
          <a:stretch/>
        </p:blipFill>
        <p:spPr>
          <a:xfrm>
            <a:off x="10956165" y="3650215"/>
            <a:ext cx="865882" cy="828000"/>
          </a:xfrm>
          <a:prstGeom prst="flowChartAlternateProcess">
            <a:avLst/>
          </a:prstGeom>
        </p:spPr>
      </p:pic>
      <p:pic>
        <p:nvPicPr>
          <p:cNvPr id="789" name="Imagem 788" descr="Ícone&#10;&#10;Descrição gerada automaticamente">
            <a:extLst>
              <a:ext uri="{FF2B5EF4-FFF2-40B4-BE49-F238E27FC236}">
                <a16:creationId xmlns:a16="http://schemas.microsoft.com/office/drawing/2014/main" id="{41A737F2-325E-FDE4-3F0F-EAF00D8EDBD1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886" t="11515" r="31063" b="12827"/>
          <a:stretch/>
        </p:blipFill>
        <p:spPr>
          <a:xfrm>
            <a:off x="10972674" y="2300964"/>
            <a:ext cx="832864" cy="828000"/>
          </a:xfrm>
          <a:prstGeom prst="rect">
            <a:avLst/>
          </a:prstGeom>
        </p:spPr>
      </p:pic>
      <p:grpSp>
        <p:nvGrpSpPr>
          <p:cNvPr id="790" name="Agrupar 789">
            <a:extLst>
              <a:ext uri="{FF2B5EF4-FFF2-40B4-BE49-F238E27FC236}">
                <a16:creationId xmlns:a16="http://schemas.microsoft.com/office/drawing/2014/main" id="{51D7470B-8918-380C-ED12-D34BFAFC3127}"/>
              </a:ext>
            </a:extLst>
          </p:cNvPr>
          <p:cNvGrpSpPr/>
          <p:nvPr/>
        </p:nvGrpSpPr>
        <p:grpSpPr>
          <a:xfrm>
            <a:off x="-599888" y="4237777"/>
            <a:ext cx="4173247" cy="2666179"/>
            <a:chOff x="726823" y="1369076"/>
            <a:chExt cx="2850385" cy="1821040"/>
          </a:xfrm>
        </p:grpSpPr>
        <p:sp>
          <p:nvSpPr>
            <p:cNvPr id="791" name="Forma Livre: Forma 790">
              <a:extLst>
                <a:ext uri="{FF2B5EF4-FFF2-40B4-BE49-F238E27FC236}">
                  <a16:creationId xmlns:a16="http://schemas.microsoft.com/office/drawing/2014/main" id="{2F8D505A-EB55-4A8D-5420-E33E3B74202B}"/>
                </a:ext>
              </a:extLst>
            </p:cNvPr>
            <p:cNvSpPr/>
            <p:nvPr/>
          </p:nvSpPr>
          <p:spPr>
            <a:xfrm>
              <a:off x="3042204" y="1930303"/>
              <a:ext cx="535004" cy="132028"/>
            </a:xfrm>
            <a:custGeom>
              <a:avLst/>
              <a:gdLst>
                <a:gd name="connsiteX0" fmla="*/ 0 w 535004"/>
                <a:gd name="connsiteY0" fmla="*/ 114034 h 132028"/>
                <a:gd name="connsiteX1" fmla="*/ 503609 w 535004"/>
                <a:gd name="connsiteY1" fmla="*/ 118091 h 132028"/>
                <a:gd name="connsiteX2" fmla="*/ 532049 w 535004"/>
                <a:gd name="connsiteY2" fmla="*/ 63283 h 132028"/>
                <a:gd name="connsiteX3" fmla="*/ 490594 w 535004"/>
                <a:gd name="connsiteY3" fmla="*/ 34088 h 132028"/>
                <a:gd name="connsiteX4" fmla="*/ 419774 w 535004"/>
                <a:gd name="connsiteY4" fmla="*/ 54253 h 132028"/>
                <a:gd name="connsiteX5" fmla="*/ 400107 w 535004"/>
                <a:gd name="connsiteY5" fmla="*/ 48051 h 132028"/>
                <a:gd name="connsiteX6" fmla="*/ 369554 w 535004"/>
                <a:gd name="connsiteY6" fmla="*/ 18414 h 132028"/>
                <a:gd name="connsiteX7" fmla="*/ 278987 w 535004"/>
                <a:gd name="connsiteY7" fmla="*/ 48461 h 132028"/>
                <a:gd name="connsiteX8" fmla="*/ 264775 w 535004"/>
                <a:gd name="connsiteY8" fmla="*/ 40435 h 132028"/>
                <a:gd name="connsiteX9" fmla="*/ 204954 w 535004"/>
                <a:gd name="connsiteY9" fmla="*/ 1647 h 132028"/>
                <a:gd name="connsiteX10" fmla="*/ 122887 w 535004"/>
                <a:gd name="connsiteY10" fmla="*/ 62086 h 132028"/>
                <a:gd name="connsiteX11" fmla="*/ 100842 w 535004"/>
                <a:gd name="connsiteY11" fmla="*/ 68280 h 132028"/>
                <a:gd name="connsiteX12" fmla="*/ 43681 w 535004"/>
                <a:gd name="connsiteY12" fmla="*/ 64448 h 132028"/>
                <a:gd name="connsiteX13" fmla="*/ 0 w 535004"/>
                <a:gd name="connsiteY13" fmla="*/ 114034 h 132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35004" h="132028">
                  <a:moveTo>
                    <a:pt x="0" y="114034"/>
                  </a:moveTo>
                  <a:cubicBezTo>
                    <a:pt x="0" y="114034"/>
                    <a:pt x="379725" y="151665"/>
                    <a:pt x="503609" y="118091"/>
                  </a:cubicBezTo>
                  <a:cubicBezTo>
                    <a:pt x="527205" y="111696"/>
                    <a:pt x="541521" y="85819"/>
                    <a:pt x="532049" y="63283"/>
                  </a:cubicBezTo>
                  <a:cubicBezTo>
                    <a:pt x="527028" y="51329"/>
                    <a:pt x="515708" y="41142"/>
                    <a:pt x="490594" y="34088"/>
                  </a:cubicBezTo>
                  <a:cubicBezTo>
                    <a:pt x="461390" y="25885"/>
                    <a:pt x="435955" y="40547"/>
                    <a:pt x="419774" y="54253"/>
                  </a:cubicBezTo>
                  <a:cubicBezTo>
                    <a:pt x="412946" y="60046"/>
                    <a:pt x="402791" y="56591"/>
                    <a:pt x="400107" y="48051"/>
                  </a:cubicBezTo>
                  <a:cubicBezTo>
                    <a:pt x="396661" y="37093"/>
                    <a:pt x="388354" y="25251"/>
                    <a:pt x="369554" y="18414"/>
                  </a:cubicBezTo>
                  <a:cubicBezTo>
                    <a:pt x="341700" y="8275"/>
                    <a:pt x="302213" y="31710"/>
                    <a:pt x="278987" y="48461"/>
                  </a:cubicBezTo>
                  <a:cubicBezTo>
                    <a:pt x="272729" y="52968"/>
                    <a:pt x="264293" y="48131"/>
                    <a:pt x="264775" y="40435"/>
                  </a:cubicBezTo>
                  <a:cubicBezTo>
                    <a:pt x="266085" y="19490"/>
                    <a:pt x="257922" y="-6885"/>
                    <a:pt x="204954" y="1647"/>
                  </a:cubicBezTo>
                  <a:cubicBezTo>
                    <a:pt x="152605" y="10074"/>
                    <a:pt x="131428" y="40274"/>
                    <a:pt x="122887" y="62086"/>
                  </a:cubicBezTo>
                  <a:cubicBezTo>
                    <a:pt x="119441" y="70900"/>
                    <a:pt x="108298" y="74105"/>
                    <a:pt x="100842" y="68280"/>
                  </a:cubicBezTo>
                  <a:cubicBezTo>
                    <a:pt x="87868" y="58150"/>
                    <a:pt x="67911" y="49995"/>
                    <a:pt x="43681" y="64448"/>
                  </a:cubicBezTo>
                  <a:cubicBezTo>
                    <a:pt x="0" y="90518"/>
                    <a:pt x="0" y="114034"/>
                    <a:pt x="0" y="114034"/>
                  </a:cubicBezTo>
                  <a:close/>
                </a:path>
              </a:pathLst>
            </a:custGeom>
            <a:solidFill>
              <a:srgbClr val="E6E6E6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2" name="Forma Livre: Forma 791">
              <a:extLst>
                <a:ext uri="{FF2B5EF4-FFF2-40B4-BE49-F238E27FC236}">
                  <a16:creationId xmlns:a16="http://schemas.microsoft.com/office/drawing/2014/main" id="{D9E146C7-1711-6568-02A9-A69D7DE2AB6A}"/>
                </a:ext>
              </a:extLst>
            </p:cNvPr>
            <p:cNvSpPr/>
            <p:nvPr/>
          </p:nvSpPr>
          <p:spPr>
            <a:xfrm>
              <a:off x="838151" y="1851733"/>
              <a:ext cx="276020" cy="68119"/>
            </a:xfrm>
            <a:custGeom>
              <a:avLst/>
              <a:gdLst>
                <a:gd name="connsiteX0" fmla="*/ 0 w 276020"/>
                <a:gd name="connsiteY0" fmla="*/ 58839 h 68119"/>
                <a:gd name="connsiteX1" fmla="*/ 259826 w 276020"/>
                <a:gd name="connsiteY1" fmla="*/ 60928 h 68119"/>
                <a:gd name="connsiteX2" fmla="*/ 274496 w 276020"/>
                <a:gd name="connsiteY2" fmla="*/ 32648 h 68119"/>
                <a:gd name="connsiteX3" fmla="*/ 253110 w 276020"/>
                <a:gd name="connsiteY3" fmla="*/ 17585 h 68119"/>
                <a:gd name="connsiteX4" fmla="*/ 216571 w 276020"/>
                <a:gd name="connsiteY4" fmla="*/ 27988 h 68119"/>
                <a:gd name="connsiteX5" fmla="*/ 206425 w 276020"/>
                <a:gd name="connsiteY5" fmla="*/ 24791 h 68119"/>
                <a:gd name="connsiteX6" fmla="*/ 190662 w 276020"/>
                <a:gd name="connsiteY6" fmla="*/ 9502 h 68119"/>
                <a:gd name="connsiteX7" fmla="*/ 143936 w 276020"/>
                <a:gd name="connsiteY7" fmla="*/ 25000 h 68119"/>
                <a:gd name="connsiteX8" fmla="*/ 136601 w 276020"/>
                <a:gd name="connsiteY8" fmla="*/ 20862 h 68119"/>
                <a:gd name="connsiteX9" fmla="*/ 105735 w 276020"/>
                <a:gd name="connsiteY9" fmla="*/ 850 h 68119"/>
                <a:gd name="connsiteX10" fmla="*/ 63396 w 276020"/>
                <a:gd name="connsiteY10" fmla="*/ 32030 h 68119"/>
                <a:gd name="connsiteX11" fmla="*/ 52020 w 276020"/>
                <a:gd name="connsiteY11" fmla="*/ 35227 h 68119"/>
                <a:gd name="connsiteX12" fmla="*/ 22527 w 276020"/>
                <a:gd name="connsiteY12" fmla="*/ 33251 h 68119"/>
                <a:gd name="connsiteX13" fmla="*/ 0 w 276020"/>
                <a:gd name="connsiteY13" fmla="*/ 58839 h 68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6020" h="68119">
                  <a:moveTo>
                    <a:pt x="0" y="58839"/>
                  </a:moveTo>
                  <a:cubicBezTo>
                    <a:pt x="0" y="58839"/>
                    <a:pt x="195908" y="78249"/>
                    <a:pt x="259826" y="60928"/>
                  </a:cubicBezTo>
                  <a:cubicBezTo>
                    <a:pt x="271998" y="57626"/>
                    <a:pt x="279381" y="44281"/>
                    <a:pt x="274496" y="32648"/>
                  </a:cubicBezTo>
                  <a:cubicBezTo>
                    <a:pt x="271901" y="26478"/>
                    <a:pt x="266069" y="21224"/>
                    <a:pt x="253110" y="17585"/>
                  </a:cubicBezTo>
                  <a:cubicBezTo>
                    <a:pt x="238046" y="13351"/>
                    <a:pt x="224919" y="20919"/>
                    <a:pt x="216571" y="27988"/>
                  </a:cubicBezTo>
                  <a:cubicBezTo>
                    <a:pt x="213045" y="30977"/>
                    <a:pt x="207806" y="29194"/>
                    <a:pt x="206425" y="24791"/>
                  </a:cubicBezTo>
                  <a:cubicBezTo>
                    <a:pt x="204649" y="19135"/>
                    <a:pt x="200359" y="13029"/>
                    <a:pt x="190662" y="9502"/>
                  </a:cubicBezTo>
                  <a:cubicBezTo>
                    <a:pt x="176289" y="4272"/>
                    <a:pt x="155915" y="16363"/>
                    <a:pt x="143936" y="25000"/>
                  </a:cubicBezTo>
                  <a:cubicBezTo>
                    <a:pt x="140707" y="27330"/>
                    <a:pt x="136360" y="24831"/>
                    <a:pt x="136601" y="20862"/>
                  </a:cubicBezTo>
                  <a:cubicBezTo>
                    <a:pt x="137276" y="10057"/>
                    <a:pt x="133066" y="-3553"/>
                    <a:pt x="105735" y="850"/>
                  </a:cubicBezTo>
                  <a:cubicBezTo>
                    <a:pt x="78725" y="5196"/>
                    <a:pt x="67799" y="20774"/>
                    <a:pt x="63396" y="32030"/>
                  </a:cubicBezTo>
                  <a:cubicBezTo>
                    <a:pt x="61620" y="36577"/>
                    <a:pt x="55868" y="38232"/>
                    <a:pt x="52020" y="35227"/>
                  </a:cubicBezTo>
                  <a:cubicBezTo>
                    <a:pt x="45328" y="29997"/>
                    <a:pt x="35028" y="25795"/>
                    <a:pt x="22527" y="33251"/>
                  </a:cubicBezTo>
                  <a:cubicBezTo>
                    <a:pt x="0" y="46708"/>
                    <a:pt x="0" y="58839"/>
                    <a:pt x="0" y="58839"/>
                  </a:cubicBezTo>
                  <a:close/>
                </a:path>
              </a:pathLst>
            </a:custGeom>
            <a:solidFill>
              <a:srgbClr val="E6E6E6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3" name="Forma Livre: Forma 792">
              <a:extLst>
                <a:ext uri="{FF2B5EF4-FFF2-40B4-BE49-F238E27FC236}">
                  <a16:creationId xmlns:a16="http://schemas.microsoft.com/office/drawing/2014/main" id="{0D521455-740E-DEA4-B241-77C2B5CADC42}"/>
                </a:ext>
              </a:extLst>
            </p:cNvPr>
            <p:cNvSpPr/>
            <p:nvPr/>
          </p:nvSpPr>
          <p:spPr>
            <a:xfrm>
              <a:off x="1169007" y="2053969"/>
              <a:ext cx="270245" cy="108886"/>
            </a:xfrm>
            <a:custGeom>
              <a:avLst/>
              <a:gdLst>
                <a:gd name="connsiteX0" fmla="*/ 673 w 270245"/>
                <a:gd name="connsiteY0" fmla="*/ 60071 h 108886"/>
                <a:gd name="connsiteX1" fmla="*/ 133450 w 270245"/>
                <a:gd name="connsiteY1" fmla="*/ 108877 h 108886"/>
                <a:gd name="connsiteX2" fmla="*/ 167780 w 270245"/>
                <a:gd name="connsiteY2" fmla="*/ 105615 h 108886"/>
                <a:gd name="connsiteX3" fmla="*/ 269216 w 270245"/>
                <a:gd name="connsiteY3" fmla="*/ 54246 h 108886"/>
                <a:gd name="connsiteX4" fmla="*/ 213396 w 270245"/>
                <a:gd name="connsiteY4" fmla="*/ 44292 h 108886"/>
                <a:gd name="connsiteX5" fmla="*/ 147389 w 270245"/>
                <a:gd name="connsiteY5" fmla="*/ 3070 h 108886"/>
                <a:gd name="connsiteX6" fmla="*/ 76409 w 270245"/>
                <a:gd name="connsiteY6" fmla="*/ 41311 h 108886"/>
                <a:gd name="connsiteX7" fmla="*/ 673 w 270245"/>
                <a:gd name="connsiteY7" fmla="*/ 60071 h 108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0245" h="108886">
                  <a:moveTo>
                    <a:pt x="673" y="60071"/>
                  </a:moveTo>
                  <a:cubicBezTo>
                    <a:pt x="-9185" y="102900"/>
                    <a:pt x="91826" y="108411"/>
                    <a:pt x="133450" y="108877"/>
                  </a:cubicBezTo>
                  <a:cubicBezTo>
                    <a:pt x="144995" y="109005"/>
                    <a:pt x="156468" y="107913"/>
                    <a:pt x="167780" y="105615"/>
                  </a:cubicBezTo>
                  <a:cubicBezTo>
                    <a:pt x="202976" y="98473"/>
                    <a:pt x="280022" y="79730"/>
                    <a:pt x="269216" y="54246"/>
                  </a:cubicBezTo>
                  <a:cubicBezTo>
                    <a:pt x="255277" y="21363"/>
                    <a:pt x="213396" y="44292"/>
                    <a:pt x="213396" y="44292"/>
                  </a:cubicBezTo>
                  <a:cubicBezTo>
                    <a:pt x="213396" y="44292"/>
                    <a:pt x="218651" y="19467"/>
                    <a:pt x="147389" y="3070"/>
                  </a:cubicBezTo>
                  <a:cubicBezTo>
                    <a:pt x="76128" y="-13328"/>
                    <a:pt x="76409" y="41311"/>
                    <a:pt x="76409" y="41311"/>
                  </a:cubicBezTo>
                  <a:cubicBezTo>
                    <a:pt x="76409" y="41311"/>
                    <a:pt x="13045" y="6259"/>
                    <a:pt x="673" y="60071"/>
                  </a:cubicBezTo>
                  <a:close/>
                </a:path>
              </a:pathLst>
            </a:custGeom>
            <a:solidFill>
              <a:srgbClr val="E6E6E6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4" name="Forma Livre: Forma 793">
              <a:extLst>
                <a:ext uri="{FF2B5EF4-FFF2-40B4-BE49-F238E27FC236}">
                  <a16:creationId xmlns:a16="http://schemas.microsoft.com/office/drawing/2014/main" id="{2D5D2F41-1225-AC7B-0B76-098C1CA4845E}"/>
                </a:ext>
              </a:extLst>
            </p:cNvPr>
            <p:cNvSpPr/>
            <p:nvPr/>
          </p:nvSpPr>
          <p:spPr>
            <a:xfrm>
              <a:off x="3104480" y="2326980"/>
              <a:ext cx="283151" cy="88984"/>
            </a:xfrm>
            <a:custGeom>
              <a:avLst/>
              <a:gdLst>
                <a:gd name="connsiteX0" fmla="*/ 283152 w 283151"/>
                <a:gd name="connsiteY0" fmla="*/ 88984 h 88984"/>
                <a:gd name="connsiteX1" fmla="*/ 6663 w 283151"/>
                <a:gd name="connsiteY1" fmla="*/ 88984 h 88984"/>
                <a:gd name="connsiteX2" fmla="*/ 6663 w 283151"/>
                <a:gd name="connsiteY2" fmla="*/ 57250 h 88984"/>
                <a:gd name="connsiteX3" fmla="*/ 31809 w 283151"/>
                <a:gd name="connsiteY3" fmla="*/ 53008 h 88984"/>
                <a:gd name="connsiteX4" fmla="*/ 42061 w 283151"/>
                <a:gd name="connsiteY4" fmla="*/ 46525 h 88984"/>
                <a:gd name="connsiteX5" fmla="*/ 63808 w 283151"/>
                <a:gd name="connsiteY5" fmla="*/ 22495 h 88984"/>
                <a:gd name="connsiteX6" fmla="*/ 93068 w 283151"/>
                <a:gd name="connsiteY6" fmla="*/ 34932 h 88984"/>
                <a:gd name="connsiteX7" fmla="*/ 100588 w 283151"/>
                <a:gd name="connsiteY7" fmla="*/ 34168 h 88984"/>
                <a:gd name="connsiteX8" fmla="*/ 174549 w 283151"/>
                <a:gd name="connsiteY8" fmla="*/ 0 h 88984"/>
                <a:gd name="connsiteX9" fmla="*/ 228593 w 283151"/>
                <a:gd name="connsiteY9" fmla="*/ 50871 h 88984"/>
                <a:gd name="connsiteX10" fmla="*/ 232497 w 283151"/>
                <a:gd name="connsiteY10" fmla="*/ 55571 h 88984"/>
                <a:gd name="connsiteX11" fmla="*/ 270956 w 283151"/>
                <a:gd name="connsiteY11" fmla="*/ 57266 h 88984"/>
                <a:gd name="connsiteX12" fmla="*/ 283152 w 283151"/>
                <a:gd name="connsiteY12" fmla="*/ 88984 h 8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3151" h="88984">
                  <a:moveTo>
                    <a:pt x="283152" y="88984"/>
                  </a:moveTo>
                  <a:lnTo>
                    <a:pt x="6663" y="88984"/>
                  </a:lnTo>
                  <a:cubicBezTo>
                    <a:pt x="6663" y="88984"/>
                    <a:pt x="-8329" y="70016"/>
                    <a:pt x="6663" y="57250"/>
                  </a:cubicBezTo>
                  <a:cubicBezTo>
                    <a:pt x="14938" y="50204"/>
                    <a:pt x="24707" y="50935"/>
                    <a:pt x="31809" y="53008"/>
                  </a:cubicBezTo>
                  <a:cubicBezTo>
                    <a:pt x="36437" y="54358"/>
                    <a:pt x="41048" y="51233"/>
                    <a:pt x="42061" y="46525"/>
                  </a:cubicBezTo>
                  <a:cubicBezTo>
                    <a:pt x="43740" y="38724"/>
                    <a:pt x="48921" y="28521"/>
                    <a:pt x="63808" y="22495"/>
                  </a:cubicBezTo>
                  <a:cubicBezTo>
                    <a:pt x="78454" y="16566"/>
                    <a:pt x="87709" y="25620"/>
                    <a:pt x="93068" y="34932"/>
                  </a:cubicBezTo>
                  <a:cubicBezTo>
                    <a:pt x="94828" y="37993"/>
                    <a:pt x="99527" y="37535"/>
                    <a:pt x="100588" y="34168"/>
                  </a:cubicBezTo>
                  <a:cubicBezTo>
                    <a:pt x="105231" y="19474"/>
                    <a:pt x="121404" y="0"/>
                    <a:pt x="174549" y="0"/>
                  </a:cubicBezTo>
                  <a:cubicBezTo>
                    <a:pt x="242146" y="0"/>
                    <a:pt x="234635" y="35936"/>
                    <a:pt x="228593" y="50871"/>
                  </a:cubicBezTo>
                  <a:cubicBezTo>
                    <a:pt x="227541" y="53466"/>
                    <a:pt x="229766" y="56149"/>
                    <a:pt x="232497" y="55571"/>
                  </a:cubicBezTo>
                  <a:cubicBezTo>
                    <a:pt x="242925" y="53337"/>
                    <a:pt x="262279" y="50453"/>
                    <a:pt x="270956" y="57266"/>
                  </a:cubicBezTo>
                  <a:cubicBezTo>
                    <a:pt x="283152" y="66818"/>
                    <a:pt x="283152" y="88984"/>
                    <a:pt x="283152" y="88984"/>
                  </a:cubicBezTo>
                  <a:close/>
                </a:path>
              </a:pathLst>
            </a:custGeom>
            <a:solidFill>
              <a:srgbClr val="E6E6E6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5" name="Forma Livre: Forma 794">
              <a:extLst>
                <a:ext uri="{FF2B5EF4-FFF2-40B4-BE49-F238E27FC236}">
                  <a16:creationId xmlns:a16="http://schemas.microsoft.com/office/drawing/2014/main" id="{C586D65D-D9AC-40F6-270C-23DDD293435D}"/>
                </a:ext>
              </a:extLst>
            </p:cNvPr>
            <p:cNvSpPr/>
            <p:nvPr/>
          </p:nvSpPr>
          <p:spPr>
            <a:xfrm>
              <a:off x="2133410" y="2011117"/>
              <a:ext cx="322662" cy="101412"/>
            </a:xfrm>
            <a:custGeom>
              <a:avLst/>
              <a:gdLst>
                <a:gd name="connsiteX0" fmla="*/ 0 w 322662"/>
                <a:gd name="connsiteY0" fmla="*/ 101413 h 101412"/>
                <a:gd name="connsiteX1" fmla="*/ 315068 w 322662"/>
                <a:gd name="connsiteY1" fmla="*/ 101413 h 101412"/>
                <a:gd name="connsiteX2" fmla="*/ 315068 w 322662"/>
                <a:gd name="connsiteY2" fmla="*/ 65252 h 101412"/>
                <a:gd name="connsiteX3" fmla="*/ 286419 w 322662"/>
                <a:gd name="connsiteY3" fmla="*/ 60415 h 101412"/>
                <a:gd name="connsiteX4" fmla="*/ 274737 w 322662"/>
                <a:gd name="connsiteY4" fmla="*/ 53032 h 101412"/>
                <a:gd name="connsiteX5" fmla="*/ 249961 w 322662"/>
                <a:gd name="connsiteY5" fmla="*/ 25644 h 101412"/>
                <a:gd name="connsiteX6" fmla="*/ 216612 w 322662"/>
                <a:gd name="connsiteY6" fmla="*/ 39816 h 101412"/>
                <a:gd name="connsiteX7" fmla="*/ 208039 w 322662"/>
                <a:gd name="connsiteY7" fmla="*/ 38941 h 101412"/>
                <a:gd name="connsiteX8" fmla="*/ 123755 w 322662"/>
                <a:gd name="connsiteY8" fmla="*/ 0 h 101412"/>
                <a:gd name="connsiteX9" fmla="*/ 62175 w 322662"/>
                <a:gd name="connsiteY9" fmla="*/ 57965 h 101412"/>
                <a:gd name="connsiteX10" fmla="*/ 57724 w 322662"/>
                <a:gd name="connsiteY10" fmla="*/ 63316 h 101412"/>
                <a:gd name="connsiteX11" fmla="*/ 13899 w 322662"/>
                <a:gd name="connsiteY11" fmla="*/ 65252 h 101412"/>
                <a:gd name="connsiteX12" fmla="*/ 0 w 322662"/>
                <a:gd name="connsiteY12" fmla="*/ 101413 h 101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2662" h="101412">
                  <a:moveTo>
                    <a:pt x="0" y="101413"/>
                  </a:moveTo>
                  <a:lnTo>
                    <a:pt x="315068" y="101413"/>
                  </a:lnTo>
                  <a:cubicBezTo>
                    <a:pt x="315068" y="101413"/>
                    <a:pt x="332156" y="79801"/>
                    <a:pt x="315068" y="65252"/>
                  </a:cubicBezTo>
                  <a:cubicBezTo>
                    <a:pt x="305636" y="57226"/>
                    <a:pt x="294501" y="58053"/>
                    <a:pt x="286419" y="60415"/>
                  </a:cubicBezTo>
                  <a:cubicBezTo>
                    <a:pt x="281148" y="61950"/>
                    <a:pt x="275894" y="58399"/>
                    <a:pt x="274737" y="53032"/>
                  </a:cubicBezTo>
                  <a:cubicBezTo>
                    <a:pt x="272817" y="44147"/>
                    <a:pt x="266920" y="32522"/>
                    <a:pt x="249961" y="25644"/>
                  </a:cubicBezTo>
                  <a:cubicBezTo>
                    <a:pt x="233274" y="18888"/>
                    <a:pt x="222717" y="29212"/>
                    <a:pt x="216612" y="39816"/>
                  </a:cubicBezTo>
                  <a:cubicBezTo>
                    <a:pt x="214603" y="43303"/>
                    <a:pt x="209252" y="42781"/>
                    <a:pt x="208039" y="38941"/>
                  </a:cubicBezTo>
                  <a:cubicBezTo>
                    <a:pt x="202753" y="22198"/>
                    <a:pt x="184315" y="0"/>
                    <a:pt x="123755" y="0"/>
                  </a:cubicBezTo>
                  <a:cubicBezTo>
                    <a:pt x="46725" y="0"/>
                    <a:pt x="55290" y="40949"/>
                    <a:pt x="62175" y="57965"/>
                  </a:cubicBezTo>
                  <a:cubicBezTo>
                    <a:pt x="63372" y="60922"/>
                    <a:pt x="60841" y="63982"/>
                    <a:pt x="57724" y="63316"/>
                  </a:cubicBezTo>
                  <a:cubicBezTo>
                    <a:pt x="45842" y="60777"/>
                    <a:pt x="23789" y="57483"/>
                    <a:pt x="13899" y="65252"/>
                  </a:cubicBezTo>
                  <a:cubicBezTo>
                    <a:pt x="0" y="76162"/>
                    <a:pt x="0" y="101413"/>
                    <a:pt x="0" y="101413"/>
                  </a:cubicBezTo>
                  <a:close/>
                </a:path>
              </a:pathLst>
            </a:custGeom>
            <a:solidFill>
              <a:srgbClr val="E6E6E6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6" name="Forma Livre: Forma 795">
              <a:extLst>
                <a:ext uri="{FF2B5EF4-FFF2-40B4-BE49-F238E27FC236}">
                  <a16:creationId xmlns:a16="http://schemas.microsoft.com/office/drawing/2014/main" id="{9450066B-3187-FE5D-B55D-883986CAC0A0}"/>
                </a:ext>
              </a:extLst>
            </p:cNvPr>
            <p:cNvSpPr/>
            <p:nvPr/>
          </p:nvSpPr>
          <p:spPr>
            <a:xfrm>
              <a:off x="1004622" y="2298845"/>
              <a:ext cx="383512" cy="531647"/>
            </a:xfrm>
            <a:custGeom>
              <a:avLst/>
              <a:gdLst>
                <a:gd name="connsiteX0" fmla="*/ 291794 w 383512"/>
                <a:gd name="connsiteY0" fmla="*/ 502315 h 531647"/>
                <a:gd name="connsiteX1" fmla="*/ 323753 w 383512"/>
                <a:gd name="connsiteY1" fmla="*/ 0 h 531647"/>
                <a:gd name="connsiteX2" fmla="*/ 14004 w 383512"/>
                <a:gd name="connsiteY2" fmla="*/ 531647 h 531647"/>
                <a:gd name="connsiteX3" fmla="*/ 291794 w 383512"/>
                <a:gd name="connsiteY3" fmla="*/ 502315 h 531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512" h="531647">
                  <a:moveTo>
                    <a:pt x="291794" y="502315"/>
                  </a:moveTo>
                  <a:cubicBezTo>
                    <a:pt x="291794" y="502315"/>
                    <a:pt x="474840" y="205798"/>
                    <a:pt x="323753" y="0"/>
                  </a:cubicBezTo>
                  <a:cubicBezTo>
                    <a:pt x="-100215" y="114990"/>
                    <a:pt x="14004" y="531647"/>
                    <a:pt x="14004" y="531647"/>
                  </a:cubicBezTo>
                  <a:lnTo>
                    <a:pt x="291794" y="502315"/>
                  </a:lnTo>
                  <a:close/>
                </a:path>
              </a:pathLst>
            </a:custGeom>
            <a:solidFill>
              <a:srgbClr val="EE730D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7" name="Forma Livre: Forma 796">
              <a:extLst>
                <a:ext uri="{FF2B5EF4-FFF2-40B4-BE49-F238E27FC236}">
                  <a16:creationId xmlns:a16="http://schemas.microsoft.com/office/drawing/2014/main" id="{B4896EF6-32D1-FAF0-55BF-A45F0522B8CF}"/>
                </a:ext>
              </a:extLst>
            </p:cNvPr>
            <p:cNvSpPr/>
            <p:nvPr/>
          </p:nvSpPr>
          <p:spPr>
            <a:xfrm>
              <a:off x="1063335" y="2298845"/>
              <a:ext cx="322459" cy="516254"/>
            </a:xfrm>
            <a:custGeom>
              <a:avLst/>
              <a:gdLst>
                <a:gd name="connsiteX0" fmla="*/ 265048 w 322459"/>
                <a:gd name="connsiteY0" fmla="*/ 0 h 516254"/>
                <a:gd name="connsiteX1" fmla="*/ 260670 w 322459"/>
                <a:gd name="connsiteY1" fmla="*/ 1221 h 516254"/>
                <a:gd name="connsiteX2" fmla="*/ 139108 w 322459"/>
                <a:gd name="connsiteY2" fmla="*/ 393399 h 516254"/>
                <a:gd name="connsiteX3" fmla="*/ 4523 w 322459"/>
                <a:gd name="connsiteY3" fmla="*/ 175550 h 516254"/>
                <a:gd name="connsiteX4" fmla="*/ 0 w 322459"/>
                <a:gd name="connsiteY4" fmla="*/ 182781 h 516254"/>
                <a:gd name="connsiteX5" fmla="*/ 136103 w 322459"/>
                <a:gd name="connsiteY5" fmla="*/ 403088 h 516254"/>
                <a:gd name="connsiteX6" fmla="*/ 101027 w 322459"/>
                <a:gd name="connsiteY6" fmla="*/ 516254 h 516254"/>
                <a:gd name="connsiteX7" fmla="*/ 109302 w 322459"/>
                <a:gd name="connsiteY7" fmla="*/ 515379 h 516254"/>
                <a:gd name="connsiteX8" fmla="*/ 179230 w 322459"/>
                <a:gd name="connsiteY8" fmla="*/ 289785 h 516254"/>
                <a:gd name="connsiteX9" fmla="*/ 179230 w 322459"/>
                <a:gd name="connsiteY9" fmla="*/ 289785 h 516254"/>
                <a:gd name="connsiteX10" fmla="*/ 321535 w 322459"/>
                <a:gd name="connsiteY10" fmla="*/ 247574 h 516254"/>
                <a:gd name="connsiteX11" fmla="*/ 322459 w 322459"/>
                <a:gd name="connsiteY11" fmla="*/ 239324 h 516254"/>
                <a:gd name="connsiteX12" fmla="*/ 181953 w 322459"/>
                <a:gd name="connsiteY12" fmla="*/ 280996 h 516254"/>
                <a:gd name="connsiteX13" fmla="*/ 267836 w 322459"/>
                <a:gd name="connsiteY13" fmla="*/ 3937 h 516254"/>
                <a:gd name="connsiteX14" fmla="*/ 265048 w 322459"/>
                <a:gd name="connsiteY14" fmla="*/ 0 h 516254"/>
                <a:gd name="connsiteX15" fmla="*/ 265048 w 322459"/>
                <a:gd name="connsiteY15" fmla="*/ 0 h 516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2459" h="516254">
                  <a:moveTo>
                    <a:pt x="265048" y="0"/>
                  </a:moveTo>
                  <a:cubicBezTo>
                    <a:pt x="263570" y="402"/>
                    <a:pt x="262132" y="819"/>
                    <a:pt x="260670" y="1221"/>
                  </a:cubicBezTo>
                  <a:lnTo>
                    <a:pt x="139108" y="393399"/>
                  </a:lnTo>
                  <a:lnTo>
                    <a:pt x="4523" y="175550"/>
                  </a:lnTo>
                  <a:cubicBezTo>
                    <a:pt x="2981" y="177952"/>
                    <a:pt x="1478" y="180362"/>
                    <a:pt x="0" y="182781"/>
                  </a:cubicBezTo>
                  <a:lnTo>
                    <a:pt x="136103" y="403088"/>
                  </a:lnTo>
                  <a:lnTo>
                    <a:pt x="101027" y="516254"/>
                  </a:lnTo>
                  <a:lnTo>
                    <a:pt x="109302" y="515379"/>
                  </a:lnTo>
                  <a:lnTo>
                    <a:pt x="179230" y="289785"/>
                  </a:lnTo>
                  <a:lnTo>
                    <a:pt x="179230" y="289785"/>
                  </a:lnTo>
                  <a:lnTo>
                    <a:pt x="321535" y="247574"/>
                  </a:lnTo>
                  <a:cubicBezTo>
                    <a:pt x="321857" y="244827"/>
                    <a:pt x="322178" y="242079"/>
                    <a:pt x="322459" y="239324"/>
                  </a:cubicBezTo>
                  <a:lnTo>
                    <a:pt x="181953" y="280996"/>
                  </a:lnTo>
                  <a:lnTo>
                    <a:pt x="267836" y="3937"/>
                  </a:lnTo>
                  <a:cubicBezTo>
                    <a:pt x="266888" y="2635"/>
                    <a:pt x="266004" y="1309"/>
                    <a:pt x="265048" y="0"/>
                  </a:cubicBezTo>
                  <a:lnTo>
                    <a:pt x="265048" y="0"/>
                  </a:lnTo>
                  <a:close/>
                </a:path>
              </a:pathLst>
            </a:custGeom>
            <a:solidFill>
              <a:srgbClr val="FFFFFF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8" name="Forma Livre: Forma 797">
              <a:extLst>
                <a:ext uri="{FF2B5EF4-FFF2-40B4-BE49-F238E27FC236}">
                  <a16:creationId xmlns:a16="http://schemas.microsoft.com/office/drawing/2014/main" id="{0C62D541-C725-BAD1-2896-85C93205CABB}"/>
                </a:ext>
              </a:extLst>
            </p:cNvPr>
            <p:cNvSpPr/>
            <p:nvPr/>
          </p:nvSpPr>
          <p:spPr>
            <a:xfrm>
              <a:off x="838145" y="2271369"/>
              <a:ext cx="388528" cy="637968"/>
            </a:xfrm>
            <a:custGeom>
              <a:avLst/>
              <a:gdLst>
                <a:gd name="connsiteX0" fmla="*/ 310238 w 388528"/>
                <a:gd name="connsiteY0" fmla="*/ 637969 h 637968"/>
                <a:gd name="connsiteX1" fmla="*/ 388529 w 388528"/>
                <a:gd name="connsiteY1" fmla="*/ 434171 h 637968"/>
                <a:gd name="connsiteX2" fmla="*/ 118596 w 388528"/>
                <a:gd name="connsiteY2" fmla="*/ 0 h 637968"/>
                <a:gd name="connsiteX3" fmla="*/ 60703 w 388528"/>
                <a:gd name="connsiteY3" fmla="*/ 471666 h 637968"/>
                <a:gd name="connsiteX4" fmla="*/ 283862 w 388528"/>
                <a:gd name="connsiteY4" fmla="*/ 637969 h 637968"/>
                <a:gd name="connsiteX5" fmla="*/ 310238 w 388528"/>
                <a:gd name="connsiteY5" fmla="*/ 637969 h 63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8528" h="637968">
                  <a:moveTo>
                    <a:pt x="310238" y="637969"/>
                  </a:moveTo>
                  <a:lnTo>
                    <a:pt x="388529" y="434171"/>
                  </a:lnTo>
                  <a:cubicBezTo>
                    <a:pt x="388529" y="434171"/>
                    <a:pt x="346238" y="89257"/>
                    <a:pt x="118596" y="0"/>
                  </a:cubicBezTo>
                  <a:cubicBezTo>
                    <a:pt x="-108757" y="186492"/>
                    <a:pt x="60703" y="471666"/>
                    <a:pt x="60703" y="471666"/>
                  </a:cubicBezTo>
                  <a:lnTo>
                    <a:pt x="283862" y="637969"/>
                  </a:lnTo>
                  <a:lnTo>
                    <a:pt x="310238" y="637969"/>
                  </a:lnTo>
                  <a:close/>
                </a:path>
              </a:pathLst>
            </a:custGeom>
            <a:solidFill>
              <a:srgbClr val="114585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9" name="Forma Livre: Forma 798">
              <a:extLst>
                <a:ext uri="{FF2B5EF4-FFF2-40B4-BE49-F238E27FC236}">
                  <a16:creationId xmlns:a16="http://schemas.microsoft.com/office/drawing/2014/main" id="{BE925408-2F19-09D5-7CF3-AF4EAC0EEC17}"/>
                </a:ext>
              </a:extLst>
            </p:cNvPr>
            <p:cNvSpPr/>
            <p:nvPr/>
          </p:nvSpPr>
          <p:spPr>
            <a:xfrm>
              <a:off x="850499" y="2271353"/>
              <a:ext cx="302944" cy="637984"/>
            </a:xfrm>
            <a:custGeom>
              <a:avLst/>
              <a:gdLst>
                <a:gd name="connsiteX0" fmla="*/ 284426 w 302944"/>
                <a:gd name="connsiteY0" fmla="*/ 637985 h 637984"/>
                <a:gd name="connsiteX1" fmla="*/ 292388 w 302944"/>
                <a:gd name="connsiteY1" fmla="*/ 637985 h 637984"/>
                <a:gd name="connsiteX2" fmla="*/ 200793 w 302944"/>
                <a:gd name="connsiteY2" fmla="*/ 315895 h 637984"/>
                <a:gd name="connsiteX3" fmla="*/ 302945 w 302944"/>
                <a:gd name="connsiteY3" fmla="*/ 197973 h 637984"/>
                <a:gd name="connsiteX4" fmla="*/ 299185 w 302944"/>
                <a:gd name="connsiteY4" fmla="*/ 190622 h 637984"/>
                <a:gd name="connsiteX5" fmla="*/ 198286 w 302944"/>
                <a:gd name="connsiteY5" fmla="*/ 307090 h 637984"/>
                <a:gd name="connsiteX6" fmla="*/ 111592 w 302944"/>
                <a:gd name="connsiteY6" fmla="*/ 2217 h 637984"/>
                <a:gd name="connsiteX7" fmla="*/ 106249 w 302944"/>
                <a:gd name="connsiteY7" fmla="*/ 0 h 637984"/>
                <a:gd name="connsiteX8" fmla="*/ 103638 w 302944"/>
                <a:gd name="connsiteY8" fmla="*/ 2217 h 637984"/>
                <a:gd name="connsiteX9" fmla="*/ 150074 w 302944"/>
                <a:gd name="connsiteY9" fmla="*/ 165500 h 637984"/>
                <a:gd name="connsiteX10" fmla="*/ 20848 w 302944"/>
                <a:gd name="connsiteY10" fmla="*/ 103895 h 637984"/>
                <a:gd name="connsiteX11" fmla="*/ 19057 w 302944"/>
                <a:gd name="connsiteY11" fmla="*/ 107535 h 637984"/>
                <a:gd name="connsiteX12" fmla="*/ 17514 w 302944"/>
                <a:gd name="connsiteY12" fmla="*/ 110772 h 637984"/>
                <a:gd name="connsiteX13" fmla="*/ 152862 w 302944"/>
                <a:gd name="connsiteY13" fmla="*/ 175293 h 637984"/>
                <a:gd name="connsiteX14" fmla="*/ 230245 w 302944"/>
                <a:gd name="connsiteY14" fmla="*/ 447411 h 637984"/>
                <a:gd name="connsiteX15" fmla="*/ 0 w 302944"/>
                <a:gd name="connsiteY15" fmla="*/ 346529 h 637984"/>
                <a:gd name="connsiteX16" fmla="*/ 2354 w 302944"/>
                <a:gd name="connsiteY16" fmla="*/ 355913 h 637984"/>
                <a:gd name="connsiteX17" fmla="*/ 232961 w 302944"/>
                <a:gd name="connsiteY17" fmla="*/ 456956 h 637984"/>
                <a:gd name="connsiteX18" fmla="*/ 284426 w 302944"/>
                <a:gd name="connsiteY18" fmla="*/ 637985 h 637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02944" h="637984">
                  <a:moveTo>
                    <a:pt x="284426" y="637985"/>
                  </a:moveTo>
                  <a:lnTo>
                    <a:pt x="292388" y="637985"/>
                  </a:lnTo>
                  <a:lnTo>
                    <a:pt x="200793" y="315895"/>
                  </a:lnTo>
                  <a:lnTo>
                    <a:pt x="302945" y="197973"/>
                  </a:lnTo>
                  <a:cubicBezTo>
                    <a:pt x="301715" y="195523"/>
                    <a:pt x="300454" y="193072"/>
                    <a:pt x="299185" y="190622"/>
                  </a:cubicBezTo>
                  <a:lnTo>
                    <a:pt x="198286" y="307090"/>
                  </a:lnTo>
                  <a:lnTo>
                    <a:pt x="111592" y="2217"/>
                  </a:lnTo>
                  <a:cubicBezTo>
                    <a:pt x="109808" y="1478"/>
                    <a:pt x="108057" y="707"/>
                    <a:pt x="106249" y="0"/>
                  </a:cubicBezTo>
                  <a:cubicBezTo>
                    <a:pt x="105357" y="731"/>
                    <a:pt x="104522" y="1486"/>
                    <a:pt x="103638" y="2217"/>
                  </a:cubicBezTo>
                  <a:lnTo>
                    <a:pt x="150074" y="165500"/>
                  </a:lnTo>
                  <a:lnTo>
                    <a:pt x="20848" y="103895"/>
                  </a:lnTo>
                  <a:cubicBezTo>
                    <a:pt x="20230" y="105108"/>
                    <a:pt x="19659" y="106322"/>
                    <a:pt x="19057" y="107535"/>
                  </a:cubicBezTo>
                  <a:lnTo>
                    <a:pt x="17514" y="110772"/>
                  </a:lnTo>
                  <a:lnTo>
                    <a:pt x="152862" y="175293"/>
                  </a:lnTo>
                  <a:lnTo>
                    <a:pt x="230245" y="447411"/>
                  </a:lnTo>
                  <a:lnTo>
                    <a:pt x="0" y="346529"/>
                  </a:lnTo>
                  <a:cubicBezTo>
                    <a:pt x="763" y="349694"/>
                    <a:pt x="1543" y="352828"/>
                    <a:pt x="2354" y="355913"/>
                  </a:cubicBezTo>
                  <a:lnTo>
                    <a:pt x="232961" y="456956"/>
                  </a:lnTo>
                  <a:lnTo>
                    <a:pt x="284426" y="637985"/>
                  </a:lnTo>
                  <a:close/>
                </a:path>
              </a:pathLst>
            </a:custGeom>
            <a:solidFill>
              <a:srgbClr val="E6E6E6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0" name="Forma Livre: Forma 799">
              <a:extLst>
                <a:ext uri="{FF2B5EF4-FFF2-40B4-BE49-F238E27FC236}">
                  <a16:creationId xmlns:a16="http://schemas.microsoft.com/office/drawing/2014/main" id="{0EB45C4F-FD82-3DEF-7D1C-D8AE945A51C6}"/>
                </a:ext>
              </a:extLst>
            </p:cNvPr>
            <p:cNvSpPr/>
            <p:nvPr/>
          </p:nvSpPr>
          <p:spPr>
            <a:xfrm>
              <a:off x="726823" y="2667224"/>
              <a:ext cx="394091" cy="432871"/>
            </a:xfrm>
            <a:custGeom>
              <a:avLst/>
              <a:gdLst>
                <a:gd name="connsiteX0" fmla="*/ 213745 w 394091"/>
                <a:gd name="connsiteY0" fmla="*/ 377084 h 432871"/>
                <a:gd name="connsiteX1" fmla="*/ 329434 w 394091"/>
                <a:gd name="connsiteY1" fmla="*/ 377084 h 432871"/>
                <a:gd name="connsiteX2" fmla="*/ 329434 w 394091"/>
                <a:gd name="connsiteY2" fmla="*/ 242114 h 432871"/>
                <a:gd name="connsiteX3" fmla="*/ 394091 w 394091"/>
                <a:gd name="connsiteY3" fmla="*/ 242114 h 432871"/>
                <a:gd name="connsiteX4" fmla="*/ 384595 w 394091"/>
                <a:gd name="connsiteY4" fmla="*/ 158151 h 432871"/>
                <a:gd name="connsiteX5" fmla="*/ 7457 w 394091"/>
                <a:gd name="connsiteY5" fmla="*/ 14158 h 432871"/>
                <a:gd name="connsiteX6" fmla="*/ 213753 w 394091"/>
                <a:gd name="connsiteY6" fmla="*/ 432872 h 432871"/>
                <a:gd name="connsiteX7" fmla="*/ 213753 w 394091"/>
                <a:gd name="connsiteY7" fmla="*/ 377084 h 432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4091" h="432871">
                  <a:moveTo>
                    <a:pt x="213745" y="377084"/>
                  </a:moveTo>
                  <a:lnTo>
                    <a:pt x="329434" y="377084"/>
                  </a:lnTo>
                  <a:lnTo>
                    <a:pt x="329434" y="242114"/>
                  </a:lnTo>
                  <a:lnTo>
                    <a:pt x="394091" y="242114"/>
                  </a:lnTo>
                  <a:lnTo>
                    <a:pt x="384595" y="158151"/>
                  </a:lnTo>
                  <a:cubicBezTo>
                    <a:pt x="384595" y="158151"/>
                    <a:pt x="189129" y="-56131"/>
                    <a:pt x="7457" y="14158"/>
                  </a:cubicBezTo>
                  <a:cubicBezTo>
                    <a:pt x="-31837" y="223563"/>
                    <a:pt x="91098" y="355497"/>
                    <a:pt x="213753" y="432872"/>
                  </a:cubicBezTo>
                  <a:lnTo>
                    <a:pt x="213753" y="377084"/>
                  </a:lnTo>
                  <a:close/>
                </a:path>
              </a:pathLst>
            </a:custGeom>
            <a:solidFill>
              <a:srgbClr val="FFC000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1" name="Forma Livre: Forma 800">
              <a:extLst>
                <a:ext uri="{FF2B5EF4-FFF2-40B4-BE49-F238E27FC236}">
                  <a16:creationId xmlns:a16="http://schemas.microsoft.com/office/drawing/2014/main" id="{82C69455-4D68-1C16-A505-B9AF2A8D0A02}"/>
                </a:ext>
              </a:extLst>
            </p:cNvPr>
            <p:cNvSpPr/>
            <p:nvPr/>
          </p:nvSpPr>
          <p:spPr>
            <a:xfrm>
              <a:off x="733469" y="2679920"/>
              <a:ext cx="322788" cy="312207"/>
            </a:xfrm>
            <a:custGeom>
              <a:avLst/>
              <a:gdLst>
                <a:gd name="connsiteX0" fmla="*/ 322788 w 322788"/>
                <a:gd name="connsiteY0" fmla="*/ 298727 h 312207"/>
                <a:gd name="connsiteX1" fmla="*/ 186211 w 322788"/>
                <a:gd name="connsiteY1" fmla="*/ 170400 h 312207"/>
                <a:gd name="connsiteX2" fmla="*/ 180298 w 322788"/>
                <a:gd name="connsiteY2" fmla="*/ 7946 h 312207"/>
                <a:gd name="connsiteX3" fmla="*/ 172537 w 322788"/>
                <a:gd name="connsiteY3" fmla="*/ 5061 h 312207"/>
                <a:gd name="connsiteX4" fmla="*/ 178282 w 322788"/>
                <a:gd name="connsiteY4" fmla="*/ 162953 h 312207"/>
                <a:gd name="connsiteX5" fmla="*/ 4836 w 322788"/>
                <a:gd name="connsiteY5" fmla="*/ 0 h 312207"/>
                <a:gd name="connsiteX6" fmla="*/ 803 w 322788"/>
                <a:gd name="connsiteY6" fmla="*/ 1462 h 312207"/>
                <a:gd name="connsiteX7" fmla="*/ 795 w 322788"/>
                <a:gd name="connsiteY7" fmla="*/ 1470 h 312207"/>
                <a:gd name="connsiteX8" fmla="*/ 0 w 322788"/>
                <a:gd name="connsiteY8" fmla="*/ 5969 h 312207"/>
                <a:gd name="connsiteX9" fmla="*/ 286274 w 322788"/>
                <a:gd name="connsiteY9" fmla="*/ 274938 h 312207"/>
                <a:gd name="connsiteX10" fmla="*/ 74619 w 322788"/>
                <a:gd name="connsiteY10" fmla="*/ 305291 h 312207"/>
                <a:gd name="connsiteX11" fmla="*/ 80316 w 322788"/>
                <a:gd name="connsiteY11" fmla="*/ 312208 h 312207"/>
                <a:gd name="connsiteX12" fmla="*/ 293416 w 322788"/>
                <a:gd name="connsiteY12" fmla="*/ 281655 h 312207"/>
                <a:gd name="connsiteX13" fmla="*/ 322788 w 322788"/>
                <a:gd name="connsiteY13" fmla="*/ 309251 h 312207"/>
                <a:gd name="connsiteX14" fmla="*/ 322788 w 322788"/>
                <a:gd name="connsiteY14" fmla="*/ 298727 h 312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22788" h="312207">
                  <a:moveTo>
                    <a:pt x="322788" y="298727"/>
                  </a:moveTo>
                  <a:lnTo>
                    <a:pt x="186211" y="170400"/>
                  </a:lnTo>
                  <a:lnTo>
                    <a:pt x="180298" y="7946"/>
                  </a:lnTo>
                  <a:cubicBezTo>
                    <a:pt x="177719" y="6957"/>
                    <a:pt x="175140" y="5993"/>
                    <a:pt x="172537" y="5061"/>
                  </a:cubicBezTo>
                  <a:lnTo>
                    <a:pt x="178282" y="162953"/>
                  </a:lnTo>
                  <a:lnTo>
                    <a:pt x="4836" y="0"/>
                  </a:lnTo>
                  <a:cubicBezTo>
                    <a:pt x="3495" y="490"/>
                    <a:pt x="2145" y="940"/>
                    <a:pt x="803" y="1462"/>
                  </a:cubicBezTo>
                  <a:lnTo>
                    <a:pt x="795" y="1470"/>
                  </a:lnTo>
                  <a:cubicBezTo>
                    <a:pt x="514" y="2981"/>
                    <a:pt x="265" y="4467"/>
                    <a:pt x="0" y="5969"/>
                  </a:cubicBezTo>
                  <a:lnTo>
                    <a:pt x="286274" y="274938"/>
                  </a:lnTo>
                  <a:lnTo>
                    <a:pt x="74619" y="305291"/>
                  </a:lnTo>
                  <a:cubicBezTo>
                    <a:pt x="76491" y="307620"/>
                    <a:pt x="78395" y="309918"/>
                    <a:pt x="80316" y="312208"/>
                  </a:cubicBezTo>
                  <a:lnTo>
                    <a:pt x="293416" y="281655"/>
                  </a:lnTo>
                  <a:lnTo>
                    <a:pt x="322788" y="309251"/>
                  </a:lnTo>
                  <a:lnTo>
                    <a:pt x="322788" y="298727"/>
                  </a:lnTo>
                  <a:close/>
                </a:path>
              </a:pathLst>
            </a:custGeom>
            <a:solidFill>
              <a:srgbClr val="FFFFFF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2" name="Forma Livre: Forma 801">
              <a:extLst>
                <a:ext uri="{FF2B5EF4-FFF2-40B4-BE49-F238E27FC236}">
                  <a16:creationId xmlns:a16="http://schemas.microsoft.com/office/drawing/2014/main" id="{ADBE0964-E08B-6987-A0D1-29C22368E1F2}"/>
                </a:ext>
              </a:extLst>
            </p:cNvPr>
            <p:cNvSpPr/>
            <p:nvPr/>
          </p:nvSpPr>
          <p:spPr>
            <a:xfrm>
              <a:off x="2844899" y="1588554"/>
              <a:ext cx="238029" cy="174903"/>
            </a:xfrm>
            <a:custGeom>
              <a:avLst/>
              <a:gdLst>
                <a:gd name="connsiteX0" fmla="*/ 84878 w 238029"/>
                <a:gd name="connsiteY0" fmla="*/ 150862 h 174903"/>
                <a:gd name="connsiteX1" fmla="*/ 3180 w 238029"/>
                <a:gd name="connsiteY1" fmla="*/ 83577 h 174903"/>
                <a:gd name="connsiteX2" fmla="*/ 181598 w 238029"/>
                <a:gd name="connsiteY2" fmla="*/ 94994 h 174903"/>
                <a:gd name="connsiteX3" fmla="*/ 191159 w 238029"/>
                <a:gd name="connsiteY3" fmla="*/ 836 h 174903"/>
                <a:gd name="connsiteX4" fmla="*/ 222909 w 238029"/>
                <a:gd name="connsiteY4" fmla="*/ 0 h 174903"/>
                <a:gd name="connsiteX5" fmla="*/ 221069 w 238029"/>
                <a:gd name="connsiteY5" fmla="*/ 154124 h 174903"/>
                <a:gd name="connsiteX6" fmla="*/ 84878 w 238029"/>
                <a:gd name="connsiteY6" fmla="*/ 150862 h 174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8029" h="174903">
                  <a:moveTo>
                    <a:pt x="84878" y="150862"/>
                  </a:moveTo>
                  <a:cubicBezTo>
                    <a:pt x="62905" y="140626"/>
                    <a:pt x="-16784" y="117593"/>
                    <a:pt x="3180" y="83577"/>
                  </a:cubicBezTo>
                  <a:cubicBezTo>
                    <a:pt x="38923" y="22672"/>
                    <a:pt x="181598" y="94994"/>
                    <a:pt x="181598" y="94994"/>
                  </a:cubicBezTo>
                  <a:cubicBezTo>
                    <a:pt x="186049" y="46284"/>
                    <a:pt x="199675" y="52831"/>
                    <a:pt x="191159" y="836"/>
                  </a:cubicBezTo>
                  <a:lnTo>
                    <a:pt x="222909" y="0"/>
                  </a:lnTo>
                  <a:cubicBezTo>
                    <a:pt x="245701" y="35735"/>
                    <a:pt x="240785" y="123217"/>
                    <a:pt x="221069" y="154124"/>
                  </a:cubicBezTo>
                  <a:cubicBezTo>
                    <a:pt x="193376" y="197515"/>
                    <a:pt x="106850" y="161097"/>
                    <a:pt x="84878" y="150862"/>
                  </a:cubicBezTo>
                  <a:close/>
                </a:path>
              </a:pathLst>
            </a:custGeom>
            <a:solidFill>
              <a:srgbClr val="EE730D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3" name="Forma Livre: Forma 802">
              <a:extLst>
                <a:ext uri="{FF2B5EF4-FFF2-40B4-BE49-F238E27FC236}">
                  <a16:creationId xmlns:a16="http://schemas.microsoft.com/office/drawing/2014/main" id="{E9368297-B1DB-AFC3-77DF-AD0C6F811DE7}"/>
                </a:ext>
              </a:extLst>
            </p:cNvPr>
            <p:cNvSpPr/>
            <p:nvPr/>
          </p:nvSpPr>
          <p:spPr>
            <a:xfrm>
              <a:off x="2738510" y="1648190"/>
              <a:ext cx="201734" cy="255327"/>
            </a:xfrm>
            <a:custGeom>
              <a:avLst/>
              <a:gdLst>
                <a:gd name="connsiteX0" fmla="*/ 18207 w 201734"/>
                <a:gd name="connsiteY0" fmla="*/ 194791 h 255327"/>
                <a:gd name="connsiteX1" fmla="*/ 15853 w 201734"/>
                <a:gd name="connsiteY1" fmla="*/ 255327 h 255327"/>
                <a:gd name="connsiteX2" fmla="*/ 201735 w 201734"/>
                <a:gd name="connsiteY2" fmla="*/ 255327 h 255327"/>
                <a:gd name="connsiteX3" fmla="*/ 191427 w 201734"/>
                <a:gd name="connsiteY3" fmla="*/ 48260 h 255327"/>
                <a:gd name="connsiteX4" fmla="*/ 103391 w 201734"/>
                <a:gd name="connsiteY4" fmla="*/ 0 h 255327"/>
                <a:gd name="connsiteX5" fmla="*/ 12631 w 201734"/>
                <a:gd name="connsiteY5" fmla="*/ 30617 h 255327"/>
                <a:gd name="connsiteX6" fmla="*/ 18207 w 201734"/>
                <a:gd name="connsiteY6" fmla="*/ 194791 h 255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1734" h="255327">
                  <a:moveTo>
                    <a:pt x="18207" y="194791"/>
                  </a:moveTo>
                  <a:cubicBezTo>
                    <a:pt x="20143" y="218917"/>
                    <a:pt x="16753" y="230840"/>
                    <a:pt x="15853" y="255327"/>
                  </a:cubicBezTo>
                  <a:lnTo>
                    <a:pt x="201735" y="255327"/>
                  </a:lnTo>
                  <a:cubicBezTo>
                    <a:pt x="196529" y="173060"/>
                    <a:pt x="199638" y="78034"/>
                    <a:pt x="191427" y="48260"/>
                  </a:cubicBezTo>
                  <a:cubicBezTo>
                    <a:pt x="180935" y="10179"/>
                    <a:pt x="177842" y="0"/>
                    <a:pt x="103391" y="0"/>
                  </a:cubicBezTo>
                  <a:cubicBezTo>
                    <a:pt x="4533" y="0"/>
                    <a:pt x="12631" y="30617"/>
                    <a:pt x="12631" y="30617"/>
                  </a:cubicBezTo>
                  <a:cubicBezTo>
                    <a:pt x="-16902" y="61130"/>
                    <a:pt x="14053" y="143037"/>
                    <a:pt x="18207" y="194791"/>
                  </a:cubicBezTo>
                  <a:close/>
                </a:path>
              </a:pathLst>
            </a:custGeom>
            <a:solidFill>
              <a:srgbClr val="EE730D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4" name="Forma Livre: Forma 803">
              <a:extLst>
                <a:ext uri="{FF2B5EF4-FFF2-40B4-BE49-F238E27FC236}">
                  <a16:creationId xmlns:a16="http://schemas.microsoft.com/office/drawing/2014/main" id="{3E22A733-92BF-3D83-ADD8-6345CA32EC92}"/>
                </a:ext>
              </a:extLst>
            </p:cNvPr>
            <p:cNvSpPr/>
            <p:nvPr/>
          </p:nvSpPr>
          <p:spPr>
            <a:xfrm>
              <a:off x="2791380" y="1586441"/>
              <a:ext cx="28254" cy="29891"/>
            </a:xfrm>
            <a:custGeom>
              <a:avLst/>
              <a:gdLst>
                <a:gd name="connsiteX0" fmla="*/ 22724 w 28254"/>
                <a:gd name="connsiteY0" fmla="*/ 0 h 29891"/>
                <a:gd name="connsiteX1" fmla="*/ 1506 w 28254"/>
                <a:gd name="connsiteY1" fmla="*/ 0 h 29891"/>
                <a:gd name="connsiteX2" fmla="*/ 20 w 28254"/>
                <a:gd name="connsiteY2" fmla="*/ 6732 h 29891"/>
                <a:gd name="connsiteX3" fmla="*/ 10416 w 28254"/>
                <a:gd name="connsiteY3" fmla="*/ 14317 h 29891"/>
                <a:gd name="connsiteX4" fmla="*/ 22836 w 28254"/>
                <a:gd name="connsiteY4" fmla="*/ 29798 h 29891"/>
                <a:gd name="connsiteX5" fmla="*/ 27279 w 28254"/>
                <a:gd name="connsiteY5" fmla="*/ 10814 h 29891"/>
                <a:gd name="connsiteX6" fmla="*/ 22724 w 28254"/>
                <a:gd name="connsiteY6" fmla="*/ 0 h 29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254" h="29891">
                  <a:moveTo>
                    <a:pt x="22724" y="0"/>
                  </a:moveTo>
                  <a:lnTo>
                    <a:pt x="1506" y="0"/>
                  </a:lnTo>
                  <a:cubicBezTo>
                    <a:pt x="614" y="2298"/>
                    <a:pt x="-133" y="4869"/>
                    <a:pt x="20" y="6732"/>
                  </a:cubicBezTo>
                  <a:cubicBezTo>
                    <a:pt x="285" y="10050"/>
                    <a:pt x="4961" y="14317"/>
                    <a:pt x="10416" y="14317"/>
                  </a:cubicBezTo>
                  <a:cubicBezTo>
                    <a:pt x="11613" y="22495"/>
                    <a:pt x="18562" y="30875"/>
                    <a:pt x="22836" y="29798"/>
                  </a:cubicBezTo>
                  <a:cubicBezTo>
                    <a:pt x="27625" y="28593"/>
                    <a:pt x="29609" y="20093"/>
                    <a:pt x="27279" y="10814"/>
                  </a:cubicBezTo>
                  <a:cubicBezTo>
                    <a:pt x="26323" y="7006"/>
                    <a:pt x="24532" y="3133"/>
                    <a:pt x="22724" y="0"/>
                  </a:cubicBezTo>
                  <a:close/>
                </a:path>
              </a:pathLst>
            </a:custGeom>
            <a:solidFill>
              <a:schemeClr val="tx2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5" name="Forma Livre: Forma 804">
              <a:extLst>
                <a:ext uri="{FF2B5EF4-FFF2-40B4-BE49-F238E27FC236}">
                  <a16:creationId xmlns:a16="http://schemas.microsoft.com/office/drawing/2014/main" id="{2EFB4F23-9F13-D698-A855-C3A75E240F20}"/>
                </a:ext>
              </a:extLst>
            </p:cNvPr>
            <p:cNvSpPr/>
            <p:nvPr/>
          </p:nvSpPr>
          <p:spPr>
            <a:xfrm>
              <a:off x="2816104" y="1588257"/>
              <a:ext cx="52373" cy="73214"/>
            </a:xfrm>
            <a:custGeom>
              <a:avLst/>
              <a:gdLst>
                <a:gd name="connsiteX0" fmla="*/ 0 w 52373"/>
                <a:gd name="connsiteY0" fmla="*/ 0 h 73214"/>
                <a:gd name="connsiteX1" fmla="*/ 169 w 52373"/>
                <a:gd name="connsiteY1" fmla="*/ 53386 h 73214"/>
                <a:gd name="connsiteX2" fmla="*/ 33590 w 52373"/>
                <a:gd name="connsiteY2" fmla="*/ 72804 h 73214"/>
                <a:gd name="connsiteX3" fmla="*/ 52373 w 52373"/>
                <a:gd name="connsiteY3" fmla="*/ 61733 h 73214"/>
                <a:gd name="connsiteX4" fmla="*/ 47055 w 52373"/>
                <a:gd name="connsiteY4" fmla="*/ 29533 h 73214"/>
                <a:gd name="connsiteX5" fmla="*/ 0 w 52373"/>
                <a:gd name="connsiteY5" fmla="*/ 0 h 73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73" h="73214">
                  <a:moveTo>
                    <a:pt x="0" y="0"/>
                  </a:moveTo>
                  <a:lnTo>
                    <a:pt x="169" y="53386"/>
                  </a:lnTo>
                  <a:cubicBezTo>
                    <a:pt x="169" y="53386"/>
                    <a:pt x="15570" y="76556"/>
                    <a:pt x="33590" y="72804"/>
                  </a:cubicBezTo>
                  <a:cubicBezTo>
                    <a:pt x="51618" y="69052"/>
                    <a:pt x="52373" y="61733"/>
                    <a:pt x="52373" y="61733"/>
                  </a:cubicBezTo>
                  <a:lnTo>
                    <a:pt x="47055" y="295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25A45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6" name="Forma Livre: Forma 805">
              <a:extLst>
                <a:ext uri="{FF2B5EF4-FFF2-40B4-BE49-F238E27FC236}">
                  <a16:creationId xmlns:a16="http://schemas.microsoft.com/office/drawing/2014/main" id="{1E6582E2-C218-022E-78FE-DAE3FD25640E}"/>
                </a:ext>
              </a:extLst>
            </p:cNvPr>
            <p:cNvSpPr/>
            <p:nvPr/>
          </p:nvSpPr>
          <p:spPr>
            <a:xfrm>
              <a:off x="2823240" y="1593102"/>
              <a:ext cx="44426" cy="51947"/>
            </a:xfrm>
            <a:custGeom>
              <a:avLst/>
              <a:gdLst>
                <a:gd name="connsiteX0" fmla="*/ 39927 w 44426"/>
                <a:gd name="connsiteY0" fmla="*/ 24688 h 51947"/>
                <a:gd name="connsiteX1" fmla="*/ 585 w 44426"/>
                <a:gd name="connsiteY1" fmla="*/ 0 h 51947"/>
                <a:gd name="connsiteX2" fmla="*/ 818 w 44426"/>
                <a:gd name="connsiteY2" fmla="*/ 19306 h 51947"/>
                <a:gd name="connsiteX3" fmla="*/ 44426 w 44426"/>
                <a:gd name="connsiteY3" fmla="*/ 51948 h 51947"/>
                <a:gd name="connsiteX4" fmla="*/ 39927 w 44426"/>
                <a:gd name="connsiteY4" fmla="*/ 24688 h 51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26" h="51947">
                  <a:moveTo>
                    <a:pt x="39927" y="24688"/>
                  </a:moveTo>
                  <a:lnTo>
                    <a:pt x="585" y="0"/>
                  </a:lnTo>
                  <a:cubicBezTo>
                    <a:pt x="103" y="5543"/>
                    <a:pt x="-548" y="15771"/>
                    <a:pt x="818" y="19306"/>
                  </a:cubicBezTo>
                  <a:cubicBezTo>
                    <a:pt x="2553" y="23781"/>
                    <a:pt x="23691" y="49280"/>
                    <a:pt x="44426" y="51948"/>
                  </a:cubicBezTo>
                  <a:lnTo>
                    <a:pt x="39927" y="24688"/>
                  </a:lnTo>
                  <a:close/>
                </a:path>
              </a:pathLst>
            </a:custGeom>
            <a:solidFill>
              <a:srgbClr val="663E34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7" name="Forma Livre: Forma 806">
              <a:extLst>
                <a:ext uri="{FF2B5EF4-FFF2-40B4-BE49-F238E27FC236}">
                  <a16:creationId xmlns:a16="http://schemas.microsoft.com/office/drawing/2014/main" id="{65FAFF32-9A71-49AB-72A2-A098203FB31C}"/>
                </a:ext>
              </a:extLst>
            </p:cNvPr>
            <p:cNvSpPr/>
            <p:nvPr/>
          </p:nvSpPr>
          <p:spPr>
            <a:xfrm>
              <a:off x="2806724" y="1528906"/>
              <a:ext cx="89641" cy="106007"/>
            </a:xfrm>
            <a:custGeom>
              <a:avLst/>
              <a:gdLst>
                <a:gd name="connsiteX0" fmla="*/ 12706 w 89641"/>
                <a:gd name="connsiteY0" fmla="*/ 57536 h 106007"/>
                <a:gd name="connsiteX1" fmla="*/ 16040 w 89641"/>
                <a:gd name="connsiteY1" fmla="*/ 80280 h 106007"/>
                <a:gd name="connsiteX2" fmla="*/ 70462 w 89641"/>
                <a:gd name="connsiteY2" fmla="*/ 105065 h 106007"/>
                <a:gd name="connsiteX3" fmla="*/ 86305 w 89641"/>
                <a:gd name="connsiteY3" fmla="*/ 7870 h 106007"/>
                <a:gd name="connsiteX4" fmla="*/ 16032 w 89641"/>
                <a:gd name="connsiteY4" fmla="*/ 1651 h 106007"/>
                <a:gd name="connsiteX5" fmla="*/ 20 w 89641"/>
                <a:gd name="connsiteY5" fmla="*/ 52169 h 106007"/>
                <a:gd name="connsiteX6" fmla="*/ 12706 w 89641"/>
                <a:gd name="connsiteY6" fmla="*/ 57536 h 106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641" h="106007">
                  <a:moveTo>
                    <a:pt x="12706" y="57536"/>
                  </a:moveTo>
                  <a:cubicBezTo>
                    <a:pt x="12706" y="57536"/>
                    <a:pt x="13397" y="75684"/>
                    <a:pt x="16040" y="80280"/>
                  </a:cubicBezTo>
                  <a:cubicBezTo>
                    <a:pt x="18683" y="84883"/>
                    <a:pt x="48570" y="111283"/>
                    <a:pt x="70462" y="105065"/>
                  </a:cubicBezTo>
                  <a:cubicBezTo>
                    <a:pt x="92355" y="98846"/>
                    <a:pt x="92098" y="36149"/>
                    <a:pt x="86305" y="7870"/>
                  </a:cubicBezTo>
                  <a:cubicBezTo>
                    <a:pt x="68590" y="-4567"/>
                    <a:pt x="16032" y="1394"/>
                    <a:pt x="16032" y="1651"/>
                  </a:cubicBezTo>
                  <a:cubicBezTo>
                    <a:pt x="16032" y="1909"/>
                    <a:pt x="-662" y="52169"/>
                    <a:pt x="20" y="52169"/>
                  </a:cubicBezTo>
                  <a:cubicBezTo>
                    <a:pt x="695" y="52169"/>
                    <a:pt x="12706" y="57536"/>
                    <a:pt x="12706" y="57536"/>
                  </a:cubicBezTo>
                  <a:close/>
                </a:path>
              </a:pathLst>
            </a:custGeom>
            <a:solidFill>
              <a:srgbClr val="825A45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8" name="Forma Livre: Forma 807">
              <a:extLst>
                <a:ext uri="{FF2B5EF4-FFF2-40B4-BE49-F238E27FC236}">
                  <a16:creationId xmlns:a16="http://schemas.microsoft.com/office/drawing/2014/main" id="{C0F1BC64-473B-8D7D-BBE8-BB20E13193D7}"/>
                </a:ext>
              </a:extLst>
            </p:cNvPr>
            <p:cNvSpPr/>
            <p:nvPr/>
          </p:nvSpPr>
          <p:spPr>
            <a:xfrm>
              <a:off x="2791817" y="1501147"/>
              <a:ext cx="116187" cy="88540"/>
            </a:xfrm>
            <a:custGeom>
              <a:avLst/>
              <a:gdLst>
                <a:gd name="connsiteX0" fmla="*/ 106578 w 116187"/>
                <a:gd name="connsiteY0" fmla="*/ 27442 h 88540"/>
                <a:gd name="connsiteX1" fmla="*/ 114339 w 116187"/>
                <a:gd name="connsiteY1" fmla="*/ 16331 h 88540"/>
                <a:gd name="connsiteX2" fmla="*/ 95138 w 116187"/>
                <a:gd name="connsiteY2" fmla="*/ 12394 h 88540"/>
                <a:gd name="connsiteX3" fmla="*/ 91732 w 116187"/>
                <a:gd name="connsiteY3" fmla="*/ 13607 h 88540"/>
                <a:gd name="connsiteX4" fmla="*/ 93298 w 116187"/>
                <a:gd name="connsiteY4" fmla="*/ 9108 h 88540"/>
                <a:gd name="connsiteX5" fmla="*/ 73639 w 116187"/>
                <a:gd name="connsiteY5" fmla="*/ 1211 h 88540"/>
                <a:gd name="connsiteX6" fmla="*/ 61781 w 116187"/>
                <a:gd name="connsiteY6" fmla="*/ 4625 h 88540"/>
                <a:gd name="connsiteX7" fmla="*/ 62086 w 116187"/>
                <a:gd name="connsiteY7" fmla="*/ 1934 h 88540"/>
                <a:gd name="connsiteX8" fmla="*/ 42331 w 116187"/>
                <a:gd name="connsiteY8" fmla="*/ 3750 h 88540"/>
                <a:gd name="connsiteX9" fmla="*/ 39897 w 116187"/>
                <a:gd name="connsiteY9" fmla="*/ 4882 h 88540"/>
                <a:gd name="connsiteX10" fmla="*/ 39848 w 116187"/>
                <a:gd name="connsiteY10" fmla="*/ 4907 h 88540"/>
                <a:gd name="connsiteX11" fmla="*/ 39824 w 116187"/>
                <a:gd name="connsiteY11" fmla="*/ 4923 h 88540"/>
                <a:gd name="connsiteX12" fmla="*/ 37221 w 116187"/>
                <a:gd name="connsiteY12" fmla="*/ 6313 h 88540"/>
                <a:gd name="connsiteX13" fmla="*/ 17859 w 116187"/>
                <a:gd name="connsiteY13" fmla="*/ 26205 h 88540"/>
                <a:gd name="connsiteX14" fmla="*/ 17088 w 116187"/>
                <a:gd name="connsiteY14" fmla="*/ 23851 h 88540"/>
                <a:gd name="connsiteX15" fmla="*/ 11368 w 116187"/>
                <a:gd name="connsiteY15" fmla="*/ 19127 h 88540"/>
                <a:gd name="connsiteX16" fmla="*/ 10974 w 116187"/>
                <a:gd name="connsiteY16" fmla="*/ 26534 h 88540"/>
                <a:gd name="connsiteX17" fmla="*/ 11464 w 116187"/>
                <a:gd name="connsiteY17" fmla="*/ 27530 h 88540"/>
                <a:gd name="connsiteX18" fmla="*/ 4756 w 116187"/>
                <a:gd name="connsiteY18" fmla="*/ 28052 h 88540"/>
                <a:gd name="connsiteX19" fmla="*/ 9343 w 116187"/>
                <a:gd name="connsiteY19" fmla="*/ 33877 h 88540"/>
                <a:gd name="connsiteX20" fmla="*/ 9850 w 116187"/>
                <a:gd name="connsiteY20" fmla="*/ 34102 h 88540"/>
                <a:gd name="connsiteX21" fmla="*/ 3575 w 116187"/>
                <a:gd name="connsiteY21" fmla="*/ 79847 h 88540"/>
                <a:gd name="connsiteX22" fmla="*/ 0 w 116187"/>
                <a:gd name="connsiteY22" fmla="*/ 88540 h 88540"/>
                <a:gd name="connsiteX23" fmla="*/ 23989 w 116187"/>
                <a:gd name="connsiteY23" fmla="*/ 88540 h 88540"/>
                <a:gd name="connsiteX24" fmla="*/ 19225 w 116187"/>
                <a:gd name="connsiteY24" fmla="*/ 80683 h 88540"/>
                <a:gd name="connsiteX25" fmla="*/ 21105 w 116187"/>
                <a:gd name="connsiteY25" fmla="*/ 77943 h 88540"/>
                <a:gd name="connsiteX26" fmla="*/ 31935 w 116187"/>
                <a:gd name="connsiteY26" fmla="*/ 78313 h 88540"/>
                <a:gd name="connsiteX27" fmla="*/ 36097 w 116187"/>
                <a:gd name="connsiteY27" fmla="*/ 60357 h 88540"/>
                <a:gd name="connsiteX28" fmla="*/ 46452 w 116187"/>
                <a:gd name="connsiteY28" fmla="*/ 59698 h 88540"/>
                <a:gd name="connsiteX29" fmla="*/ 45151 w 116187"/>
                <a:gd name="connsiteY29" fmla="*/ 46755 h 88540"/>
                <a:gd name="connsiteX30" fmla="*/ 53466 w 116187"/>
                <a:gd name="connsiteY30" fmla="*/ 46956 h 88540"/>
                <a:gd name="connsiteX31" fmla="*/ 71060 w 116187"/>
                <a:gd name="connsiteY31" fmla="*/ 37629 h 88540"/>
                <a:gd name="connsiteX32" fmla="*/ 78837 w 116187"/>
                <a:gd name="connsiteY32" fmla="*/ 44128 h 88540"/>
                <a:gd name="connsiteX33" fmla="*/ 92897 w 116187"/>
                <a:gd name="connsiteY33" fmla="*/ 43309 h 88540"/>
                <a:gd name="connsiteX34" fmla="*/ 92334 w 116187"/>
                <a:gd name="connsiteY34" fmla="*/ 38625 h 88540"/>
                <a:gd name="connsiteX35" fmla="*/ 101879 w 116187"/>
                <a:gd name="connsiteY35" fmla="*/ 40433 h 88540"/>
                <a:gd name="connsiteX36" fmla="*/ 116187 w 116187"/>
                <a:gd name="connsiteY36" fmla="*/ 33853 h 88540"/>
                <a:gd name="connsiteX37" fmla="*/ 106578 w 116187"/>
                <a:gd name="connsiteY37" fmla="*/ 27442 h 8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16187" h="88540">
                  <a:moveTo>
                    <a:pt x="106578" y="27442"/>
                  </a:moveTo>
                  <a:cubicBezTo>
                    <a:pt x="112146" y="24349"/>
                    <a:pt x="115416" y="19986"/>
                    <a:pt x="114339" y="16331"/>
                  </a:cubicBezTo>
                  <a:cubicBezTo>
                    <a:pt x="112909" y="11462"/>
                    <a:pt x="104313" y="9695"/>
                    <a:pt x="95138" y="12394"/>
                  </a:cubicBezTo>
                  <a:cubicBezTo>
                    <a:pt x="93949" y="12740"/>
                    <a:pt x="92808" y="13149"/>
                    <a:pt x="91732" y="13607"/>
                  </a:cubicBezTo>
                  <a:cubicBezTo>
                    <a:pt x="92872" y="12185"/>
                    <a:pt x="93443" y="10659"/>
                    <a:pt x="93298" y="9108"/>
                  </a:cubicBezTo>
                  <a:cubicBezTo>
                    <a:pt x="92792" y="3774"/>
                    <a:pt x="83995" y="239"/>
                    <a:pt x="73639" y="1211"/>
                  </a:cubicBezTo>
                  <a:cubicBezTo>
                    <a:pt x="69036" y="1645"/>
                    <a:pt x="64906" y="2898"/>
                    <a:pt x="61781" y="4625"/>
                  </a:cubicBezTo>
                  <a:cubicBezTo>
                    <a:pt x="62295" y="3613"/>
                    <a:pt x="62424" y="2697"/>
                    <a:pt x="62086" y="1934"/>
                  </a:cubicBezTo>
                  <a:cubicBezTo>
                    <a:pt x="60696" y="-1239"/>
                    <a:pt x="51851" y="-420"/>
                    <a:pt x="42331" y="3750"/>
                  </a:cubicBezTo>
                  <a:cubicBezTo>
                    <a:pt x="41495" y="4119"/>
                    <a:pt x="40684" y="4497"/>
                    <a:pt x="39897" y="4882"/>
                  </a:cubicBezTo>
                  <a:cubicBezTo>
                    <a:pt x="39880" y="4890"/>
                    <a:pt x="39864" y="4899"/>
                    <a:pt x="39848" y="4907"/>
                  </a:cubicBezTo>
                  <a:cubicBezTo>
                    <a:pt x="39840" y="4915"/>
                    <a:pt x="39832" y="4915"/>
                    <a:pt x="39824" y="4923"/>
                  </a:cubicBezTo>
                  <a:cubicBezTo>
                    <a:pt x="38924" y="5373"/>
                    <a:pt x="38049" y="5839"/>
                    <a:pt x="37221" y="6313"/>
                  </a:cubicBezTo>
                  <a:cubicBezTo>
                    <a:pt x="26544" y="12234"/>
                    <a:pt x="22632" y="17608"/>
                    <a:pt x="17859" y="26205"/>
                  </a:cubicBezTo>
                  <a:cubicBezTo>
                    <a:pt x="17691" y="25441"/>
                    <a:pt x="17442" y="24646"/>
                    <a:pt x="17088" y="23851"/>
                  </a:cubicBezTo>
                  <a:cubicBezTo>
                    <a:pt x="15618" y="20500"/>
                    <a:pt x="13055" y="18388"/>
                    <a:pt x="11368" y="19127"/>
                  </a:cubicBezTo>
                  <a:cubicBezTo>
                    <a:pt x="9681" y="19866"/>
                    <a:pt x="9504" y="23184"/>
                    <a:pt x="10974" y="26534"/>
                  </a:cubicBezTo>
                  <a:cubicBezTo>
                    <a:pt x="11127" y="26879"/>
                    <a:pt x="11296" y="27217"/>
                    <a:pt x="11464" y="27530"/>
                  </a:cubicBezTo>
                  <a:cubicBezTo>
                    <a:pt x="8395" y="26309"/>
                    <a:pt x="5479" y="26502"/>
                    <a:pt x="4756" y="28052"/>
                  </a:cubicBezTo>
                  <a:cubicBezTo>
                    <a:pt x="3977" y="29723"/>
                    <a:pt x="6034" y="32326"/>
                    <a:pt x="9343" y="33877"/>
                  </a:cubicBezTo>
                  <a:cubicBezTo>
                    <a:pt x="9512" y="33957"/>
                    <a:pt x="9681" y="34030"/>
                    <a:pt x="9850" y="34102"/>
                  </a:cubicBezTo>
                  <a:cubicBezTo>
                    <a:pt x="-7664" y="43028"/>
                    <a:pt x="3575" y="79847"/>
                    <a:pt x="3575" y="79847"/>
                  </a:cubicBezTo>
                  <a:cubicBezTo>
                    <a:pt x="3575" y="79847"/>
                    <a:pt x="1044" y="84459"/>
                    <a:pt x="0" y="88540"/>
                  </a:cubicBezTo>
                  <a:lnTo>
                    <a:pt x="23989" y="88540"/>
                  </a:lnTo>
                  <a:cubicBezTo>
                    <a:pt x="22423" y="85318"/>
                    <a:pt x="20631" y="82491"/>
                    <a:pt x="19225" y="80683"/>
                  </a:cubicBezTo>
                  <a:cubicBezTo>
                    <a:pt x="19956" y="79478"/>
                    <a:pt x="20607" y="78514"/>
                    <a:pt x="21105" y="77943"/>
                  </a:cubicBezTo>
                  <a:cubicBezTo>
                    <a:pt x="22961" y="75854"/>
                    <a:pt x="29420" y="79606"/>
                    <a:pt x="31935" y="78313"/>
                  </a:cubicBezTo>
                  <a:cubicBezTo>
                    <a:pt x="35381" y="76545"/>
                    <a:pt x="38041" y="66856"/>
                    <a:pt x="36097" y="60357"/>
                  </a:cubicBezTo>
                  <a:cubicBezTo>
                    <a:pt x="40459" y="62020"/>
                    <a:pt x="44347" y="61932"/>
                    <a:pt x="46452" y="59698"/>
                  </a:cubicBezTo>
                  <a:cubicBezTo>
                    <a:pt x="48975" y="57023"/>
                    <a:pt x="48284" y="51961"/>
                    <a:pt x="45151" y="46755"/>
                  </a:cubicBezTo>
                  <a:cubicBezTo>
                    <a:pt x="47689" y="47149"/>
                    <a:pt x="50517" y="47238"/>
                    <a:pt x="53466" y="46956"/>
                  </a:cubicBezTo>
                  <a:cubicBezTo>
                    <a:pt x="62440" y="46105"/>
                    <a:pt x="69630" y="42144"/>
                    <a:pt x="71060" y="37629"/>
                  </a:cubicBezTo>
                  <a:cubicBezTo>
                    <a:pt x="72450" y="40023"/>
                    <a:pt x="75222" y="42441"/>
                    <a:pt x="78837" y="44128"/>
                  </a:cubicBezTo>
                  <a:cubicBezTo>
                    <a:pt x="85039" y="47021"/>
                    <a:pt x="91330" y="46659"/>
                    <a:pt x="92897" y="43309"/>
                  </a:cubicBezTo>
                  <a:cubicBezTo>
                    <a:pt x="93531" y="41943"/>
                    <a:pt x="93274" y="40296"/>
                    <a:pt x="92334" y="38625"/>
                  </a:cubicBezTo>
                  <a:cubicBezTo>
                    <a:pt x="94857" y="39718"/>
                    <a:pt x="98199" y="40401"/>
                    <a:pt x="101879" y="40433"/>
                  </a:cubicBezTo>
                  <a:cubicBezTo>
                    <a:pt x="109752" y="40489"/>
                    <a:pt x="116155" y="37541"/>
                    <a:pt x="116187" y="33853"/>
                  </a:cubicBezTo>
                  <a:cubicBezTo>
                    <a:pt x="116219" y="30904"/>
                    <a:pt x="112194" y="28382"/>
                    <a:pt x="106578" y="27442"/>
                  </a:cubicBezTo>
                  <a:close/>
                </a:path>
              </a:pathLst>
            </a:custGeom>
            <a:solidFill>
              <a:schemeClr val="tx2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9" name="Forma Livre: Forma 808">
              <a:extLst>
                <a:ext uri="{FF2B5EF4-FFF2-40B4-BE49-F238E27FC236}">
                  <a16:creationId xmlns:a16="http://schemas.microsoft.com/office/drawing/2014/main" id="{86BB3F33-BD37-7CC1-EF89-CECD8567DC15}"/>
                </a:ext>
              </a:extLst>
            </p:cNvPr>
            <p:cNvSpPr/>
            <p:nvPr/>
          </p:nvSpPr>
          <p:spPr>
            <a:xfrm>
              <a:off x="2802989" y="1569488"/>
              <a:ext cx="18864" cy="28418"/>
            </a:xfrm>
            <a:custGeom>
              <a:avLst/>
              <a:gdLst>
                <a:gd name="connsiteX0" fmla="*/ 18787 w 18864"/>
                <a:gd name="connsiteY0" fmla="*/ 15395 h 28418"/>
                <a:gd name="connsiteX1" fmla="*/ 10488 w 18864"/>
                <a:gd name="connsiteY1" fmla="*/ 28385 h 28418"/>
                <a:gd name="connsiteX2" fmla="*/ 84 w 18864"/>
                <a:gd name="connsiteY2" fmla="*/ 17009 h 28418"/>
                <a:gd name="connsiteX3" fmla="*/ 8045 w 18864"/>
                <a:gd name="connsiteY3" fmla="*/ 18 h 28418"/>
                <a:gd name="connsiteX4" fmla="*/ 18787 w 18864"/>
                <a:gd name="connsiteY4" fmla="*/ 15395 h 28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64" h="28418">
                  <a:moveTo>
                    <a:pt x="18787" y="15395"/>
                  </a:moveTo>
                  <a:cubicBezTo>
                    <a:pt x="19462" y="23228"/>
                    <a:pt x="15645" y="27936"/>
                    <a:pt x="10488" y="28385"/>
                  </a:cubicBezTo>
                  <a:cubicBezTo>
                    <a:pt x="5322" y="28827"/>
                    <a:pt x="759" y="24842"/>
                    <a:pt x="84" y="17009"/>
                  </a:cubicBezTo>
                  <a:cubicBezTo>
                    <a:pt x="-591" y="9176"/>
                    <a:pt x="2880" y="459"/>
                    <a:pt x="8045" y="18"/>
                  </a:cubicBezTo>
                  <a:cubicBezTo>
                    <a:pt x="13211" y="-424"/>
                    <a:pt x="18112" y="7561"/>
                    <a:pt x="18787" y="15395"/>
                  </a:cubicBezTo>
                  <a:close/>
                </a:path>
              </a:pathLst>
            </a:custGeom>
            <a:solidFill>
              <a:srgbClr val="825A45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0" name="Forma Livre: Forma 809">
              <a:extLst>
                <a:ext uri="{FF2B5EF4-FFF2-40B4-BE49-F238E27FC236}">
                  <a16:creationId xmlns:a16="http://schemas.microsoft.com/office/drawing/2014/main" id="{4996BD8F-F2BF-65EF-AC79-F09B2C0C264A}"/>
                </a:ext>
              </a:extLst>
            </p:cNvPr>
            <p:cNvSpPr/>
            <p:nvPr/>
          </p:nvSpPr>
          <p:spPr>
            <a:xfrm>
              <a:off x="2813653" y="1638152"/>
              <a:ext cx="56414" cy="37500"/>
            </a:xfrm>
            <a:custGeom>
              <a:avLst/>
              <a:gdLst>
                <a:gd name="connsiteX0" fmla="*/ 3761 w 56414"/>
                <a:gd name="connsiteY0" fmla="*/ 2230 h 37500"/>
                <a:gd name="connsiteX1" fmla="*/ 298 w 56414"/>
                <a:gd name="connsiteY1" fmla="*/ 2407 h 37500"/>
                <a:gd name="connsiteX2" fmla="*/ 403 w 56414"/>
                <a:gd name="connsiteY2" fmla="*/ 12304 h 37500"/>
                <a:gd name="connsiteX3" fmla="*/ 33784 w 56414"/>
                <a:gd name="connsiteY3" fmla="*/ 37499 h 37500"/>
                <a:gd name="connsiteX4" fmla="*/ 56351 w 56414"/>
                <a:gd name="connsiteY4" fmla="*/ 12915 h 37500"/>
                <a:gd name="connsiteX5" fmla="*/ 54833 w 56414"/>
                <a:gd name="connsiteY5" fmla="*/ 5218 h 37500"/>
                <a:gd name="connsiteX6" fmla="*/ 52230 w 56414"/>
                <a:gd name="connsiteY6" fmla="*/ 6922 h 37500"/>
                <a:gd name="connsiteX7" fmla="*/ 30433 w 56414"/>
                <a:gd name="connsiteY7" fmla="*/ 16193 h 37500"/>
                <a:gd name="connsiteX8" fmla="*/ 3761 w 56414"/>
                <a:gd name="connsiteY8" fmla="*/ 2230 h 3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414" h="37500">
                  <a:moveTo>
                    <a:pt x="3761" y="2230"/>
                  </a:moveTo>
                  <a:cubicBezTo>
                    <a:pt x="2925" y="1049"/>
                    <a:pt x="612" y="-2229"/>
                    <a:pt x="298" y="2407"/>
                  </a:cubicBezTo>
                  <a:cubicBezTo>
                    <a:pt x="-15" y="7042"/>
                    <a:pt x="-216" y="9340"/>
                    <a:pt x="403" y="12304"/>
                  </a:cubicBezTo>
                  <a:cubicBezTo>
                    <a:pt x="1519" y="17631"/>
                    <a:pt x="8798" y="37298"/>
                    <a:pt x="33784" y="37499"/>
                  </a:cubicBezTo>
                  <a:cubicBezTo>
                    <a:pt x="58769" y="37700"/>
                    <a:pt x="56351" y="12915"/>
                    <a:pt x="56351" y="12915"/>
                  </a:cubicBezTo>
                  <a:cubicBezTo>
                    <a:pt x="56351" y="12915"/>
                    <a:pt x="56431" y="6223"/>
                    <a:pt x="54833" y="5218"/>
                  </a:cubicBezTo>
                  <a:cubicBezTo>
                    <a:pt x="53234" y="4214"/>
                    <a:pt x="53081" y="5861"/>
                    <a:pt x="52230" y="6922"/>
                  </a:cubicBezTo>
                  <a:cubicBezTo>
                    <a:pt x="49329" y="10497"/>
                    <a:pt x="42758" y="16193"/>
                    <a:pt x="30433" y="16193"/>
                  </a:cubicBezTo>
                  <a:cubicBezTo>
                    <a:pt x="15579" y="16193"/>
                    <a:pt x="7199" y="7123"/>
                    <a:pt x="3761" y="2230"/>
                  </a:cubicBezTo>
                  <a:close/>
                </a:path>
              </a:pathLst>
            </a:custGeom>
            <a:solidFill>
              <a:srgbClr val="EEA004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811" name="Gráfico 14">
              <a:extLst>
                <a:ext uri="{FF2B5EF4-FFF2-40B4-BE49-F238E27FC236}">
                  <a16:creationId xmlns:a16="http://schemas.microsoft.com/office/drawing/2014/main" id="{EE371DAD-62A1-B435-F707-7FF60D69F55A}"/>
                </a:ext>
              </a:extLst>
            </p:cNvPr>
            <p:cNvGrpSpPr/>
            <p:nvPr/>
          </p:nvGrpSpPr>
          <p:grpSpPr>
            <a:xfrm>
              <a:off x="2883506" y="1553141"/>
              <a:ext cx="53636" cy="37960"/>
              <a:chOff x="2651212" y="1376562"/>
              <a:chExt cx="53636" cy="37960"/>
            </a:xfrm>
          </p:grpSpPr>
          <p:sp>
            <p:nvSpPr>
              <p:cNvPr id="917" name="Forma Livre: Forma 916">
                <a:extLst>
                  <a:ext uri="{FF2B5EF4-FFF2-40B4-BE49-F238E27FC236}">
                    <a16:creationId xmlns:a16="http://schemas.microsoft.com/office/drawing/2014/main" id="{9D3EFEAE-AE83-83E7-9733-E73FEF115048}"/>
                  </a:ext>
                </a:extLst>
              </p:cNvPr>
              <p:cNvSpPr/>
              <p:nvPr/>
            </p:nvSpPr>
            <p:spPr>
              <a:xfrm>
                <a:off x="2680806" y="1376562"/>
                <a:ext cx="24042" cy="37951"/>
              </a:xfrm>
              <a:custGeom>
                <a:avLst/>
                <a:gdLst>
                  <a:gd name="connsiteX0" fmla="*/ 24028 w 24042"/>
                  <a:gd name="connsiteY0" fmla="*/ 18453 h 37951"/>
                  <a:gd name="connsiteX1" fmla="*/ 11439 w 24042"/>
                  <a:gd name="connsiteY1" fmla="*/ 7 h 37951"/>
                  <a:gd name="connsiteX2" fmla="*/ 14 w 24042"/>
                  <a:gd name="connsiteY2" fmla="*/ 19498 h 37951"/>
                  <a:gd name="connsiteX3" fmla="*/ 12604 w 24042"/>
                  <a:gd name="connsiteY3" fmla="*/ 37944 h 37951"/>
                  <a:gd name="connsiteX4" fmla="*/ 24028 w 24042"/>
                  <a:gd name="connsiteY4" fmla="*/ 18453 h 37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042" h="37951">
                    <a:moveTo>
                      <a:pt x="24028" y="18453"/>
                    </a:moveTo>
                    <a:cubicBezTo>
                      <a:pt x="23706" y="7977"/>
                      <a:pt x="18067" y="-282"/>
                      <a:pt x="11439" y="7"/>
                    </a:cubicBezTo>
                    <a:cubicBezTo>
                      <a:pt x="4811" y="297"/>
                      <a:pt x="-307" y="9021"/>
                      <a:pt x="14" y="19498"/>
                    </a:cubicBezTo>
                    <a:cubicBezTo>
                      <a:pt x="336" y="29974"/>
                      <a:pt x="5975" y="38233"/>
                      <a:pt x="12604" y="37944"/>
                    </a:cubicBezTo>
                    <a:cubicBezTo>
                      <a:pt x="19240" y="37663"/>
                      <a:pt x="24357" y="28930"/>
                      <a:pt x="24028" y="18453"/>
                    </a:cubicBezTo>
                    <a:close/>
                  </a:path>
                </a:pathLst>
              </a:custGeom>
              <a:solidFill>
                <a:srgbClr val="01888B"/>
              </a:solidFill>
              <a:ln w="8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1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18" name="Forma Livre: Forma 917">
                <a:extLst>
                  <a:ext uri="{FF2B5EF4-FFF2-40B4-BE49-F238E27FC236}">
                    <a16:creationId xmlns:a16="http://schemas.microsoft.com/office/drawing/2014/main" id="{9E5A91C6-AFBD-0274-BE8F-4D1BD964C5E3}"/>
                  </a:ext>
                </a:extLst>
              </p:cNvPr>
              <p:cNvSpPr/>
              <p:nvPr/>
            </p:nvSpPr>
            <p:spPr>
              <a:xfrm>
                <a:off x="2651212" y="1384294"/>
                <a:ext cx="15046" cy="26584"/>
              </a:xfrm>
              <a:custGeom>
                <a:avLst/>
                <a:gdLst>
                  <a:gd name="connsiteX0" fmla="*/ 15035 w 15046"/>
                  <a:gd name="connsiteY0" fmla="*/ 12963 h 26584"/>
                  <a:gd name="connsiteX1" fmla="*/ 7113 w 15046"/>
                  <a:gd name="connsiteY1" fmla="*/ 4 h 26584"/>
                  <a:gd name="connsiteX2" fmla="*/ 11 w 15046"/>
                  <a:gd name="connsiteY2" fmla="*/ 13622 h 26584"/>
                  <a:gd name="connsiteX3" fmla="*/ 7933 w 15046"/>
                  <a:gd name="connsiteY3" fmla="*/ 26581 h 26584"/>
                  <a:gd name="connsiteX4" fmla="*/ 15035 w 15046"/>
                  <a:gd name="connsiteY4" fmla="*/ 12963 h 26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046" h="26584">
                    <a:moveTo>
                      <a:pt x="15035" y="12963"/>
                    </a:moveTo>
                    <a:cubicBezTo>
                      <a:pt x="14810" y="5628"/>
                      <a:pt x="11259" y="-180"/>
                      <a:pt x="7113" y="4"/>
                    </a:cubicBezTo>
                    <a:cubicBezTo>
                      <a:pt x="2968" y="189"/>
                      <a:pt x="-214" y="6279"/>
                      <a:pt x="11" y="13622"/>
                    </a:cubicBezTo>
                    <a:cubicBezTo>
                      <a:pt x="236" y="20957"/>
                      <a:pt x="3787" y="26765"/>
                      <a:pt x="7933" y="26581"/>
                    </a:cubicBezTo>
                    <a:cubicBezTo>
                      <a:pt x="12086" y="26396"/>
                      <a:pt x="15268" y="20306"/>
                      <a:pt x="15035" y="12963"/>
                    </a:cubicBezTo>
                    <a:close/>
                  </a:path>
                </a:pathLst>
              </a:custGeom>
              <a:solidFill>
                <a:srgbClr val="132237"/>
              </a:solidFill>
              <a:ln w="8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1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19" name="Forma Livre: Forma 918">
                <a:extLst>
                  <a:ext uri="{FF2B5EF4-FFF2-40B4-BE49-F238E27FC236}">
                    <a16:creationId xmlns:a16="http://schemas.microsoft.com/office/drawing/2014/main" id="{7AE8F707-96F7-3370-0C63-960D8CB7CB7E}"/>
                  </a:ext>
                </a:extLst>
              </p:cNvPr>
              <p:cNvSpPr/>
              <p:nvPr/>
            </p:nvSpPr>
            <p:spPr>
              <a:xfrm>
                <a:off x="2657811" y="1376618"/>
                <a:ext cx="35317" cy="37904"/>
              </a:xfrm>
              <a:custGeom>
                <a:avLst/>
                <a:gdLst>
                  <a:gd name="connsiteX0" fmla="*/ 33887 w 35317"/>
                  <a:gd name="connsiteY0" fmla="*/ 0 h 37904"/>
                  <a:gd name="connsiteX1" fmla="*/ 0 w 35317"/>
                  <a:gd name="connsiteY1" fmla="*/ 7705 h 37904"/>
                  <a:gd name="connsiteX2" fmla="*/ 1173 w 35317"/>
                  <a:gd name="connsiteY2" fmla="*/ 34257 h 37904"/>
                  <a:gd name="connsiteX3" fmla="*/ 35317 w 35317"/>
                  <a:gd name="connsiteY3" fmla="*/ 37904 h 379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317" h="37904">
                    <a:moveTo>
                      <a:pt x="33887" y="0"/>
                    </a:moveTo>
                    <a:lnTo>
                      <a:pt x="0" y="7705"/>
                    </a:lnTo>
                    <a:lnTo>
                      <a:pt x="1173" y="34257"/>
                    </a:lnTo>
                    <a:lnTo>
                      <a:pt x="35317" y="37904"/>
                    </a:lnTo>
                    <a:close/>
                  </a:path>
                </a:pathLst>
              </a:custGeom>
              <a:solidFill>
                <a:srgbClr val="132237"/>
              </a:solidFill>
              <a:ln w="8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1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812" name="Gráfico 14">
              <a:extLst>
                <a:ext uri="{FF2B5EF4-FFF2-40B4-BE49-F238E27FC236}">
                  <a16:creationId xmlns:a16="http://schemas.microsoft.com/office/drawing/2014/main" id="{CD313CDA-D9D7-AE2A-A1B1-E7636AADCC65}"/>
                </a:ext>
              </a:extLst>
            </p:cNvPr>
            <p:cNvGrpSpPr/>
            <p:nvPr/>
          </p:nvGrpSpPr>
          <p:grpSpPr>
            <a:xfrm>
              <a:off x="2914304" y="1533715"/>
              <a:ext cx="101051" cy="71476"/>
              <a:chOff x="2682010" y="1357136"/>
              <a:chExt cx="101051" cy="71476"/>
            </a:xfrm>
            <a:solidFill>
              <a:srgbClr val="114585"/>
            </a:solidFill>
          </p:grpSpPr>
          <p:sp>
            <p:nvSpPr>
              <p:cNvPr id="914" name="Forma Livre: Forma 913">
                <a:extLst>
                  <a:ext uri="{FF2B5EF4-FFF2-40B4-BE49-F238E27FC236}">
                    <a16:creationId xmlns:a16="http://schemas.microsoft.com/office/drawing/2014/main" id="{00881D80-5F09-760E-12ED-9AA3CAB821A1}"/>
                  </a:ext>
                </a:extLst>
              </p:cNvPr>
              <p:cNvSpPr/>
              <p:nvPr/>
            </p:nvSpPr>
            <p:spPr>
              <a:xfrm rot="-76664">
                <a:off x="2737812" y="1357139"/>
                <a:ext cx="45249" cy="71473"/>
              </a:xfrm>
              <a:custGeom>
                <a:avLst/>
                <a:gdLst>
                  <a:gd name="connsiteX0" fmla="*/ 45250 w 45249"/>
                  <a:gd name="connsiteY0" fmla="*/ 35737 h 71473"/>
                  <a:gd name="connsiteX1" fmla="*/ 22625 w 45249"/>
                  <a:gd name="connsiteY1" fmla="*/ 71474 h 71473"/>
                  <a:gd name="connsiteX2" fmla="*/ 0 w 45249"/>
                  <a:gd name="connsiteY2" fmla="*/ 35737 h 71473"/>
                  <a:gd name="connsiteX3" fmla="*/ 22625 w 45249"/>
                  <a:gd name="connsiteY3" fmla="*/ 0 h 71473"/>
                  <a:gd name="connsiteX4" fmla="*/ 45250 w 45249"/>
                  <a:gd name="connsiteY4" fmla="*/ 35737 h 71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249" h="71473">
                    <a:moveTo>
                      <a:pt x="45250" y="35737"/>
                    </a:moveTo>
                    <a:cubicBezTo>
                      <a:pt x="45250" y="55474"/>
                      <a:pt x="35120" y="71474"/>
                      <a:pt x="22625" y="71474"/>
                    </a:cubicBezTo>
                    <a:cubicBezTo>
                      <a:pt x="10130" y="71474"/>
                      <a:pt x="0" y="55474"/>
                      <a:pt x="0" y="35737"/>
                    </a:cubicBezTo>
                    <a:cubicBezTo>
                      <a:pt x="0" y="16000"/>
                      <a:pt x="10130" y="0"/>
                      <a:pt x="22625" y="0"/>
                    </a:cubicBezTo>
                    <a:cubicBezTo>
                      <a:pt x="35120" y="0"/>
                      <a:pt x="45250" y="16000"/>
                      <a:pt x="45250" y="35737"/>
                    </a:cubicBezTo>
                    <a:close/>
                  </a:path>
                </a:pathLst>
              </a:custGeom>
              <a:grpFill/>
              <a:ln w="8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1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15" name="Forma Livre: Forma 914">
                <a:extLst>
                  <a:ext uri="{FF2B5EF4-FFF2-40B4-BE49-F238E27FC236}">
                    <a16:creationId xmlns:a16="http://schemas.microsoft.com/office/drawing/2014/main" id="{AB6E1C83-67F3-E6EA-1A90-C7A7C29760AD}"/>
                  </a:ext>
                </a:extLst>
              </p:cNvPr>
              <p:cNvSpPr/>
              <p:nvPr/>
            </p:nvSpPr>
            <p:spPr>
              <a:xfrm rot="-85608">
                <a:off x="2682010" y="1371554"/>
                <a:ext cx="28311" cy="50068"/>
              </a:xfrm>
              <a:custGeom>
                <a:avLst/>
                <a:gdLst>
                  <a:gd name="connsiteX0" fmla="*/ 28312 w 28311"/>
                  <a:gd name="connsiteY0" fmla="*/ 25034 h 50068"/>
                  <a:gd name="connsiteX1" fmla="*/ 14156 w 28311"/>
                  <a:gd name="connsiteY1" fmla="*/ 50068 h 50068"/>
                  <a:gd name="connsiteX2" fmla="*/ 0 w 28311"/>
                  <a:gd name="connsiteY2" fmla="*/ 25034 h 50068"/>
                  <a:gd name="connsiteX3" fmla="*/ 14156 w 28311"/>
                  <a:gd name="connsiteY3" fmla="*/ 0 h 50068"/>
                  <a:gd name="connsiteX4" fmla="*/ 28312 w 28311"/>
                  <a:gd name="connsiteY4" fmla="*/ 25034 h 50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311" h="50068">
                    <a:moveTo>
                      <a:pt x="28312" y="25034"/>
                    </a:moveTo>
                    <a:cubicBezTo>
                      <a:pt x="28312" y="38860"/>
                      <a:pt x="21974" y="50068"/>
                      <a:pt x="14156" y="50068"/>
                    </a:cubicBezTo>
                    <a:cubicBezTo>
                      <a:pt x="6338" y="50068"/>
                      <a:pt x="0" y="38860"/>
                      <a:pt x="0" y="25034"/>
                    </a:cubicBezTo>
                    <a:cubicBezTo>
                      <a:pt x="0" y="11208"/>
                      <a:pt x="6338" y="0"/>
                      <a:pt x="14156" y="0"/>
                    </a:cubicBezTo>
                    <a:cubicBezTo>
                      <a:pt x="21974" y="0"/>
                      <a:pt x="28312" y="11208"/>
                      <a:pt x="28312" y="25034"/>
                    </a:cubicBezTo>
                    <a:close/>
                  </a:path>
                </a:pathLst>
              </a:custGeom>
              <a:grpFill/>
              <a:ln w="8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1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16" name="Forma Livre: Forma 915">
                <a:extLst>
                  <a:ext uri="{FF2B5EF4-FFF2-40B4-BE49-F238E27FC236}">
                    <a16:creationId xmlns:a16="http://schemas.microsoft.com/office/drawing/2014/main" id="{87513E65-DED2-141B-2ED4-960AAE9BF55C}"/>
                  </a:ext>
                </a:extLst>
              </p:cNvPr>
              <p:cNvSpPr/>
              <p:nvPr/>
            </p:nvSpPr>
            <p:spPr>
              <a:xfrm>
                <a:off x="2694397" y="1357136"/>
                <a:ext cx="66497" cy="71381"/>
              </a:xfrm>
              <a:custGeom>
                <a:avLst/>
                <a:gdLst>
                  <a:gd name="connsiteX0" fmla="*/ 63798 w 66497"/>
                  <a:gd name="connsiteY0" fmla="*/ 0 h 71381"/>
                  <a:gd name="connsiteX1" fmla="*/ 0 w 66497"/>
                  <a:gd name="connsiteY1" fmla="*/ 14517 h 71381"/>
                  <a:gd name="connsiteX2" fmla="*/ 2201 w 66497"/>
                  <a:gd name="connsiteY2" fmla="*/ 64513 h 71381"/>
                  <a:gd name="connsiteX3" fmla="*/ 66497 w 66497"/>
                  <a:gd name="connsiteY3" fmla="*/ 71382 h 71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497" h="71381">
                    <a:moveTo>
                      <a:pt x="63798" y="0"/>
                    </a:moveTo>
                    <a:lnTo>
                      <a:pt x="0" y="14517"/>
                    </a:lnTo>
                    <a:lnTo>
                      <a:pt x="2201" y="64513"/>
                    </a:lnTo>
                    <a:lnTo>
                      <a:pt x="66497" y="71382"/>
                    </a:lnTo>
                    <a:close/>
                  </a:path>
                </a:pathLst>
              </a:custGeom>
              <a:grpFill/>
              <a:ln w="8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1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813" name="Gráfico 14">
              <a:extLst>
                <a:ext uri="{FF2B5EF4-FFF2-40B4-BE49-F238E27FC236}">
                  <a16:creationId xmlns:a16="http://schemas.microsoft.com/office/drawing/2014/main" id="{7A9E69CC-09F3-3FC4-B6F9-E1C8319C09EA}"/>
                </a:ext>
              </a:extLst>
            </p:cNvPr>
            <p:cNvGrpSpPr/>
            <p:nvPr/>
          </p:nvGrpSpPr>
          <p:grpSpPr>
            <a:xfrm>
              <a:off x="2972110" y="1497646"/>
              <a:ext cx="176721" cy="125030"/>
              <a:chOff x="2739816" y="1321067"/>
              <a:chExt cx="176721" cy="125030"/>
            </a:xfrm>
            <a:solidFill>
              <a:srgbClr val="0A3C5F"/>
            </a:solidFill>
          </p:grpSpPr>
          <p:sp>
            <p:nvSpPr>
              <p:cNvPr id="911" name="Forma Livre: Forma 910">
                <a:extLst>
                  <a:ext uri="{FF2B5EF4-FFF2-40B4-BE49-F238E27FC236}">
                    <a16:creationId xmlns:a16="http://schemas.microsoft.com/office/drawing/2014/main" id="{92F3C382-C23B-C78E-BA81-D2F4743B56F2}"/>
                  </a:ext>
                </a:extLst>
              </p:cNvPr>
              <p:cNvSpPr/>
              <p:nvPr/>
            </p:nvSpPr>
            <p:spPr>
              <a:xfrm rot="-76664">
                <a:off x="2837367" y="1321067"/>
                <a:ext cx="79170" cy="125030"/>
              </a:xfrm>
              <a:custGeom>
                <a:avLst/>
                <a:gdLst>
                  <a:gd name="connsiteX0" fmla="*/ 79171 w 79170"/>
                  <a:gd name="connsiteY0" fmla="*/ 62515 h 125030"/>
                  <a:gd name="connsiteX1" fmla="*/ 39585 w 79170"/>
                  <a:gd name="connsiteY1" fmla="*/ 125031 h 125030"/>
                  <a:gd name="connsiteX2" fmla="*/ 0 w 79170"/>
                  <a:gd name="connsiteY2" fmla="*/ 62515 h 125030"/>
                  <a:gd name="connsiteX3" fmla="*/ 39585 w 79170"/>
                  <a:gd name="connsiteY3" fmla="*/ 0 h 125030"/>
                  <a:gd name="connsiteX4" fmla="*/ 79171 w 79170"/>
                  <a:gd name="connsiteY4" fmla="*/ 62515 h 125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70" h="125030">
                    <a:moveTo>
                      <a:pt x="79171" y="62515"/>
                    </a:moveTo>
                    <a:cubicBezTo>
                      <a:pt x="79171" y="97042"/>
                      <a:pt x="61448" y="125031"/>
                      <a:pt x="39585" y="125031"/>
                    </a:cubicBezTo>
                    <a:cubicBezTo>
                      <a:pt x="17723" y="125031"/>
                      <a:pt x="0" y="97042"/>
                      <a:pt x="0" y="62515"/>
                    </a:cubicBezTo>
                    <a:cubicBezTo>
                      <a:pt x="0" y="27989"/>
                      <a:pt x="17723" y="0"/>
                      <a:pt x="39585" y="0"/>
                    </a:cubicBezTo>
                    <a:cubicBezTo>
                      <a:pt x="61448" y="0"/>
                      <a:pt x="79171" y="27989"/>
                      <a:pt x="79171" y="62515"/>
                    </a:cubicBezTo>
                    <a:close/>
                  </a:path>
                </a:pathLst>
              </a:custGeom>
              <a:solidFill>
                <a:srgbClr val="0A3C5F"/>
              </a:solidFill>
              <a:ln w="8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1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12" name="Forma Livre: Forma 911">
                <a:extLst>
                  <a:ext uri="{FF2B5EF4-FFF2-40B4-BE49-F238E27FC236}">
                    <a16:creationId xmlns:a16="http://schemas.microsoft.com/office/drawing/2014/main" id="{364ECF6C-E34D-D85B-CCB0-0A19498512B7}"/>
                  </a:ext>
                </a:extLst>
              </p:cNvPr>
              <p:cNvSpPr/>
              <p:nvPr/>
            </p:nvSpPr>
            <p:spPr>
              <a:xfrm rot="-85608">
                <a:off x="2739816" y="1346365"/>
                <a:ext cx="49521" cy="87587"/>
              </a:xfrm>
              <a:custGeom>
                <a:avLst/>
                <a:gdLst>
                  <a:gd name="connsiteX0" fmla="*/ 49522 w 49521"/>
                  <a:gd name="connsiteY0" fmla="*/ 43793 h 87587"/>
                  <a:gd name="connsiteX1" fmla="*/ 24761 w 49521"/>
                  <a:gd name="connsiteY1" fmla="*/ 87587 h 87587"/>
                  <a:gd name="connsiteX2" fmla="*/ 0 w 49521"/>
                  <a:gd name="connsiteY2" fmla="*/ 43793 h 87587"/>
                  <a:gd name="connsiteX3" fmla="*/ 24761 w 49521"/>
                  <a:gd name="connsiteY3" fmla="*/ 0 h 87587"/>
                  <a:gd name="connsiteX4" fmla="*/ 49522 w 49521"/>
                  <a:gd name="connsiteY4" fmla="*/ 43793 h 875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21" h="87587">
                    <a:moveTo>
                      <a:pt x="49522" y="43793"/>
                    </a:moveTo>
                    <a:cubicBezTo>
                      <a:pt x="49522" y="67980"/>
                      <a:pt x="38436" y="87587"/>
                      <a:pt x="24761" y="87587"/>
                    </a:cubicBezTo>
                    <a:cubicBezTo>
                      <a:pt x="11086" y="87587"/>
                      <a:pt x="0" y="67980"/>
                      <a:pt x="0" y="43793"/>
                    </a:cubicBezTo>
                    <a:cubicBezTo>
                      <a:pt x="0" y="19607"/>
                      <a:pt x="11086" y="0"/>
                      <a:pt x="24761" y="0"/>
                    </a:cubicBezTo>
                    <a:cubicBezTo>
                      <a:pt x="38436" y="0"/>
                      <a:pt x="49522" y="19607"/>
                      <a:pt x="49522" y="43793"/>
                    </a:cubicBezTo>
                    <a:close/>
                  </a:path>
                </a:pathLst>
              </a:custGeom>
              <a:solidFill>
                <a:srgbClr val="132237"/>
              </a:solidFill>
              <a:ln w="8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1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13" name="Forma Livre: Forma 912">
                <a:extLst>
                  <a:ext uri="{FF2B5EF4-FFF2-40B4-BE49-F238E27FC236}">
                    <a16:creationId xmlns:a16="http://schemas.microsoft.com/office/drawing/2014/main" id="{C676D134-A12A-3BD5-A125-C0110726607A}"/>
                  </a:ext>
                </a:extLst>
              </p:cNvPr>
              <p:cNvSpPr/>
              <p:nvPr/>
            </p:nvSpPr>
            <p:spPr>
              <a:xfrm>
                <a:off x="2761489" y="1321159"/>
                <a:ext cx="116331" cy="124855"/>
              </a:xfrm>
              <a:custGeom>
                <a:avLst/>
                <a:gdLst>
                  <a:gd name="connsiteX0" fmla="*/ 111608 w 116331"/>
                  <a:gd name="connsiteY0" fmla="*/ 0 h 124855"/>
                  <a:gd name="connsiteX1" fmla="*/ 0 w 116331"/>
                  <a:gd name="connsiteY1" fmla="*/ 25395 h 124855"/>
                  <a:gd name="connsiteX2" fmla="*/ 3864 w 116331"/>
                  <a:gd name="connsiteY2" fmla="*/ 112845 h 124855"/>
                  <a:gd name="connsiteX3" fmla="*/ 116332 w 116331"/>
                  <a:gd name="connsiteY3" fmla="*/ 124856 h 124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6331" h="124855">
                    <a:moveTo>
                      <a:pt x="111608" y="0"/>
                    </a:moveTo>
                    <a:lnTo>
                      <a:pt x="0" y="25395"/>
                    </a:lnTo>
                    <a:lnTo>
                      <a:pt x="3864" y="112845"/>
                    </a:lnTo>
                    <a:lnTo>
                      <a:pt x="116332" y="124856"/>
                    </a:lnTo>
                    <a:close/>
                  </a:path>
                </a:pathLst>
              </a:custGeom>
              <a:solidFill>
                <a:srgbClr val="132237"/>
              </a:solidFill>
              <a:ln w="8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1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814" name="Gráfico 14">
              <a:extLst>
                <a:ext uri="{FF2B5EF4-FFF2-40B4-BE49-F238E27FC236}">
                  <a16:creationId xmlns:a16="http://schemas.microsoft.com/office/drawing/2014/main" id="{27D0105D-A59A-CB18-D02D-91E46916120B}"/>
                </a:ext>
              </a:extLst>
            </p:cNvPr>
            <p:cNvGrpSpPr/>
            <p:nvPr/>
          </p:nvGrpSpPr>
          <p:grpSpPr>
            <a:xfrm>
              <a:off x="3085881" y="1447453"/>
              <a:ext cx="290218" cy="205374"/>
              <a:chOff x="2853587" y="1270874"/>
              <a:chExt cx="290218" cy="205374"/>
            </a:xfrm>
          </p:grpSpPr>
          <p:sp>
            <p:nvSpPr>
              <p:cNvPr id="905" name="Forma Livre: Forma 904">
                <a:extLst>
                  <a:ext uri="{FF2B5EF4-FFF2-40B4-BE49-F238E27FC236}">
                    <a16:creationId xmlns:a16="http://schemas.microsoft.com/office/drawing/2014/main" id="{B4372D27-847D-913A-295E-F5FCE69BF374}"/>
                  </a:ext>
                </a:extLst>
              </p:cNvPr>
              <p:cNvSpPr/>
              <p:nvPr/>
            </p:nvSpPr>
            <p:spPr>
              <a:xfrm rot="-85608">
                <a:off x="2853587" y="1312518"/>
                <a:ext cx="81336" cy="143857"/>
              </a:xfrm>
              <a:custGeom>
                <a:avLst/>
                <a:gdLst>
                  <a:gd name="connsiteX0" fmla="*/ 81337 w 81336"/>
                  <a:gd name="connsiteY0" fmla="*/ 71929 h 143857"/>
                  <a:gd name="connsiteX1" fmla="*/ 40668 w 81336"/>
                  <a:gd name="connsiteY1" fmla="*/ 143857 h 143857"/>
                  <a:gd name="connsiteX2" fmla="*/ 0 w 81336"/>
                  <a:gd name="connsiteY2" fmla="*/ 71929 h 143857"/>
                  <a:gd name="connsiteX3" fmla="*/ 40668 w 81336"/>
                  <a:gd name="connsiteY3" fmla="*/ 0 h 143857"/>
                  <a:gd name="connsiteX4" fmla="*/ 81337 w 81336"/>
                  <a:gd name="connsiteY4" fmla="*/ 71929 h 143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1336" h="143857">
                    <a:moveTo>
                      <a:pt x="81337" y="71929"/>
                    </a:moveTo>
                    <a:cubicBezTo>
                      <a:pt x="81337" y="111654"/>
                      <a:pt x="63129" y="143857"/>
                      <a:pt x="40668" y="143857"/>
                    </a:cubicBezTo>
                    <a:cubicBezTo>
                      <a:pt x="18208" y="143857"/>
                      <a:pt x="0" y="111654"/>
                      <a:pt x="0" y="71929"/>
                    </a:cubicBezTo>
                    <a:cubicBezTo>
                      <a:pt x="0" y="32204"/>
                      <a:pt x="18208" y="0"/>
                      <a:pt x="40668" y="0"/>
                    </a:cubicBezTo>
                    <a:cubicBezTo>
                      <a:pt x="63129" y="0"/>
                      <a:pt x="81337" y="32204"/>
                      <a:pt x="81337" y="71929"/>
                    </a:cubicBezTo>
                    <a:close/>
                  </a:path>
                </a:pathLst>
              </a:custGeom>
              <a:solidFill>
                <a:srgbClr val="EEA004"/>
              </a:solidFill>
              <a:ln w="8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1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06" name="Forma Livre: Forma 905">
                <a:extLst>
                  <a:ext uri="{FF2B5EF4-FFF2-40B4-BE49-F238E27FC236}">
                    <a16:creationId xmlns:a16="http://schemas.microsoft.com/office/drawing/2014/main" id="{1D5DC9A3-0B71-6E47-9CDC-B1FC511B0ED6}"/>
                  </a:ext>
                </a:extLst>
              </p:cNvPr>
              <p:cNvSpPr/>
              <p:nvPr/>
            </p:nvSpPr>
            <p:spPr>
              <a:xfrm>
                <a:off x="2889213" y="1271092"/>
                <a:ext cx="191063" cy="205082"/>
              </a:xfrm>
              <a:custGeom>
                <a:avLst/>
                <a:gdLst>
                  <a:gd name="connsiteX0" fmla="*/ 183319 w 191063"/>
                  <a:gd name="connsiteY0" fmla="*/ 0 h 205082"/>
                  <a:gd name="connsiteX1" fmla="*/ 0 w 191063"/>
                  <a:gd name="connsiteY1" fmla="*/ 41704 h 205082"/>
                  <a:gd name="connsiteX2" fmla="*/ 6339 w 191063"/>
                  <a:gd name="connsiteY2" fmla="*/ 185352 h 205082"/>
                  <a:gd name="connsiteX3" fmla="*/ 191064 w 191063"/>
                  <a:gd name="connsiteY3" fmla="*/ 205083 h 205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1063" h="205082">
                    <a:moveTo>
                      <a:pt x="183319" y="0"/>
                    </a:moveTo>
                    <a:lnTo>
                      <a:pt x="0" y="41704"/>
                    </a:lnTo>
                    <a:lnTo>
                      <a:pt x="6339" y="185352"/>
                    </a:lnTo>
                    <a:lnTo>
                      <a:pt x="191064" y="205083"/>
                    </a:lnTo>
                    <a:close/>
                  </a:path>
                </a:pathLst>
              </a:custGeom>
              <a:solidFill>
                <a:srgbClr val="EEA004"/>
              </a:solidFill>
              <a:ln w="8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1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07" name="Forma Livre: Forma 906">
                <a:extLst>
                  <a:ext uri="{FF2B5EF4-FFF2-40B4-BE49-F238E27FC236}">
                    <a16:creationId xmlns:a16="http://schemas.microsoft.com/office/drawing/2014/main" id="{FC1AE833-BAAE-066D-E113-A94A1F01B57B}"/>
                  </a:ext>
                </a:extLst>
              </p:cNvPr>
              <p:cNvSpPr/>
              <p:nvPr/>
            </p:nvSpPr>
            <p:spPr>
              <a:xfrm rot="-76664">
                <a:off x="3013778" y="1270874"/>
                <a:ext cx="130027" cy="205374"/>
              </a:xfrm>
              <a:custGeom>
                <a:avLst/>
                <a:gdLst>
                  <a:gd name="connsiteX0" fmla="*/ 130028 w 130027"/>
                  <a:gd name="connsiteY0" fmla="*/ 102687 h 205374"/>
                  <a:gd name="connsiteX1" fmla="*/ 65014 w 130027"/>
                  <a:gd name="connsiteY1" fmla="*/ 205374 h 205374"/>
                  <a:gd name="connsiteX2" fmla="*/ 0 w 130027"/>
                  <a:gd name="connsiteY2" fmla="*/ 102687 h 205374"/>
                  <a:gd name="connsiteX3" fmla="*/ 65014 w 130027"/>
                  <a:gd name="connsiteY3" fmla="*/ 0 h 205374"/>
                  <a:gd name="connsiteX4" fmla="*/ 130028 w 130027"/>
                  <a:gd name="connsiteY4" fmla="*/ 102687 h 2053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027" h="205374">
                    <a:moveTo>
                      <a:pt x="130028" y="102687"/>
                    </a:moveTo>
                    <a:cubicBezTo>
                      <a:pt x="130028" y="159400"/>
                      <a:pt x="100920" y="205374"/>
                      <a:pt x="65014" y="205374"/>
                    </a:cubicBezTo>
                    <a:cubicBezTo>
                      <a:pt x="29108" y="205374"/>
                      <a:pt x="0" y="159400"/>
                      <a:pt x="0" y="102687"/>
                    </a:cubicBezTo>
                    <a:cubicBezTo>
                      <a:pt x="0" y="45975"/>
                      <a:pt x="29108" y="0"/>
                      <a:pt x="65014" y="0"/>
                    </a:cubicBezTo>
                    <a:cubicBezTo>
                      <a:pt x="100920" y="0"/>
                      <a:pt x="130028" y="45975"/>
                      <a:pt x="130028" y="102687"/>
                    </a:cubicBezTo>
                    <a:close/>
                  </a:path>
                </a:pathLst>
              </a:custGeom>
              <a:solidFill>
                <a:srgbClr val="FFC000"/>
              </a:solidFill>
              <a:ln w="8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1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908" name="Gráfico 14">
                <a:extLst>
                  <a:ext uri="{FF2B5EF4-FFF2-40B4-BE49-F238E27FC236}">
                    <a16:creationId xmlns:a16="http://schemas.microsoft.com/office/drawing/2014/main" id="{616260F7-46B7-C03A-2C4F-D69E90F24092}"/>
                  </a:ext>
                </a:extLst>
              </p:cNvPr>
              <p:cNvGrpSpPr/>
              <p:nvPr/>
            </p:nvGrpSpPr>
            <p:grpSpPr>
              <a:xfrm>
                <a:off x="2972083" y="1285330"/>
                <a:ext cx="162571" cy="178813"/>
                <a:chOff x="2972083" y="1285330"/>
                <a:chExt cx="162571" cy="178813"/>
              </a:xfrm>
            </p:grpSpPr>
            <p:sp>
              <p:nvSpPr>
                <p:cNvPr id="909" name="Forma Livre: Forma 908">
                  <a:extLst>
                    <a:ext uri="{FF2B5EF4-FFF2-40B4-BE49-F238E27FC236}">
                      <a16:creationId xmlns:a16="http://schemas.microsoft.com/office/drawing/2014/main" id="{C01F18BE-022F-243F-CBCE-25C44BAD471C}"/>
                    </a:ext>
                  </a:extLst>
                </p:cNvPr>
                <p:cNvSpPr/>
                <p:nvPr/>
              </p:nvSpPr>
              <p:spPr>
                <a:xfrm rot="-76664">
                  <a:off x="3022929" y="1285330"/>
                  <a:ext cx="111725" cy="176466"/>
                </a:xfrm>
                <a:custGeom>
                  <a:avLst/>
                  <a:gdLst>
                    <a:gd name="connsiteX0" fmla="*/ 111726 w 111725"/>
                    <a:gd name="connsiteY0" fmla="*/ 88233 h 176466"/>
                    <a:gd name="connsiteX1" fmla="*/ 55863 w 111725"/>
                    <a:gd name="connsiteY1" fmla="*/ 176467 h 176466"/>
                    <a:gd name="connsiteX2" fmla="*/ 0 w 111725"/>
                    <a:gd name="connsiteY2" fmla="*/ 88233 h 176466"/>
                    <a:gd name="connsiteX3" fmla="*/ 55863 w 111725"/>
                    <a:gd name="connsiteY3" fmla="*/ 0 h 176466"/>
                    <a:gd name="connsiteX4" fmla="*/ 111726 w 111725"/>
                    <a:gd name="connsiteY4" fmla="*/ 88233 h 1764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1725" h="176466">
                      <a:moveTo>
                        <a:pt x="111726" y="88233"/>
                      </a:moveTo>
                      <a:cubicBezTo>
                        <a:pt x="111726" y="136963"/>
                        <a:pt x="86715" y="176467"/>
                        <a:pt x="55863" y="176467"/>
                      </a:cubicBezTo>
                      <a:cubicBezTo>
                        <a:pt x="25011" y="176467"/>
                        <a:pt x="0" y="136963"/>
                        <a:pt x="0" y="88233"/>
                      </a:cubicBezTo>
                      <a:cubicBezTo>
                        <a:pt x="0" y="39503"/>
                        <a:pt x="25011" y="0"/>
                        <a:pt x="55863" y="0"/>
                      </a:cubicBezTo>
                      <a:cubicBezTo>
                        <a:pt x="86715" y="0"/>
                        <a:pt x="111726" y="39503"/>
                        <a:pt x="111726" y="88233"/>
                      </a:cubicBezTo>
                      <a:close/>
                    </a:path>
                  </a:pathLst>
                </a:custGeom>
                <a:solidFill>
                  <a:srgbClr val="F7A60F"/>
                </a:solidFill>
                <a:ln w="8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1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1" b="0" i="0" u="none" strike="noStrike" kern="1200" cap="none" spc="0" normalizeH="0" baseline="0" noProof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10" name="Forma Livre: Forma 909">
                  <a:extLst>
                    <a:ext uri="{FF2B5EF4-FFF2-40B4-BE49-F238E27FC236}">
                      <a16:creationId xmlns:a16="http://schemas.microsoft.com/office/drawing/2014/main" id="{A6B1991D-1704-E3FC-1B9E-A762C8597ACE}"/>
                    </a:ext>
                  </a:extLst>
                </p:cNvPr>
                <p:cNvSpPr/>
                <p:nvPr/>
              </p:nvSpPr>
              <p:spPr>
                <a:xfrm rot="-31531">
                  <a:off x="2972083" y="1287678"/>
                  <a:ext cx="149887" cy="176465"/>
                </a:xfrm>
                <a:custGeom>
                  <a:avLst/>
                  <a:gdLst>
                    <a:gd name="connsiteX0" fmla="*/ 149888 w 149887"/>
                    <a:gd name="connsiteY0" fmla="*/ 88233 h 176465"/>
                    <a:gd name="connsiteX1" fmla="*/ 74944 w 149887"/>
                    <a:gd name="connsiteY1" fmla="*/ 176465 h 176465"/>
                    <a:gd name="connsiteX2" fmla="*/ 0 w 149887"/>
                    <a:gd name="connsiteY2" fmla="*/ 88233 h 176465"/>
                    <a:gd name="connsiteX3" fmla="*/ 74944 w 149887"/>
                    <a:gd name="connsiteY3" fmla="*/ 0 h 176465"/>
                    <a:gd name="connsiteX4" fmla="*/ 149888 w 149887"/>
                    <a:gd name="connsiteY4" fmla="*/ 88233 h 1764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9887" h="176465">
                      <a:moveTo>
                        <a:pt x="149888" y="88233"/>
                      </a:moveTo>
                      <a:cubicBezTo>
                        <a:pt x="149888" y="136962"/>
                        <a:pt x="116334" y="176465"/>
                        <a:pt x="74944" y="176465"/>
                      </a:cubicBezTo>
                      <a:cubicBezTo>
                        <a:pt x="33554" y="176465"/>
                        <a:pt x="0" y="136962"/>
                        <a:pt x="0" y="88233"/>
                      </a:cubicBezTo>
                      <a:cubicBezTo>
                        <a:pt x="0" y="39503"/>
                        <a:pt x="33554" y="0"/>
                        <a:pt x="74944" y="0"/>
                      </a:cubicBezTo>
                      <a:cubicBezTo>
                        <a:pt x="116334" y="0"/>
                        <a:pt x="149888" y="39503"/>
                        <a:pt x="149888" y="88233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8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1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1" b="0" i="0" u="none" strike="noStrike" kern="1200" cap="none" spc="0" normalizeH="0" baseline="0" noProof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815" name="Gráfico 14">
              <a:extLst>
                <a:ext uri="{FF2B5EF4-FFF2-40B4-BE49-F238E27FC236}">
                  <a16:creationId xmlns:a16="http://schemas.microsoft.com/office/drawing/2014/main" id="{7CF23532-FE83-E576-BA2D-B5A7A85D2B11}"/>
                </a:ext>
              </a:extLst>
            </p:cNvPr>
            <p:cNvGrpSpPr/>
            <p:nvPr/>
          </p:nvGrpSpPr>
          <p:grpSpPr>
            <a:xfrm>
              <a:off x="3004344" y="1556279"/>
              <a:ext cx="65637" cy="136990"/>
              <a:chOff x="2772050" y="1379700"/>
              <a:chExt cx="65637" cy="136990"/>
            </a:xfrm>
            <a:solidFill>
              <a:srgbClr val="825A45"/>
            </a:solidFill>
          </p:grpSpPr>
          <p:sp>
            <p:nvSpPr>
              <p:cNvPr id="901" name="Forma Livre: Forma 900">
                <a:extLst>
                  <a:ext uri="{FF2B5EF4-FFF2-40B4-BE49-F238E27FC236}">
                    <a16:creationId xmlns:a16="http://schemas.microsoft.com/office/drawing/2014/main" id="{1FC1CE9D-2BFE-B6E3-3413-BEA0EBFC9497}"/>
                  </a:ext>
                </a:extLst>
              </p:cNvPr>
              <p:cNvSpPr/>
              <p:nvPr/>
            </p:nvSpPr>
            <p:spPr>
              <a:xfrm>
                <a:off x="2772050" y="1379700"/>
                <a:ext cx="65637" cy="136990"/>
              </a:xfrm>
              <a:custGeom>
                <a:avLst/>
                <a:gdLst>
                  <a:gd name="connsiteX0" fmla="*/ 2052 w 65637"/>
                  <a:gd name="connsiteY0" fmla="*/ 121854 h 136990"/>
                  <a:gd name="connsiteX1" fmla="*/ 11340 w 65637"/>
                  <a:gd name="connsiteY1" fmla="*/ 77699 h 136990"/>
                  <a:gd name="connsiteX2" fmla="*/ 2824 w 65637"/>
                  <a:gd name="connsiteY2" fmla="*/ 43386 h 136990"/>
                  <a:gd name="connsiteX3" fmla="*/ 19382 w 65637"/>
                  <a:gd name="connsiteY3" fmla="*/ 53116 h 136990"/>
                  <a:gd name="connsiteX4" fmla="*/ 31224 w 65637"/>
                  <a:gd name="connsiteY4" fmla="*/ 10037 h 136990"/>
                  <a:gd name="connsiteX5" fmla="*/ 47758 w 65637"/>
                  <a:gd name="connsiteY5" fmla="*/ 1433 h 136990"/>
                  <a:gd name="connsiteX6" fmla="*/ 64163 w 65637"/>
                  <a:gd name="connsiteY6" fmla="*/ 47299 h 136990"/>
                  <a:gd name="connsiteX7" fmla="*/ 38294 w 65637"/>
                  <a:gd name="connsiteY7" fmla="*/ 96780 h 136990"/>
                  <a:gd name="connsiteX8" fmla="*/ 27319 w 65637"/>
                  <a:gd name="connsiteY8" fmla="*/ 136990 h 136990"/>
                  <a:gd name="connsiteX9" fmla="*/ 2052 w 65637"/>
                  <a:gd name="connsiteY9" fmla="*/ 121854 h 136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5637" h="136990">
                    <a:moveTo>
                      <a:pt x="2052" y="121854"/>
                    </a:moveTo>
                    <a:cubicBezTo>
                      <a:pt x="2052" y="121854"/>
                      <a:pt x="13059" y="87694"/>
                      <a:pt x="11340" y="77699"/>
                    </a:cubicBezTo>
                    <a:cubicBezTo>
                      <a:pt x="9620" y="67705"/>
                      <a:pt x="-6351" y="44953"/>
                      <a:pt x="2824" y="43386"/>
                    </a:cubicBezTo>
                    <a:cubicBezTo>
                      <a:pt x="11999" y="41828"/>
                      <a:pt x="13091" y="52063"/>
                      <a:pt x="19382" y="53116"/>
                    </a:cubicBezTo>
                    <a:cubicBezTo>
                      <a:pt x="25672" y="54168"/>
                      <a:pt x="26379" y="19164"/>
                      <a:pt x="31224" y="10037"/>
                    </a:cubicBezTo>
                    <a:cubicBezTo>
                      <a:pt x="36068" y="911"/>
                      <a:pt x="40728" y="-2086"/>
                      <a:pt x="47758" y="1433"/>
                    </a:cubicBezTo>
                    <a:cubicBezTo>
                      <a:pt x="54787" y="4952"/>
                      <a:pt x="70502" y="21349"/>
                      <a:pt x="64163" y="47299"/>
                    </a:cubicBezTo>
                    <a:cubicBezTo>
                      <a:pt x="57824" y="73249"/>
                      <a:pt x="38294" y="96780"/>
                      <a:pt x="38294" y="96780"/>
                    </a:cubicBezTo>
                    <a:lnTo>
                      <a:pt x="27319" y="136990"/>
                    </a:lnTo>
                    <a:lnTo>
                      <a:pt x="2052" y="121854"/>
                    </a:lnTo>
                    <a:close/>
                  </a:path>
                </a:pathLst>
              </a:custGeom>
              <a:grpFill/>
              <a:ln w="8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1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02" name="Forma Livre: Forma 901">
                <a:extLst>
                  <a:ext uri="{FF2B5EF4-FFF2-40B4-BE49-F238E27FC236}">
                    <a16:creationId xmlns:a16="http://schemas.microsoft.com/office/drawing/2014/main" id="{5B8F55D1-987B-28BE-763F-A058CC0D93AC}"/>
                  </a:ext>
                </a:extLst>
              </p:cNvPr>
              <p:cNvSpPr/>
              <p:nvPr/>
            </p:nvSpPr>
            <p:spPr>
              <a:xfrm>
                <a:off x="2804300" y="1379875"/>
                <a:ext cx="10665" cy="46467"/>
              </a:xfrm>
              <a:custGeom>
                <a:avLst/>
                <a:gdLst>
                  <a:gd name="connsiteX0" fmla="*/ 3272 w 10665"/>
                  <a:gd name="connsiteY0" fmla="*/ 42464 h 46467"/>
                  <a:gd name="connsiteX1" fmla="*/ 10534 w 10665"/>
                  <a:gd name="connsiteY1" fmla="*/ 2246 h 46467"/>
                  <a:gd name="connsiteX2" fmla="*/ 10655 w 10665"/>
                  <a:gd name="connsiteY2" fmla="*/ 1025 h 46467"/>
                  <a:gd name="connsiteX3" fmla="*/ 9940 w 10665"/>
                  <a:gd name="connsiteY3" fmla="*/ 13 h 46467"/>
                  <a:gd name="connsiteX4" fmla="*/ 8928 w 10665"/>
                  <a:gd name="connsiteY4" fmla="*/ 704 h 46467"/>
                  <a:gd name="connsiteX5" fmla="*/ 8783 w 10665"/>
                  <a:gd name="connsiteY5" fmla="*/ 2061 h 46467"/>
                  <a:gd name="connsiteX6" fmla="*/ 114 w 10665"/>
                  <a:gd name="connsiteY6" fmla="*/ 45156 h 46467"/>
                  <a:gd name="connsiteX7" fmla="*/ 452 w 10665"/>
                  <a:gd name="connsiteY7" fmla="*/ 46353 h 46467"/>
                  <a:gd name="connsiteX8" fmla="*/ 1649 w 10665"/>
                  <a:gd name="connsiteY8" fmla="*/ 46015 h 46467"/>
                  <a:gd name="connsiteX9" fmla="*/ 3272 w 10665"/>
                  <a:gd name="connsiteY9" fmla="*/ 42464 h 46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665" h="46467">
                    <a:moveTo>
                      <a:pt x="3272" y="42464"/>
                    </a:moveTo>
                    <a:cubicBezTo>
                      <a:pt x="6204" y="34752"/>
                      <a:pt x="8687" y="21014"/>
                      <a:pt x="10534" y="2246"/>
                    </a:cubicBezTo>
                    <a:cubicBezTo>
                      <a:pt x="10599" y="1563"/>
                      <a:pt x="10639" y="1138"/>
                      <a:pt x="10655" y="1025"/>
                    </a:cubicBezTo>
                    <a:cubicBezTo>
                      <a:pt x="10727" y="551"/>
                      <a:pt x="10406" y="93"/>
                      <a:pt x="9940" y="13"/>
                    </a:cubicBezTo>
                    <a:cubicBezTo>
                      <a:pt x="9466" y="-68"/>
                      <a:pt x="9016" y="238"/>
                      <a:pt x="8928" y="704"/>
                    </a:cubicBezTo>
                    <a:cubicBezTo>
                      <a:pt x="8904" y="816"/>
                      <a:pt x="8888" y="1025"/>
                      <a:pt x="8783" y="2061"/>
                    </a:cubicBezTo>
                    <a:cubicBezTo>
                      <a:pt x="6060" y="29730"/>
                      <a:pt x="2565" y="40769"/>
                      <a:pt x="114" y="45156"/>
                    </a:cubicBezTo>
                    <a:cubicBezTo>
                      <a:pt x="-127" y="45581"/>
                      <a:pt x="26" y="46120"/>
                      <a:pt x="452" y="46353"/>
                    </a:cubicBezTo>
                    <a:cubicBezTo>
                      <a:pt x="878" y="46594"/>
                      <a:pt x="1416" y="46441"/>
                      <a:pt x="1649" y="46015"/>
                    </a:cubicBezTo>
                    <a:cubicBezTo>
                      <a:pt x="2203" y="45043"/>
                      <a:pt x="2741" y="43846"/>
                      <a:pt x="3272" y="42464"/>
                    </a:cubicBezTo>
                    <a:close/>
                  </a:path>
                </a:pathLst>
              </a:custGeom>
              <a:grpFill/>
              <a:ln w="8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1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03" name="Forma Livre: Forma 902">
                <a:extLst>
                  <a:ext uri="{FF2B5EF4-FFF2-40B4-BE49-F238E27FC236}">
                    <a16:creationId xmlns:a16="http://schemas.microsoft.com/office/drawing/2014/main" id="{F4FF2340-5CB7-C128-F8F1-8749F246575C}"/>
                  </a:ext>
                </a:extLst>
              </p:cNvPr>
              <p:cNvSpPr/>
              <p:nvPr/>
            </p:nvSpPr>
            <p:spPr>
              <a:xfrm>
                <a:off x="2813624" y="1384968"/>
                <a:ext cx="10960" cy="45663"/>
              </a:xfrm>
              <a:custGeom>
                <a:avLst/>
                <a:gdLst>
                  <a:gd name="connsiteX0" fmla="*/ 3380 w 10960"/>
                  <a:gd name="connsiteY0" fmla="*/ 41428 h 45663"/>
                  <a:gd name="connsiteX1" fmla="*/ 10827 w 10960"/>
                  <a:gd name="connsiteY1" fmla="*/ 2134 h 45663"/>
                  <a:gd name="connsiteX2" fmla="*/ 10948 w 10960"/>
                  <a:gd name="connsiteY2" fmla="*/ 1025 h 45663"/>
                  <a:gd name="connsiteX3" fmla="*/ 10233 w 10960"/>
                  <a:gd name="connsiteY3" fmla="*/ 13 h 45663"/>
                  <a:gd name="connsiteX4" fmla="*/ 9221 w 10960"/>
                  <a:gd name="connsiteY4" fmla="*/ 704 h 45663"/>
                  <a:gd name="connsiteX5" fmla="*/ 9076 w 10960"/>
                  <a:gd name="connsiteY5" fmla="*/ 1941 h 45663"/>
                  <a:gd name="connsiteX6" fmla="*/ 118 w 10960"/>
                  <a:gd name="connsiteY6" fmla="*/ 44353 h 45663"/>
                  <a:gd name="connsiteX7" fmla="*/ 455 w 10960"/>
                  <a:gd name="connsiteY7" fmla="*/ 45550 h 45663"/>
                  <a:gd name="connsiteX8" fmla="*/ 1652 w 10960"/>
                  <a:gd name="connsiteY8" fmla="*/ 45212 h 45663"/>
                  <a:gd name="connsiteX9" fmla="*/ 3380 w 10960"/>
                  <a:gd name="connsiteY9" fmla="*/ 41428 h 45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960" h="45663">
                    <a:moveTo>
                      <a:pt x="3380" y="41428"/>
                    </a:moveTo>
                    <a:cubicBezTo>
                      <a:pt x="6304" y="33724"/>
                      <a:pt x="8859" y="20315"/>
                      <a:pt x="10827" y="2134"/>
                    </a:cubicBezTo>
                    <a:cubicBezTo>
                      <a:pt x="10891" y="1515"/>
                      <a:pt x="10932" y="1130"/>
                      <a:pt x="10948" y="1025"/>
                    </a:cubicBezTo>
                    <a:cubicBezTo>
                      <a:pt x="11028" y="551"/>
                      <a:pt x="10707" y="93"/>
                      <a:pt x="10233" y="13"/>
                    </a:cubicBezTo>
                    <a:cubicBezTo>
                      <a:pt x="9759" y="-67"/>
                      <a:pt x="9309" y="230"/>
                      <a:pt x="9221" y="704"/>
                    </a:cubicBezTo>
                    <a:cubicBezTo>
                      <a:pt x="9204" y="784"/>
                      <a:pt x="9156" y="1218"/>
                      <a:pt x="9076" y="1941"/>
                    </a:cubicBezTo>
                    <a:cubicBezTo>
                      <a:pt x="6786" y="23054"/>
                      <a:pt x="3605" y="38118"/>
                      <a:pt x="118" y="44353"/>
                    </a:cubicBezTo>
                    <a:cubicBezTo>
                      <a:pt x="-131" y="44778"/>
                      <a:pt x="30" y="45317"/>
                      <a:pt x="455" y="45550"/>
                    </a:cubicBezTo>
                    <a:cubicBezTo>
                      <a:pt x="881" y="45791"/>
                      <a:pt x="1419" y="45638"/>
                      <a:pt x="1652" y="45212"/>
                    </a:cubicBezTo>
                    <a:cubicBezTo>
                      <a:pt x="2247" y="44168"/>
                      <a:pt x="2825" y="42898"/>
                      <a:pt x="3380" y="41428"/>
                    </a:cubicBezTo>
                    <a:close/>
                  </a:path>
                </a:pathLst>
              </a:custGeom>
              <a:grpFill/>
              <a:ln w="8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1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04" name="Forma Livre: Forma 903">
                <a:extLst>
                  <a:ext uri="{FF2B5EF4-FFF2-40B4-BE49-F238E27FC236}">
                    <a16:creationId xmlns:a16="http://schemas.microsoft.com/office/drawing/2014/main" id="{8507F3CF-ABB1-6BEF-0A8F-1C82F7470740}"/>
                  </a:ext>
                </a:extLst>
              </p:cNvPr>
              <p:cNvSpPr/>
              <p:nvPr/>
            </p:nvSpPr>
            <p:spPr>
              <a:xfrm>
                <a:off x="2821482" y="1397963"/>
                <a:ext cx="11907" cy="37909"/>
              </a:xfrm>
              <a:custGeom>
                <a:avLst/>
                <a:gdLst>
                  <a:gd name="connsiteX0" fmla="*/ 5042 w 11907"/>
                  <a:gd name="connsiteY0" fmla="*/ 30417 h 37909"/>
                  <a:gd name="connsiteX1" fmla="*/ 11726 w 11907"/>
                  <a:gd name="connsiteY1" fmla="*/ 2089 h 37909"/>
                  <a:gd name="connsiteX2" fmla="*/ 11887 w 11907"/>
                  <a:gd name="connsiteY2" fmla="*/ 1077 h 37909"/>
                  <a:gd name="connsiteX3" fmla="*/ 11236 w 11907"/>
                  <a:gd name="connsiteY3" fmla="*/ 25 h 37909"/>
                  <a:gd name="connsiteX4" fmla="*/ 10183 w 11907"/>
                  <a:gd name="connsiteY4" fmla="*/ 651 h 37909"/>
                  <a:gd name="connsiteX5" fmla="*/ 9991 w 11907"/>
                  <a:gd name="connsiteY5" fmla="*/ 1824 h 37909"/>
                  <a:gd name="connsiteX6" fmla="*/ 141 w 11907"/>
                  <a:gd name="connsiteY6" fmla="*/ 36555 h 37909"/>
                  <a:gd name="connsiteX7" fmla="*/ 406 w 11907"/>
                  <a:gd name="connsiteY7" fmla="*/ 37768 h 37909"/>
                  <a:gd name="connsiteX8" fmla="*/ 1619 w 11907"/>
                  <a:gd name="connsiteY8" fmla="*/ 37503 h 37909"/>
                  <a:gd name="connsiteX9" fmla="*/ 5042 w 11907"/>
                  <a:gd name="connsiteY9" fmla="*/ 30417 h 37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907" h="37909">
                    <a:moveTo>
                      <a:pt x="5042" y="30417"/>
                    </a:moveTo>
                    <a:cubicBezTo>
                      <a:pt x="7235" y="24649"/>
                      <a:pt x="9629" y="15763"/>
                      <a:pt x="11726" y="2089"/>
                    </a:cubicBezTo>
                    <a:cubicBezTo>
                      <a:pt x="11814" y="1535"/>
                      <a:pt x="11862" y="1182"/>
                      <a:pt x="11887" y="1077"/>
                    </a:cubicBezTo>
                    <a:cubicBezTo>
                      <a:pt x="11991" y="611"/>
                      <a:pt x="11702" y="137"/>
                      <a:pt x="11236" y="25"/>
                    </a:cubicBezTo>
                    <a:cubicBezTo>
                      <a:pt x="10770" y="-88"/>
                      <a:pt x="10304" y="193"/>
                      <a:pt x="10183" y="651"/>
                    </a:cubicBezTo>
                    <a:cubicBezTo>
                      <a:pt x="10151" y="772"/>
                      <a:pt x="10111" y="1013"/>
                      <a:pt x="9991" y="1824"/>
                    </a:cubicBezTo>
                    <a:cubicBezTo>
                      <a:pt x="6769" y="22914"/>
                      <a:pt x="2856" y="32353"/>
                      <a:pt x="141" y="36555"/>
                    </a:cubicBezTo>
                    <a:cubicBezTo>
                      <a:pt x="-124" y="36965"/>
                      <a:pt x="-4" y="37503"/>
                      <a:pt x="406" y="37768"/>
                    </a:cubicBezTo>
                    <a:cubicBezTo>
                      <a:pt x="816" y="38033"/>
                      <a:pt x="1362" y="37913"/>
                      <a:pt x="1619" y="37503"/>
                    </a:cubicBezTo>
                    <a:cubicBezTo>
                      <a:pt x="2631" y="35953"/>
                      <a:pt x="3804" y="33679"/>
                      <a:pt x="5042" y="30417"/>
                    </a:cubicBezTo>
                    <a:close/>
                  </a:path>
                </a:pathLst>
              </a:custGeom>
              <a:grpFill/>
              <a:ln w="8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1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816" name="Forma Livre: Forma 815">
              <a:extLst>
                <a:ext uri="{FF2B5EF4-FFF2-40B4-BE49-F238E27FC236}">
                  <a16:creationId xmlns:a16="http://schemas.microsoft.com/office/drawing/2014/main" id="{7A5B8C4A-BFBD-643F-0A94-12E29AFB88FE}"/>
                </a:ext>
              </a:extLst>
            </p:cNvPr>
            <p:cNvSpPr/>
            <p:nvPr/>
          </p:nvSpPr>
          <p:spPr>
            <a:xfrm>
              <a:off x="2737295" y="1650368"/>
              <a:ext cx="305245" cy="180869"/>
            </a:xfrm>
            <a:custGeom>
              <a:avLst/>
              <a:gdLst>
                <a:gd name="connsiteX0" fmla="*/ 59969 w 305245"/>
                <a:gd name="connsiteY0" fmla="*/ 126455 h 180869"/>
                <a:gd name="connsiteX1" fmla="*/ 10488 w 305245"/>
                <a:gd name="connsiteY1" fmla="*/ 19555 h 180869"/>
                <a:gd name="connsiteX2" fmla="*/ 180374 w 305245"/>
                <a:gd name="connsiteY2" fmla="*/ 103172 h 180869"/>
                <a:gd name="connsiteX3" fmla="*/ 273182 w 305245"/>
                <a:gd name="connsiteY3" fmla="*/ 0 h 180869"/>
                <a:gd name="connsiteX4" fmla="*/ 305246 w 305245"/>
                <a:gd name="connsiteY4" fmla="*/ 14694 h 180869"/>
                <a:gd name="connsiteX5" fmla="*/ 207464 w 305245"/>
                <a:gd name="connsiteY5" fmla="*/ 173638 h 180869"/>
                <a:gd name="connsiteX6" fmla="*/ 59969 w 305245"/>
                <a:gd name="connsiteY6" fmla="*/ 126455 h 180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5245" h="180869">
                  <a:moveTo>
                    <a:pt x="59969" y="126455"/>
                  </a:moveTo>
                  <a:cubicBezTo>
                    <a:pt x="32212" y="108836"/>
                    <a:pt x="-23070" y="60327"/>
                    <a:pt x="10488" y="19555"/>
                  </a:cubicBezTo>
                  <a:cubicBezTo>
                    <a:pt x="50858" y="-29493"/>
                    <a:pt x="180374" y="103172"/>
                    <a:pt x="180374" y="103172"/>
                  </a:cubicBezTo>
                  <a:cubicBezTo>
                    <a:pt x="210646" y="46268"/>
                    <a:pt x="249482" y="50437"/>
                    <a:pt x="273182" y="0"/>
                  </a:cubicBezTo>
                  <a:lnTo>
                    <a:pt x="305246" y="14694"/>
                  </a:lnTo>
                  <a:cubicBezTo>
                    <a:pt x="294850" y="74017"/>
                    <a:pt x="237254" y="152533"/>
                    <a:pt x="207464" y="173638"/>
                  </a:cubicBezTo>
                  <a:cubicBezTo>
                    <a:pt x="177682" y="194743"/>
                    <a:pt x="123574" y="166825"/>
                    <a:pt x="59969" y="126455"/>
                  </a:cubicBezTo>
                  <a:close/>
                </a:path>
              </a:pathLst>
            </a:custGeom>
            <a:solidFill>
              <a:srgbClr val="EEA004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7" name="Forma Livre: Forma 816">
              <a:extLst>
                <a:ext uri="{FF2B5EF4-FFF2-40B4-BE49-F238E27FC236}">
                  <a16:creationId xmlns:a16="http://schemas.microsoft.com/office/drawing/2014/main" id="{CACCBF79-048B-1F2A-1C74-952D01514726}"/>
                </a:ext>
              </a:extLst>
            </p:cNvPr>
            <p:cNvSpPr/>
            <p:nvPr/>
          </p:nvSpPr>
          <p:spPr>
            <a:xfrm>
              <a:off x="2594865" y="2428328"/>
              <a:ext cx="102987" cy="58374"/>
            </a:xfrm>
            <a:custGeom>
              <a:avLst/>
              <a:gdLst>
                <a:gd name="connsiteX0" fmla="*/ 44219 w 102987"/>
                <a:gd name="connsiteY0" fmla="*/ 8291 h 58374"/>
                <a:gd name="connsiteX1" fmla="*/ 94166 w 102987"/>
                <a:gd name="connsiteY1" fmla="*/ 47995 h 58374"/>
                <a:gd name="connsiteX2" fmla="*/ 102987 w 102987"/>
                <a:gd name="connsiteY2" fmla="*/ 58375 h 58374"/>
                <a:gd name="connsiteX3" fmla="*/ 45633 w 102987"/>
                <a:gd name="connsiteY3" fmla="*/ 58375 h 58374"/>
                <a:gd name="connsiteX4" fmla="*/ 23178 w 102987"/>
                <a:gd name="connsiteY4" fmla="*/ 33132 h 58374"/>
                <a:gd name="connsiteX5" fmla="*/ 16197 w 102987"/>
                <a:gd name="connsiteY5" fmla="*/ 39133 h 58374"/>
                <a:gd name="connsiteX6" fmla="*/ 0 w 102987"/>
                <a:gd name="connsiteY6" fmla="*/ 23226 h 58374"/>
                <a:gd name="connsiteX7" fmla="*/ 19892 w 102987"/>
                <a:gd name="connsiteY7" fmla="*/ 0 h 58374"/>
                <a:gd name="connsiteX8" fmla="*/ 44219 w 102987"/>
                <a:gd name="connsiteY8" fmla="*/ 8291 h 58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987" h="58374">
                  <a:moveTo>
                    <a:pt x="44219" y="8291"/>
                  </a:moveTo>
                  <a:cubicBezTo>
                    <a:pt x="44219" y="8291"/>
                    <a:pt x="44323" y="33100"/>
                    <a:pt x="94166" y="47995"/>
                  </a:cubicBezTo>
                  <a:cubicBezTo>
                    <a:pt x="104393" y="51048"/>
                    <a:pt x="101067" y="54077"/>
                    <a:pt x="102987" y="58375"/>
                  </a:cubicBezTo>
                  <a:cubicBezTo>
                    <a:pt x="86622" y="58375"/>
                    <a:pt x="45633" y="58375"/>
                    <a:pt x="45633" y="58375"/>
                  </a:cubicBezTo>
                  <a:lnTo>
                    <a:pt x="23178" y="33132"/>
                  </a:lnTo>
                  <a:lnTo>
                    <a:pt x="16197" y="39133"/>
                  </a:lnTo>
                  <a:lnTo>
                    <a:pt x="0" y="23226"/>
                  </a:lnTo>
                  <a:cubicBezTo>
                    <a:pt x="0" y="23226"/>
                    <a:pt x="7560" y="201"/>
                    <a:pt x="19892" y="0"/>
                  </a:cubicBezTo>
                  <a:cubicBezTo>
                    <a:pt x="30063" y="3463"/>
                    <a:pt x="44219" y="8291"/>
                    <a:pt x="44219" y="8291"/>
                  </a:cubicBezTo>
                  <a:close/>
                </a:path>
              </a:pathLst>
            </a:custGeom>
            <a:solidFill>
              <a:srgbClr val="132237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8" name="Forma Livre: Forma 817">
              <a:extLst>
                <a:ext uri="{FF2B5EF4-FFF2-40B4-BE49-F238E27FC236}">
                  <a16:creationId xmlns:a16="http://schemas.microsoft.com/office/drawing/2014/main" id="{F8EA80B9-B311-2987-5552-7A7D99C7028D}"/>
                </a:ext>
              </a:extLst>
            </p:cNvPr>
            <p:cNvSpPr/>
            <p:nvPr/>
          </p:nvSpPr>
          <p:spPr>
            <a:xfrm>
              <a:off x="2614749" y="2406235"/>
              <a:ext cx="33654" cy="31245"/>
            </a:xfrm>
            <a:custGeom>
              <a:avLst/>
              <a:gdLst>
                <a:gd name="connsiteX0" fmla="*/ 33654 w 33654"/>
                <a:gd name="connsiteY0" fmla="*/ 8902 h 31245"/>
                <a:gd name="connsiteX1" fmla="*/ 24335 w 33654"/>
                <a:gd name="connsiteY1" fmla="*/ 30384 h 31245"/>
                <a:gd name="connsiteX2" fmla="*/ 24335 w 33654"/>
                <a:gd name="connsiteY2" fmla="*/ 30384 h 31245"/>
                <a:gd name="connsiteX3" fmla="*/ 1028 w 33654"/>
                <a:gd name="connsiteY3" fmla="*/ 23307 h 31245"/>
                <a:gd name="connsiteX4" fmla="*/ 0 w 33654"/>
                <a:gd name="connsiteY4" fmla="*/ 22093 h 31245"/>
                <a:gd name="connsiteX5" fmla="*/ 7528 w 33654"/>
                <a:gd name="connsiteY5" fmla="*/ 0 h 31245"/>
                <a:gd name="connsiteX6" fmla="*/ 33654 w 33654"/>
                <a:gd name="connsiteY6" fmla="*/ 8902 h 31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654" h="31245">
                  <a:moveTo>
                    <a:pt x="33654" y="8902"/>
                  </a:moveTo>
                  <a:lnTo>
                    <a:pt x="24335" y="30384"/>
                  </a:lnTo>
                  <a:lnTo>
                    <a:pt x="24335" y="30384"/>
                  </a:lnTo>
                  <a:cubicBezTo>
                    <a:pt x="15851" y="32803"/>
                    <a:pt x="6733" y="30031"/>
                    <a:pt x="1028" y="23307"/>
                  </a:cubicBezTo>
                  <a:lnTo>
                    <a:pt x="0" y="22093"/>
                  </a:lnTo>
                  <a:lnTo>
                    <a:pt x="7528" y="0"/>
                  </a:lnTo>
                  <a:lnTo>
                    <a:pt x="33654" y="8902"/>
                  </a:lnTo>
                  <a:close/>
                </a:path>
              </a:pathLst>
            </a:custGeom>
            <a:solidFill>
              <a:srgbClr val="825A45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9" name="Forma Livre: Forma 818">
              <a:extLst>
                <a:ext uri="{FF2B5EF4-FFF2-40B4-BE49-F238E27FC236}">
                  <a16:creationId xmlns:a16="http://schemas.microsoft.com/office/drawing/2014/main" id="{F45ADDF2-7FC3-C6C9-36C4-20DA794F3B36}"/>
                </a:ext>
              </a:extLst>
            </p:cNvPr>
            <p:cNvSpPr/>
            <p:nvPr/>
          </p:nvSpPr>
          <p:spPr>
            <a:xfrm>
              <a:off x="2809763" y="2446461"/>
              <a:ext cx="113339" cy="40981"/>
            </a:xfrm>
            <a:custGeom>
              <a:avLst/>
              <a:gdLst>
                <a:gd name="connsiteX0" fmla="*/ 22610 w 113339"/>
                <a:gd name="connsiteY0" fmla="*/ 40981 h 40981"/>
                <a:gd name="connsiteX1" fmla="*/ 23165 w 113339"/>
                <a:gd name="connsiteY1" fmla="*/ 33903 h 40981"/>
                <a:gd name="connsiteX2" fmla="*/ 63519 w 113339"/>
                <a:gd name="connsiteY2" fmla="*/ 40981 h 40981"/>
                <a:gd name="connsiteX3" fmla="*/ 113249 w 113339"/>
                <a:gd name="connsiteY3" fmla="*/ 40981 h 40981"/>
                <a:gd name="connsiteX4" fmla="*/ 95695 w 113339"/>
                <a:gd name="connsiteY4" fmla="*/ 26978 h 40981"/>
                <a:gd name="connsiteX5" fmla="*/ 39152 w 113339"/>
                <a:gd name="connsiteY5" fmla="*/ 0 h 40981"/>
                <a:gd name="connsiteX6" fmla="*/ 10391 w 113339"/>
                <a:gd name="connsiteY6" fmla="*/ 0 h 40981"/>
                <a:gd name="connsiteX7" fmla="*/ 364 w 113339"/>
                <a:gd name="connsiteY7" fmla="*/ 40973 h 40981"/>
                <a:gd name="connsiteX8" fmla="*/ 22610 w 113339"/>
                <a:gd name="connsiteY8" fmla="*/ 40973 h 40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3339" h="40981">
                  <a:moveTo>
                    <a:pt x="22610" y="40981"/>
                  </a:moveTo>
                  <a:lnTo>
                    <a:pt x="23165" y="33903"/>
                  </a:lnTo>
                  <a:lnTo>
                    <a:pt x="63519" y="40981"/>
                  </a:lnTo>
                  <a:lnTo>
                    <a:pt x="113249" y="40981"/>
                  </a:lnTo>
                  <a:cubicBezTo>
                    <a:pt x="114390" y="26215"/>
                    <a:pt x="104484" y="29268"/>
                    <a:pt x="95695" y="26978"/>
                  </a:cubicBezTo>
                  <a:cubicBezTo>
                    <a:pt x="55734" y="16590"/>
                    <a:pt x="39152" y="0"/>
                    <a:pt x="39152" y="0"/>
                  </a:cubicBezTo>
                  <a:cubicBezTo>
                    <a:pt x="39152" y="0"/>
                    <a:pt x="22417" y="0"/>
                    <a:pt x="10391" y="0"/>
                  </a:cubicBezTo>
                  <a:cubicBezTo>
                    <a:pt x="-2713" y="4579"/>
                    <a:pt x="252" y="39664"/>
                    <a:pt x="364" y="40973"/>
                  </a:cubicBezTo>
                  <a:lnTo>
                    <a:pt x="22610" y="40973"/>
                  </a:lnTo>
                  <a:close/>
                </a:path>
              </a:pathLst>
            </a:custGeom>
            <a:solidFill>
              <a:srgbClr val="132237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0" name="Forma Livre: Forma 819">
              <a:extLst>
                <a:ext uri="{FF2B5EF4-FFF2-40B4-BE49-F238E27FC236}">
                  <a16:creationId xmlns:a16="http://schemas.microsoft.com/office/drawing/2014/main" id="{ED881C4E-3973-C7E1-FAA1-BE4E0CEEC13A}"/>
                </a:ext>
              </a:extLst>
            </p:cNvPr>
            <p:cNvSpPr/>
            <p:nvPr/>
          </p:nvSpPr>
          <p:spPr>
            <a:xfrm>
              <a:off x="2820161" y="2420351"/>
              <a:ext cx="28761" cy="30597"/>
            </a:xfrm>
            <a:custGeom>
              <a:avLst/>
              <a:gdLst>
                <a:gd name="connsiteX0" fmla="*/ 26440 w 28761"/>
                <a:gd name="connsiteY0" fmla="*/ 0 h 30597"/>
                <a:gd name="connsiteX1" fmla="*/ 28761 w 28761"/>
                <a:gd name="connsiteY1" fmla="*/ 26118 h 30597"/>
                <a:gd name="connsiteX2" fmla="*/ 28761 w 28761"/>
                <a:gd name="connsiteY2" fmla="*/ 26118 h 30597"/>
                <a:gd name="connsiteX3" fmla="*/ 1454 w 28761"/>
                <a:gd name="connsiteY3" fmla="*/ 27034 h 30597"/>
                <a:gd name="connsiteX4" fmla="*/ 0 w 28761"/>
                <a:gd name="connsiteY4" fmla="*/ 26118 h 30597"/>
                <a:gd name="connsiteX5" fmla="*/ 4266 w 28761"/>
                <a:gd name="connsiteY5" fmla="*/ 0 h 30597"/>
                <a:gd name="connsiteX6" fmla="*/ 26440 w 28761"/>
                <a:gd name="connsiteY6" fmla="*/ 0 h 30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761" h="30597">
                  <a:moveTo>
                    <a:pt x="26440" y="0"/>
                  </a:moveTo>
                  <a:lnTo>
                    <a:pt x="28761" y="26118"/>
                  </a:lnTo>
                  <a:lnTo>
                    <a:pt x="28761" y="26118"/>
                  </a:lnTo>
                  <a:cubicBezTo>
                    <a:pt x="20205" y="31742"/>
                    <a:pt x="9528" y="32096"/>
                    <a:pt x="1454" y="27034"/>
                  </a:cubicBezTo>
                  <a:lnTo>
                    <a:pt x="0" y="26118"/>
                  </a:lnTo>
                  <a:lnTo>
                    <a:pt x="4266" y="0"/>
                  </a:lnTo>
                  <a:lnTo>
                    <a:pt x="26440" y="0"/>
                  </a:lnTo>
                  <a:close/>
                </a:path>
              </a:pathLst>
            </a:custGeom>
            <a:solidFill>
              <a:srgbClr val="825A45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1" name="Forma Livre: Forma 820">
              <a:extLst>
                <a:ext uri="{FF2B5EF4-FFF2-40B4-BE49-F238E27FC236}">
                  <a16:creationId xmlns:a16="http://schemas.microsoft.com/office/drawing/2014/main" id="{E47951CE-C8CD-0AF4-51F8-B7FE021A54DD}"/>
                </a:ext>
              </a:extLst>
            </p:cNvPr>
            <p:cNvSpPr/>
            <p:nvPr/>
          </p:nvSpPr>
          <p:spPr>
            <a:xfrm>
              <a:off x="2816602" y="1903518"/>
              <a:ext cx="125510" cy="524585"/>
            </a:xfrm>
            <a:custGeom>
              <a:avLst/>
              <a:gdLst>
                <a:gd name="connsiteX0" fmla="*/ 3767 w 125510"/>
                <a:gd name="connsiteY0" fmla="*/ 0 h 524585"/>
                <a:gd name="connsiteX1" fmla="*/ 15497 w 125510"/>
                <a:gd name="connsiteY1" fmla="*/ 210667 h 524585"/>
                <a:gd name="connsiteX2" fmla="*/ 13264 w 125510"/>
                <a:gd name="connsiteY2" fmla="*/ 274745 h 524585"/>
                <a:gd name="connsiteX3" fmla="*/ 3261 w 125510"/>
                <a:gd name="connsiteY3" fmla="*/ 524586 h 524585"/>
                <a:gd name="connsiteX4" fmla="*/ 32955 w 125510"/>
                <a:gd name="connsiteY4" fmla="*/ 524586 h 524585"/>
                <a:gd name="connsiteX5" fmla="*/ 123634 w 125510"/>
                <a:gd name="connsiteY5" fmla="*/ 0 h 524585"/>
                <a:gd name="connsiteX6" fmla="*/ 3767 w 125510"/>
                <a:gd name="connsiteY6" fmla="*/ 0 h 524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5510" h="524585">
                  <a:moveTo>
                    <a:pt x="3767" y="0"/>
                  </a:moveTo>
                  <a:cubicBezTo>
                    <a:pt x="-3085" y="36538"/>
                    <a:pt x="-1382" y="121891"/>
                    <a:pt x="15497" y="210667"/>
                  </a:cubicBezTo>
                  <a:cubicBezTo>
                    <a:pt x="19474" y="231571"/>
                    <a:pt x="18478" y="253383"/>
                    <a:pt x="13264" y="274745"/>
                  </a:cubicBezTo>
                  <a:cubicBezTo>
                    <a:pt x="-6315" y="354940"/>
                    <a:pt x="3261" y="524586"/>
                    <a:pt x="3261" y="524586"/>
                  </a:cubicBezTo>
                  <a:lnTo>
                    <a:pt x="32955" y="524586"/>
                  </a:lnTo>
                  <a:cubicBezTo>
                    <a:pt x="32955" y="524586"/>
                    <a:pt x="140931" y="169758"/>
                    <a:pt x="123634" y="0"/>
                  </a:cubicBezTo>
                  <a:cubicBezTo>
                    <a:pt x="103951" y="0"/>
                    <a:pt x="3767" y="0"/>
                    <a:pt x="3767" y="0"/>
                  </a:cubicBezTo>
                  <a:close/>
                </a:path>
              </a:pathLst>
            </a:custGeom>
            <a:solidFill>
              <a:srgbClr val="114585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2" name="Forma Livre: Forma 821">
              <a:extLst>
                <a:ext uri="{FF2B5EF4-FFF2-40B4-BE49-F238E27FC236}">
                  <a16:creationId xmlns:a16="http://schemas.microsoft.com/office/drawing/2014/main" id="{585FE5A5-DD53-A7F3-7587-CF3A48B4FA31}"/>
                </a:ext>
              </a:extLst>
            </p:cNvPr>
            <p:cNvSpPr/>
            <p:nvPr/>
          </p:nvSpPr>
          <p:spPr>
            <a:xfrm>
              <a:off x="2617512" y="1903518"/>
              <a:ext cx="287728" cy="516832"/>
            </a:xfrm>
            <a:custGeom>
              <a:avLst/>
              <a:gdLst>
                <a:gd name="connsiteX0" fmla="*/ 136851 w 287728"/>
                <a:gd name="connsiteY0" fmla="*/ 0 h 516832"/>
                <a:gd name="connsiteX1" fmla="*/ 115882 w 287728"/>
                <a:gd name="connsiteY1" fmla="*/ 202938 h 516832"/>
                <a:gd name="connsiteX2" fmla="*/ 86004 w 287728"/>
                <a:gd name="connsiteY2" fmla="*/ 280209 h 516832"/>
                <a:gd name="connsiteX3" fmla="*/ 0 w 287728"/>
                <a:gd name="connsiteY3" fmla="*/ 507931 h 516832"/>
                <a:gd name="connsiteX4" fmla="*/ 31381 w 287728"/>
                <a:gd name="connsiteY4" fmla="*/ 516833 h 516832"/>
                <a:gd name="connsiteX5" fmla="*/ 186436 w 287728"/>
                <a:gd name="connsiteY5" fmla="*/ 284097 h 516832"/>
                <a:gd name="connsiteX6" fmla="*/ 287728 w 287728"/>
                <a:gd name="connsiteY6" fmla="*/ 0 h 516832"/>
                <a:gd name="connsiteX7" fmla="*/ 136851 w 287728"/>
                <a:gd name="connsiteY7" fmla="*/ 0 h 516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7728" h="516832">
                  <a:moveTo>
                    <a:pt x="136851" y="0"/>
                  </a:moveTo>
                  <a:cubicBezTo>
                    <a:pt x="136232" y="12244"/>
                    <a:pt x="132078" y="85907"/>
                    <a:pt x="115882" y="202938"/>
                  </a:cubicBezTo>
                  <a:cubicBezTo>
                    <a:pt x="112050" y="230639"/>
                    <a:pt x="102055" y="257312"/>
                    <a:pt x="86004" y="280209"/>
                  </a:cubicBezTo>
                  <a:cubicBezTo>
                    <a:pt x="40435" y="345203"/>
                    <a:pt x="0" y="507931"/>
                    <a:pt x="0" y="507931"/>
                  </a:cubicBezTo>
                  <a:lnTo>
                    <a:pt x="31381" y="516833"/>
                  </a:lnTo>
                  <a:cubicBezTo>
                    <a:pt x="31381" y="516833"/>
                    <a:pt x="114243" y="425447"/>
                    <a:pt x="186436" y="284097"/>
                  </a:cubicBezTo>
                  <a:cubicBezTo>
                    <a:pt x="227795" y="203123"/>
                    <a:pt x="268021" y="138722"/>
                    <a:pt x="287728" y="0"/>
                  </a:cubicBezTo>
                  <a:lnTo>
                    <a:pt x="136851" y="0"/>
                  </a:lnTo>
                  <a:close/>
                </a:path>
              </a:pathLst>
            </a:custGeom>
            <a:solidFill>
              <a:srgbClr val="132237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3" name="Forma Livre: Forma 822">
              <a:extLst>
                <a:ext uri="{FF2B5EF4-FFF2-40B4-BE49-F238E27FC236}">
                  <a16:creationId xmlns:a16="http://schemas.microsoft.com/office/drawing/2014/main" id="{FA280D83-B6E7-F040-E2B6-614D3C1A534A}"/>
                </a:ext>
              </a:extLst>
            </p:cNvPr>
            <p:cNvSpPr/>
            <p:nvPr/>
          </p:nvSpPr>
          <p:spPr>
            <a:xfrm>
              <a:off x="1939262" y="2195906"/>
              <a:ext cx="40129" cy="63990"/>
            </a:xfrm>
            <a:custGeom>
              <a:avLst/>
              <a:gdLst>
                <a:gd name="connsiteX0" fmla="*/ 38362 w 40129"/>
                <a:gd name="connsiteY0" fmla="*/ 17289 h 63990"/>
                <a:gd name="connsiteX1" fmla="*/ 40130 w 40129"/>
                <a:gd name="connsiteY1" fmla="*/ 63990 h 63990"/>
                <a:gd name="connsiteX2" fmla="*/ 1173 w 40129"/>
                <a:gd name="connsiteY2" fmla="*/ 60954 h 63990"/>
                <a:gd name="connsiteX3" fmla="*/ 0 w 40129"/>
                <a:gd name="connsiteY3" fmla="*/ 0 h 63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129" h="63990">
                  <a:moveTo>
                    <a:pt x="38362" y="17289"/>
                  </a:moveTo>
                  <a:lnTo>
                    <a:pt x="40130" y="63990"/>
                  </a:lnTo>
                  <a:lnTo>
                    <a:pt x="1173" y="609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A086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4" name="Forma Livre: Forma 823">
              <a:extLst>
                <a:ext uri="{FF2B5EF4-FFF2-40B4-BE49-F238E27FC236}">
                  <a16:creationId xmlns:a16="http://schemas.microsoft.com/office/drawing/2014/main" id="{2D3EB16E-31B1-5C53-5369-4191D768B2F6}"/>
                </a:ext>
              </a:extLst>
            </p:cNvPr>
            <p:cNvSpPr/>
            <p:nvPr/>
          </p:nvSpPr>
          <p:spPr>
            <a:xfrm>
              <a:off x="1806324" y="2195906"/>
              <a:ext cx="47914" cy="63990"/>
            </a:xfrm>
            <a:custGeom>
              <a:avLst/>
              <a:gdLst>
                <a:gd name="connsiteX0" fmla="*/ 47914 w 47914"/>
                <a:gd name="connsiteY0" fmla="*/ 17289 h 63990"/>
                <a:gd name="connsiteX1" fmla="*/ 38209 w 47914"/>
                <a:gd name="connsiteY1" fmla="*/ 63990 h 63990"/>
                <a:gd name="connsiteX2" fmla="*/ 0 w 47914"/>
                <a:gd name="connsiteY2" fmla="*/ 60954 h 63990"/>
                <a:gd name="connsiteX3" fmla="*/ 13794 w 47914"/>
                <a:gd name="connsiteY3" fmla="*/ 0 h 63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914" h="63990">
                  <a:moveTo>
                    <a:pt x="47914" y="17289"/>
                  </a:moveTo>
                  <a:lnTo>
                    <a:pt x="38209" y="63990"/>
                  </a:lnTo>
                  <a:lnTo>
                    <a:pt x="0" y="60954"/>
                  </a:lnTo>
                  <a:lnTo>
                    <a:pt x="13794" y="0"/>
                  </a:lnTo>
                  <a:close/>
                </a:path>
              </a:pathLst>
            </a:custGeom>
            <a:solidFill>
              <a:srgbClr val="F6B690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5" name="Forma Livre: Forma 824">
              <a:extLst>
                <a:ext uri="{FF2B5EF4-FFF2-40B4-BE49-F238E27FC236}">
                  <a16:creationId xmlns:a16="http://schemas.microsoft.com/office/drawing/2014/main" id="{A6F641CD-0829-27F6-2D22-95695B1DE3A3}"/>
                </a:ext>
              </a:extLst>
            </p:cNvPr>
            <p:cNvSpPr/>
            <p:nvPr/>
          </p:nvSpPr>
          <p:spPr>
            <a:xfrm>
              <a:off x="1874993" y="1707393"/>
              <a:ext cx="132493" cy="516535"/>
            </a:xfrm>
            <a:custGeom>
              <a:avLst/>
              <a:gdLst>
                <a:gd name="connsiteX0" fmla="*/ 111918 w 132493"/>
                <a:gd name="connsiteY0" fmla="*/ 513836 h 516535"/>
                <a:gd name="connsiteX1" fmla="*/ 63337 w 132493"/>
                <a:gd name="connsiteY1" fmla="*/ 516536 h 516535"/>
                <a:gd name="connsiteX2" fmla="*/ 52539 w 132493"/>
                <a:gd name="connsiteY2" fmla="*/ 510462 h 516535"/>
                <a:gd name="connsiteX3" fmla="*/ 54725 w 132493"/>
                <a:gd name="connsiteY3" fmla="*/ 494940 h 516535"/>
                <a:gd name="connsiteX4" fmla="*/ 45453 w 132493"/>
                <a:gd name="connsiteY4" fmla="*/ 481106 h 516535"/>
                <a:gd name="connsiteX5" fmla="*/ 57601 w 132493"/>
                <a:gd name="connsiteY5" fmla="*/ 463897 h 516535"/>
                <a:gd name="connsiteX6" fmla="*/ 48956 w 132493"/>
                <a:gd name="connsiteY6" fmla="*/ 444326 h 516535"/>
                <a:gd name="connsiteX7" fmla="*/ 59625 w 132493"/>
                <a:gd name="connsiteY7" fmla="*/ 410592 h 516535"/>
                <a:gd name="connsiteX8" fmla="*/ 48956 w 132493"/>
                <a:gd name="connsiteY8" fmla="*/ 316128 h 516535"/>
                <a:gd name="connsiteX9" fmla="*/ 59625 w 132493"/>
                <a:gd name="connsiteY9" fmla="*/ 272608 h 516535"/>
                <a:gd name="connsiteX10" fmla="*/ 6657 w 132493"/>
                <a:gd name="connsiteY10" fmla="*/ 3607 h 516535"/>
                <a:gd name="connsiteX11" fmla="*/ 113292 w 132493"/>
                <a:gd name="connsiteY11" fmla="*/ 0 h 516535"/>
                <a:gd name="connsiteX12" fmla="*/ 132493 w 132493"/>
                <a:gd name="connsiteY12" fmla="*/ 256910 h 516535"/>
                <a:gd name="connsiteX13" fmla="*/ 111918 w 132493"/>
                <a:gd name="connsiteY13" fmla="*/ 513836 h 516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2493" h="516535">
                  <a:moveTo>
                    <a:pt x="111918" y="513836"/>
                  </a:moveTo>
                  <a:lnTo>
                    <a:pt x="63337" y="516536"/>
                  </a:lnTo>
                  <a:cubicBezTo>
                    <a:pt x="63337" y="516536"/>
                    <a:pt x="54066" y="516029"/>
                    <a:pt x="52539" y="510462"/>
                  </a:cubicBezTo>
                  <a:cubicBezTo>
                    <a:pt x="51013" y="504894"/>
                    <a:pt x="54885" y="503038"/>
                    <a:pt x="54725" y="494940"/>
                  </a:cubicBezTo>
                  <a:cubicBezTo>
                    <a:pt x="54564" y="486842"/>
                    <a:pt x="46048" y="489276"/>
                    <a:pt x="45453" y="481106"/>
                  </a:cubicBezTo>
                  <a:cubicBezTo>
                    <a:pt x="44859" y="472935"/>
                    <a:pt x="57601" y="472333"/>
                    <a:pt x="57601" y="463897"/>
                  </a:cubicBezTo>
                  <a:cubicBezTo>
                    <a:pt x="57601" y="455461"/>
                    <a:pt x="48410" y="452425"/>
                    <a:pt x="48956" y="444326"/>
                  </a:cubicBezTo>
                  <a:cubicBezTo>
                    <a:pt x="49502" y="436228"/>
                    <a:pt x="60638" y="430154"/>
                    <a:pt x="59625" y="410592"/>
                  </a:cubicBezTo>
                  <a:cubicBezTo>
                    <a:pt x="58613" y="391021"/>
                    <a:pt x="47060" y="336711"/>
                    <a:pt x="48956" y="316128"/>
                  </a:cubicBezTo>
                  <a:cubicBezTo>
                    <a:pt x="50852" y="295553"/>
                    <a:pt x="59625" y="272608"/>
                    <a:pt x="59625" y="272608"/>
                  </a:cubicBezTo>
                  <a:cubicBezTo>
                    <a:pt x="59625" y="272608"/>
                    <a:pt x="-23703" y="80741"/>
                    <a:pt x="6657" y="3607"/>
                  </a:cubicBezTo>
                  <a:cubicBezTo>
                    <a:pt x="54524" y="1808"/>
                    <a:pt x="113292" y="0"/>
                    <a:pt x="113292" y="0"/>
                  </a:cubicBezTo>
                  <a:lnTo>
                    <a:pt x="132493" y="256910"/>
                  </a:lnTo>
                  <a:lnTo>
                    <a:pt x="111918" y="513836"/>
                  </a:lnTo>
                  <a:close/>
                </a:path>
              </a:pathLst>
            </a:custGeom>
            <a:solidFill>
              <a:srgbClr val="114585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6" name="Forma Livre: Forma 825">
              <a:extLst>
                <a:ext uri="{FF2B5EF4-FFF2-40B4-BE49-F238E27FC236}">
                  <a16:creationId xmlns:a16="http://schemas.microsoft.com/office/drawing/2014/main" id="{A9C589D7-6580-05AD-306F-4D9CEAF3D047}"/>
                </a:ext>
              </a:extLst>
            </p:cNvPr>
            <p:cNvSpPr/>
            <p:nvPr/>
          </p:nvSpPr>
          <p:spPr>
            <a:xfrm>
              <a:off x="1933276" y="2248523"/>
              <a:ext cx="116147" cy="44883"/>
            </a:xfrm>
            <a:custGeom>
              <a:avLst/>
              <a:gdLst>
                <a:gd name="connsiteX0" fmla="*/ 3422 w 116147"/>
                <a:gd name="connsiteY0" fmla="*/ 303 h 44883"/>
                <a:gd name="connsiteX1" fmla="*/ 0 w 116147"/>
                <a:gd name="connsiteY1" fmla="*/ 44883 h 44883"/>
                <a:gd name="connsiteX2" fmla="*/ 116147 w 116147"/>
                <a:gd name="connsiteY2" fmla="*/ 44883 h 44883"/>
                <a:gd name="connsiteX3" fmla="*/ 113528 w 116147"/>
                <a:gd name="connsiteY3" fmla="*/ 35355 h 44883"/>
                <a:gd name="connsiteX4" fmla="*/ 104835 w 116147"/>
                <a:gd name="connsiteY4" fmla="*/ 26228 h 44883"/>
                <a:gd name="connsiteX5" fmla="*/ 63051 w 116147"/>
                <a:gd name="connsiteY5" fmla="*/ 12281 h 44883"/>
                <a:gd name="connsiteX6" fmla="*/ 47850 w 116147"/>
                <a:gd name="connsiteY6" fmla="*/ 303 h 44883"/>
                <a:gd name="connsiteX7" fmla="*/ 24897 w 116147"/>
                <a:gd name="connsiteY7" fmla="*/ 5003 h 44883"/>
                <a:gd name="connsiteX8" fmla="*/ 3422 w 116147"/>
                <a:gd name="connsiteY8" fmla="*/ 303 h 44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6147" h="44883">
                  <a:moveTo>
                    <a:pt x="3422" y="303"/>
                  </a:moveTo>
                  <a:lnTo>
                    <a:pt x="0" y="44883"/>
                  </a:lnTo>
                  <a:lnTo>
                    <a:pt x="116147" y="44883"/>
                  </a:lnTo>
                  <a:lnTo>
                    <a:pt x="113528" y="35355"/>
                  </a:lnTo>
                  <a:cubicBezTo>
                    <a:pt x="112371" y="31137"/>
                    <a:pt x="109029" y="27634"/>
                    <a:pt x="104835" y="26228"/>
                  </a:cubicBezTo>
                  <a:lnTo>
                    <a:pt x="63051" y="12281"/>
                  </a:lnTo>
                  <a:cubicBezTo>
                    <a:pt x="63051" y="12281"/>
                    <a:pt x="52936" y="2271"/>
                    <a:pt x="47850" y="303"/>
                  </a:cubicBezTo>
                  <a:cubicBezTo>
                    <a:pt x="42765" y="-1666"/>
                    <a:pt x="32522" y="6674"/>
                    <a:pt x="24897" y="5003"/>
                  </a:cubicBezTo>
                  <a:cubicBezTo>
                    <a:pt x="17273" y="3331"/>
                    <a:pt x="9111" y="905"/>
                    <a:pt x="3422" y="303"/>
                  </a:cubicBezTo>
                  <a:close/>
                </a:path>
              </a:pathLst>
            </a:custGeom>
            <a:solidFill>
              <a:srgbClr val="114585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7" name="Forma Livre: Forma 826">
              <a:extLst>
                <a:ext uri="{FF2B5EF4-FFF2-40B4-BE49-F238E27FC236}">
                  <a16:creationId xmlns:a16="http://schemas.microsoft.com/office/drawing/2014/main" id="{2B03AD85-AFA0-23D1-CCBF-26E92817B0A9}"/>
                </a:ext>
              </a:extLst>
            </p:cNvPr>
            <p:cNvSpPr/>
            <p:nvPr/>
          </p:nvSpPr>
          <p:spPr>
            <a:xfrm>
              <a:off x="1933276" y="2283396"/>
              <a:ext cx="116147" cy="10010"/>
            </a:xfrm>
            <a:custGeom>
              <a:avLst/>
              <a:gdLst>
                <a:gd name="connsiteX0" fmla="*/ 113367 w 116147"/>
                <a:gd name="connsiteY0" fmla="*/ 0 h 10010"/>
                <a:gd name="connsiteX1" fmla="*/ 771 w 116147"/>
                <a:gd name="connsiteY1" fmla="*/ 0 h 10010"/>
                <a:gd name="connsiteX2" fmla="*/ 0 w 116147"/>
                <a:gd name="connsiteY2" fmla="*/ 10010 h 10010"/>
                <a:gd name="connsiteX3" fmla="*/ 116147 w 116147"/>
                <a:gd name="connsiteY3" fmla="*/ 10010 h 10010"/>
                <a:gd name="connsiteX4" fmla="*/ 113528 w 116147"/>
                <a:gd name="connsiteY4" fmla="*/ 482 h 10010"/>
                <a:gd name="connsiteX5" fmla="*/ 113367 w 116147"/>
                <a:gd name="connsiteY5" fmla="*/ 0 h 10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6147" h="10010">
                  <a:moveTo>
                    <a:pt x="113367" y="0"/>
                  </a:moveTo>
                  <a:lnTo>
                    <a:pt x="771" y="0"/>
                  </a:lnTo>
                  <a:lnTo>
                    <a:pt x="0" y="10010"/>
                  </a:lnTo>
                  <a:lnTo>
                    <a:pt x="116147" y="10010"/>
                  </a:lnTo>
                  <a:lnTo>
                    <a:pt x="113528" y="482"/>
                  </a:lnTo>
                  <a:cubicBezTo>
                    <a:pt x="113488" y="313"/>
                    <a:pt x="113423" y="161"/>
                    <a:pt x="113367" y="0"/>
                  </a:cubicBezTo>
                  <a:close/>
                </a:path>
              </a:pathLst>
            </a:custGeom>
            <a:solidFill>
              <a:srgbClr val="222954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8" name="Forma Livre: Forma 827">
              <a:extLst>
                <a:ext uri="{FF2B5EF4-FFF2-40B4-BE49-F238E27FC236}">
                  <a16:creationId xmlns:a16="http://schemas.microsoft.com/office/drawing/2014/main" id="{74074F1B-CA3C-CE7A-C41F-6DFCDBA2DADB}"/>
                </a:ext>
              </a:extLst>
            </p:cNvPr>
            <p:cNvSpPr/>
            <p:nvPr/>
          </p:nvSpPr>
          <p:spPr>
            <a:xfrm>
              <a:off x="1796587" y="1707409"/>
              <a:ext cx="191697" cy="513819"/>
            </a:xfrm>
            <a:custGeom>
              <a:avLst/>
              <a:gdLst>
                <a:gd name="connsiteX0" fmla="*/ 191698 w 191697"/>
                <a:gd name="connsiteY0" fmla="*/ 0 h 513819"/>
                <a:gd name="connsiteX1" fmla="*/ 130607 w 191697"/>
                <a:gd name="connsiteY1" fmla="*/ 249326 h 513819"/>
                <a:gd name="connsiteX2" fmla="*/ 64150 w 191697"/>
                <a:gd name="connsiteY2" fmla="*/ 513820 h 513819"/>
                <a:gd name="connsiteX3" fmla="*/ 6121 w 191697"/>
                <a:gd name="connsiteY3" fmla="*/ 507746 h 513819"/>
                <a:gd name="connsiteX4" fmla="*/ 47 w 191697"/>
                <a:gd name="connsiteY4" fmla="*/ 494924 h 513819"/>
                <a:gd name="connsiteX5" fmla="*/ 10508 w 191697"/>
                <a:gd name="connsiteY5" fmla="*/ 479740 h 513819"/>
                <a:gd name="connsiteX6" fmla="*/ 6121 w 191697"/>
                <a:gd name="connsiteY6" fmla="*/ 464218 h 513819"/>
                <a:gd name="connsiteX7" fmla="*/ 16581 w 191697"/>
                <a:gd name="connsiteY7" fmla="*/ 448359 h 513819"/>
                <a:gd name="connsiteX8" fmla="*/ 11182 w 191697"/>
                <a:gd name="connsiteY8" fmla="*/ 422048 h 513819"/>
                <a:gd name="connsiteX9" fmla="*/ 33445 w 191697"/>
                <a:gd name="connsiteY9" fmla="*/ 374816 h 513819"/>
                <a:gd name="connsiteX10" fmla="*/ 59418 w 191697"/>
                <a:gd name="connsiteY10" fmla="*/ 243919 h 513819"/>
                <a:gd name="connsiteX11" fmla="*/ 44909 w 191697"/>
                <a:gd name="connsiteY11" fmla="*/ 65453 h 513819"/>
                <a:gd name="connsiteX12" fmla="*/ 74265 w 191697"/>
                <a:gd name="connsiteY12" fmla="*/ 3591 h 513819"/>
                <a:gd name="connsiteX13" fmla="*/ 191698 w 191697"/>
                <a:gd name="connsiteY13" fmla="*/ 0 h 513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1697" h="513819">
                  <a:moveTo>
                    <a:pt x="191698" y="0"/>
                  </a:moveTo>
                  <a:lnTo>
                    <a:pt x="130607" y="249326"/>
                  </a:lnTo>
                  <a:lnTo>
                    <a:pt x="64150" y="513820"/>
                  </a:lnTo>
                  <a:lnTo>
                    <a:pt x="6121" y="507746"/>
                  </a:lnTo>
                  <a:cubicBezTo>
                    <a:pt x="6121" y="507746"/>
                    <a:pt x="-627" y="503360"/>
                    <a:pt x="47" y="494924"/>
                  </a:cubicBezTo>
                  <a:cubicBezTo>
                    <a:pt x="722" y="486489"/>
                    <a:pt x="10508" y="484801"/>
                    <a:pt x="10508" y="479740"/>
                  </a:cubicBezTo>
                  <a:cubicBezTo>
                    <a:pt x="10508" y="474679"/>
                    <a:pt x="5784" y="472991"/>
                    <a:pt x="6121" y="464218"/>
                  </a:cubicBezTo>
                  <a:cubicBezTo>
                    <a:pt x="6459" y="455445"/>
                    <a:pt x="16581" y="454770"/>
                    <a:pt x="16581" y="448359"/>
                  </a:cubicBezTo>
                  <a:cubicBezTo>
                    <a:pt x="16581" y="441948"/>
                    <a:pt x="9833" y="434187"/>
                    <a:pt x="11182" y="422048"/>
                  </a:cubicBezTo>
                  <a:cubicBezTo>
                    <a:pt x="12532" y="409901"/>
                    <a:pt x="30416" y="393712"/>
                    <a:pt x="33445" y="374816"/>
                  </a:cubicBezTo>
                  <a:cubicBezTo>
                    <a:pt x="36481" y="355921"/>
                    <a:pt x="36481" y="274279"/>
                    <a:pt x="59418" y="243919"/>
                  </a:cubicBezTo>
                  <a:cubicBezTo>
                    <a:pt x="63468" y="186902"/>
                    <a:pt x="39173" y="109647"/>
                    <a:pt x="44909" y="65453"/>
                  </a:cubicBezTo>
                  <a:cubicBezTo>
                    <a:pt x="50645" y="21258"/>
                    <a:pt x="74265" y="3591"/>
                    <a:pt x="74265" y="3591"/>
                  </a:cubicBezTo>
                  <a:lnTo>
                    <a:pt x="191698" y="0"/>
                  </a:lnTo>
                  <a:close/>
                </a:path>
              </a:pathLst>
            </a:custGeom>
            <a:solidFill>
              <a:srgbClr val="0070C0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9" name="Forma Livre: Forma 828">
              <a:extLst>
                <a:ext uri="{FF2B5EF4-FFF2-40B4-BE49-F238E27FC236}">
                  <a16:creationId xmlns:a16="http://schemas.microsoft.com/office/drawing/2014/main" id="{A05A6393-2768-F726-F4B4-FD959A4AD7DE}"/>
                </a:ext>
              </a:extLst>
            </p:cNvPr>
            <p:cNvSpPr/>
            <p:nvPr/>
          </p:nvSpPr>
          <p:spPr>
            <a:xfrm>
              <a:off x="1794490" y="2248523"/>
              <a:ext cx="116147" cy="44883"/>
            </a:xfrm>
            <a:custGeom>
              <a:avLst/>
              <a:gdLst>
                <a:gd name="connsiteX0" fmla="*/ 8645 w 116147"/>
                <a:gd name="connsiteY0" fmla="*/ 303 h 44883"/>
                <a:gd name="connsiteX1" fmla="*/ 0 w 116147"/>
                <a:gd name="connsiteY1" fmla="*/ 44883 h 44883"/>
                <a:gd name="connsiteX2" fmla="*/ 116147 w 116147"/>
                <a:gd name="connsiteY2" fmla="*/ 44883 h 44883"/>
                <a:gd name="connsiteX3" fmla="*/ 114645 w 116147"/>
                <a:gd name="connsiteY3" fmla="*/ 35355 h 44883"/>
                <a:gd name="connsiteX4" fmla="*/ 107020 w 116147"/>
                <a:gd name="connsiteY4" fmla="*/ 26228 h 44883"/>
                <a:gd name="connsiteX5" fmla="*/ 66867 w 116147"/>
                <a:gd name="connsiteY5" fmla="*/ 12281 h 44883"/>
                <a:gd name="connsiteX6" fmla="*/ 53072 w 116147"/>
                <a:gd name="connsiteY6" fmla="*/ 303 h 44883"/>
                <a:gd name="connsiteX7" fmla="*/ 29573 w 116147"/>
                <a:gd name="connsiteY7" fmla="*/ 5003 h 44883"/>
                <a:gd name="connsiteX8" fmla="*/ 8645 w 116147"/>
                <a:gd name="connsiteY8" fmla="*/ 303 h 44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6147" h="44883">
                  <a:moveTo>
                    <a:pt x="8645" y="303"/>
                  </a:moveTo>
                  <a:lnTo>
                    <a:pt x="0" y="44883"/>
                  </a:lnTo>
                  <a:lnTo>
                    <a:pt x="116147" y="44883"/>
                  </a:lnTo>
                  <a:lnTo>
                    <a:pt x="114645" y="35355"/>
                  </a:lnTo>
                  <a:cubicBezTo>
                    <a:pt x="113978" y="31137"/>
                    <a:pt x="111045" y="27634"/>
                    <a:pt x="107020" y="26228"/>
                  </a:cubicBezTo>
                  <a:lnTo>
                    <a:pt x="66867" y="12281"/>
                  </a:lnTo>
                  <a:cubicBezTo>
                    <a:pt x="66867" y="12281"/>
                    <a:pt x="57917" y="2271"/>
                    <a:pt x="53072" y="303"/>
                  </a:cubicBezTo>
                  <a:cubicBezTo>
                    <a:pt x="48220" y="-1666"/>
                    <a:pt x="36996" y="6674"/>
                    <a:pt x="29573" y="5003"/>
                  </a:cubicBezTo>
                  <a:cubicBezTo>
                    <a:pt x="22150" y="3331"/>
                    <a:pt x="14260" y="905"/>
                    <a:pt x="8645" y="303"/>
                  </a:cubicBezTo>
                  <a:close/>
                </a:path>
              </a:pathLst>
            </a:custGeom>
            <a:solidFill>
              <a:srgbClr val="114585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0" name="Forma Livre: Forma 829">
              <a:extLst>
                <a:ext uri="{FF2B5EF4-FFF2-40B4-BE49-F238E27FC236}">
                  <a16:creationId xmlns:a16="http://schemas.microsoft.com/office/drawing/2014/main" id="{F938055E-EFAF-89CE-A899-BEC698243787}"/>
                </a:ext>
              </a:extLst>
            </p:cNvPr>
            <p:cNvSpPr/>
            <p:nvPr/>
          </p:nvSpPr>
          <p:spPr>
            <a:xfrm>
              <a:off x="1794490" y="2283396"/>
              <a:ext cx="116147" cy="10010"/>
            </a:xfrm>
            <a:custGeom>
              <a:avLst/>
              <a:gdLst>
                <a:gd name="connsiteX0" fmla="*/ 114540 w 116147"/>
                <a:gd name="connsiteY0" fmla="*/ 0 h 10010"/>
                <a:gd name="connsiteX1" fmla="*/ 1944 w 116147"/>
                <a:gd name="connsiteY1" fmla="*/ 0 h 10010"/>
                <a:gd name="connsiteX2" fmla="*/ 0 w 116147"/>
                <a:gd name="connsiteY2" fmla="*/ 10010 h 10010"/>
                <a:gd name="connsiteX3" fmla="*/ 116147 w 116147"/>
                <a:gd name="connsiteY3" fmla="*/ 10010 h 10010"/>
                <a:gd name="connsiteX4" fmla="*/ 114645 w 116147"/>
                <a:gd name="connsiteY4" fmla="*/ 482 h 10010"/>
                <a:gd name="connsiteX5" fmla="*/ 114540 w 116147"/>
                <a:gd name="connsiteY5" fmla="*/ 0 h 10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6147" h="10010">
                  <a:moveTo>
                    <a:pt x="114540" y="0"/>
                  </a:moveTo>
                  <a:lnTo>
                    <a:pt x="1944" y="0"/>
                  </a:lnTo>
                  <a:lnTo>
                    <a:pt x="0" y="10010"/>
                  </a:lnTo>
                  <a:lnTo>
                    <a:pt x="116147" y="10010"/>
                  </a:lnTo>
                  <a:lnTo>
                    <a:pt x="114645" y="482"/>
                  </a:lnTo>
                  <a:cubicBezTo>
                    <a:pt x="114629" y="313"/>
                    <a:pt x="114572" y="161"/>
                    <a:pt x="114540" y="0"/>
                  </a:cubicBezTo>
                  <a:close/>
                </a:path>
              </a:pathLst>
            </a:custGeom>
            <a:solidFill>
              <a:srgbClr val="222954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831" name="Gráfico 14">
              <a:extLst>
                <a:ext uri="{FF2B5EF4-FFF2-40B4-BE49-F238E27FC236}">
                  <a16:creationId xmlns:a16="http://schemas.microsoft.com/office/drawing/2014/main" id="{47DC9D3D-F7EF-ECDD-C938-401F65663984}"/>
                </a:ext>
              </a:extLst>
            </p:cNvPr>
            <p:cNvGrpSpPr/>
            <p:nvPr/>
          </p:nvGrpSpPr>
          <p:grpSpPr>
            <a:xfrm>
              <a:off x="1946470" y="1427977"/>
              <a:ext cx="239527" cy="244626"/>
              <a:chOff x="1714176" y="1251398"/>
              <a:chExt cx="239527" cy="244626"/>
            </a:xfrm>
          </p:grpSpPr>
          <p:grpSp>
            <p:nvGrpSpPr>
              <p:cNvPr id="895" name="Gráfico 14">
                <a:extLst>
                  <a:ext uri="{FF2B5EF4-FFF2-40B4-BE49-F238E27FC236}">
                    <a16:creationId xmlns:a16="http://schemas.microsoft.com/office/drawing/2014/main" id="{D4F5D647-5682-7FD3-CC8E-AA79DE36814E}"/>
                  </a:ext>
                </a:extLst>
              </p:cNvPr>
              <p:cNvGrpSpPr/>
              <p:nvPr/>
            </p:nvGrpSpPr>
            <p:grpSpPr>
              <a:xfrm>
                <a:off x="1891789" y="1251398"/>
                <a:ext cx="61914" cy="108910"/>
                <a:chOff x="1891789" y="1251398"/>
                <a:chExt cx="61914" cy="108910"/>
              </a:xfrm>
            </p:grpSpPr>
            <p:sp>
              <p:nvSpPr>
                <p:cNvPr id="897" name="Forma Livre: Forma 896">
                  <a:extLst>
                    <a:ext uri="{FF2B5EF4-FFF2-40B4-BE49-F238E27FC236}">
                      <a16:creationId xmlns:a16="http://schemas.microsoft.com/office/drawing/2014/main" id="{04EFDE25-921A-40F6-B3F3-04589136A9EB}"/>
                    </a:ext>
                  </a:extLst>
                </p:cNvPr>
                <p:cNvSpPr/>
                <p:nvPr/>
              </p:nvSpPr>
              <p:spPr>
                <a:xfrm>
                  <a:off x="1891789" y="1251398"/>
                  <a:ext cx="61914" cy="108910"/>
                </a:xfrm>
                <a:custGeom>
                  <a:avLst/>
                  <a:gdLst>
                    <a:gd name="connsiteX0" fmla="*/ 0 w 61914"/>
                    <a:gd name="connsiteY0" fmla="*/ 89380 h 108910"/>
                    <a:gd name="connsiteX1" fmla="*/ 11424 w 61914"/>
                    <a:gd name="connsiteY1" fmla="*/ 59654 h 108910"/>
                    <a:gd name="connsiteX2" fmla="*/ 10492 w 61914"/>
                    <a:gd name="connsiteY2" fmla="*/ 30017 h 108910"/>
                    <a:gd name="connsiteX3" fmla="*/ 22559 w 61914"/>
                    <a:gd name="connsiteY3" fmla="*/ 39722 h 108910"/>
                    <a:gd name="connsiteX4" fmla="*/ 37069 w 61914"/>
                    <a:gd name="connsiteY4" fmla="*/ 6751 h 108910"/>
                    <a:gd name="connsiteX5" fmla="*/ 51273 w 61914"/>
                    <a:gd name="connsiteY5" fmla="*/ 1834 h 108910"/>
                    <a:gd name="connsiteX6" fmla="*/ 58961 w 61914"/>
                    <a:gd name="connsiteY6" fmla="*/ 40349 h 108910"/>
                    <a:gd name="connsiteX7" fmla="*/ 32505 w 61914"/>
                    <a:gd name="connsiteY7" fmla="*/ 76775 h 108910"/>
                    <a:gd name="connsiteX8" fmla="*/ 22391 w 61914"/>
                    <a:gd name="connsiteY8" fmla="*/ 108911 h 108910"/>
                    <a:gd name="connsiteX9" fmla="*/ 0 w 61914"/>
                    <a:gd name="connsiteY9" fmla="*/ 89380 h 1089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1914" h="108910">
                      <a:moveTo>
                        <a:pt x="0" y="89380"/>
                      </a:moveTo>
                      <a:cubicBezTo>
                        <a:pt x="0" y="89380"/>
                        <a:pt x="11625" y="67825"/>
                        <a:pt x="11424" y="59654"/>
                      </a:cubicBezTo>
                      <a:cubicBezTo>
                        <a:pt x="11224" y="51484"/>
                        <a:pt x="2997" y="30178"/>
                        <a:pt x="10492" y="30017"/>
                      </a:cubicBezTo>
                      <a:cubicBezTo>
                        <a:pt x="17988" y="29848"/>
                        <a:pt x="17659" y="38147"/>
                        <a:pt x="22559" y="39722"/>
                      </a:cubicBezTo>
                      <a:cubicBezTo>
                        <a:pt x="27452" y="41305"/>
                        <a:pt x="32128" y="13467"/>
                        <a:pt x="37069" y="6751"/>
                      </a:cubicBezTo>
                      <a:cubicBezTo>
                        <a:pt x="42010" y="42"/>
                        <a:pt x="46075" y="-1805"/>
                        <a:pt x="51273" y="1834"/>
                      </a:cubicBezTo>
                      <a:cubicBezTo>
                        <a:pt x="56471" y="5465"/>
                        <a:pt x="67068" y="20392"/>
                        <a:pt x="58961" y="40349"/>
                      </a:cubicBezTo>
                      <a:cubicBezTo>
                        <a:pt x="50855" y="60305"/>
                        <a:pt x="32505" y="76775"/>
                        <a:pt x="32505" y="76775"/>
                      </a:cubicBezTo>
                      <a:lnTo>
                        <a:pt x="22391" y="108911"/>
                      </a:lnTo>
                      <a:lnTo>
                        <a:pt x="0" y="89380"/>
                      </a:lnTo>
                      <a:close/>
                    </a:path>
                  </a:pathLst>
                </a:custGeom>
                <a:solidFill>
                  <a:srgbClr val="F6A086"/>
                </a:solidFill>
                <a:ln w="8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1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1" b="0" i="0" u="none" strike="noStrike" kern="1200" cap="none" spc="0" normalizeH="0" baseline="0" noProof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98" name="Forma Livre: Forma 897">
                  <a:extLst>
                    <a:ext uri="{FF2B5EF4-FFF2-40B4-BE49-F238E27FC236}">
                      <a16:creationId xmlns:a16="http://schemas.microsoft.com/office/drawing/2014/main" id="{AF36171D-884C-5EAF-0542-464EC466DB57}"/>
                    </a:ext>
                  </a:extLst>
                </p:cNvPr>
                <p:cNvSpPr/>
                <p:nvPr/>
              </p:nvSpPr>
              <p:spPr>
                <a:xfrm>
                  <a:off x="1925473" y="1251541"/>
                  <a:ext cx="13779" cy="36040"/>
                </a:xfrm>
                <a:custGeom>
                  <a:avLst/>
                  <a:gdLst>
                    <a:gd name="connsiteX0" fmla="*/ 2983 w 13779"/>
                    <a:gd name="connsiteY0" fmla="*/ 33112 h 36040"/>
                    <a:gd name="connsiteX1" fmla="*/ 13507 w 13779"/>
                    <a:gd name="connsiteY1" fmla="*/ 1884 h 36040"/>
                    <a:gd name="connsiteX2" fmla="*/ 13748 w 13779"/>
                    <a:gd name="connsiteY2" fmla="*/ 928 h 36040"/>
                    <a:gd name="connsiteX3" fmla="*/ 13291 w 13779"/>
                    <a:gd name="connsiteY3" fmla="*/ 36 h 36040"/>
                    <a:gd name="connsiteX4" fmla="*/ 12399 w 13779"/>
                    <a:gd name="connsiteY4" fmla="*/ 470 h 36040"/>
                    <a:gd name="connsiteX5" fmla="*/ 12126 w 13779"/>
                    <a:gd name="connsiteY5" fmla="*/ 1538 h 36040"/>
                    <a:gd name="connsiteX6" fmla="*/ 147 w 13779"/>
                    <a:gd name="connsiteY6" fmla="*/ 34895 h 36040"/>
                    <a:gd name="connsiteX7" fmla="*/ 275 w 13779"/>
                    <a:gd name="connsiteY7" fmla="*/ 35891 h 36040"/>
                    <a:gd name="connsiteX8" fmla="*/ 1272 w 13779"/>
                    <a:gd name="connsiteY8" fmla="*/ 35763 h 36040"/>
                    <a:gd name="connsiteX9" fmla="*/ 2983 w 13779"/>
                    <a:gd name="connsiteY9" fmla="*/ 33112 h 360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3779" h="36040">
                      <a:moveTo>
                        <a:pt x="2983" y="33112"/>
                      </a:moveTo>
                      <a:cubicBezTo>
                        <a:pt x="6229" y="27303"/>
                        <a:pt x="9828" y="16642"/>
                        <a:pt x="13507" y="1884"/>
                      </a:cubicBezTo>
                      <a:cubicBezTo>
                        <a:pt x="13644" y="1345"/>
                        <a:pt x="13724" y="1016"/>
                        <a:pt x="13748" y="928"/>
                      </a:cubicBezTo>
                      <a:cubicBezTo>
                        <a:pt x="13861" y="558"/>
                        <a:pt x="13660" y="156"/>
                        <a:pt x="13291" y="36"/>
                      </a:cubicBezTo>
                      <a:cubicBezTo>
                        <a:pt x="12921" y="-85"/>
                        <a:pt x="12527" y="108"/>
                        <a:pt x="12399" y="470"/>
                      </a:cubicBezTo>
                      <a:cubicBezTo>
                        <a:pt x="12367" y="558"/>
                        <a:pt x="12326" y="727"/>
                        <a:pt x="12126" y="1538"/>
                      </a:cubicBezTo>
                      <a:cubicBezTo>
                        <a:pt x="6703" y="23286"/>
                        <a:pt x="2613" y="31682"/>
                        <a:pt x="147" y="34895"/>
                      </a:cubicBezTo>
                      <a:cubicBezTo>
                        <a:pt x="-94" y="35209"/>
                        <a:pt x="-30" y="35650"/>
                        <a:pt x="275" y="35891"/>
                      </a:cubicBezTo>
                      <a:cubicBezTo>
                        <a:pt x="589" y="36132"/>
                        <a:pt x="1031" y="36076"/>
                        <a:pt x="1272" y="35763"/>
                      </a:cubicBezTo>
                      <a:cubicBezTo>
                        <a:pt x="1826" y="35040"/>
                        <a:pt x="2404" y="34156"/>
                        <a:pt x="2983" y="33112"/>
                      </a:cubicBezTo>
                      <a:close/>
                    </a:path>
                  </a:pathLst>
                </a:custGeom>
                <a:solidFill>
                  <a:srgbClr val="53AAAA"/>
                </a:solidFill>
                <a:ln w="8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1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1" b="0" i="0" u="none" strike="noStrike" kern="1200" cap="none" spc="0" normalizeH="0" baseline="0" noProof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99" name="Forma Livre: Forma 898">
                  <a:extLst>
                    <a:ext uri="{FF2B5EF4-FFF2-40B4-BE49-F238E27FC236}">
                      <a16:creationId xmlns:a16="http://schemas.microsoft.com/office/drawing/2014/main" id="{4325C81E-97B2-3288-98B5-6C5A8A789BBB}"/>
                    </a:ext>
                  </a:extLst>
                </p:cNvPr>
                <p:cNvSpPr/>
                <p:nvPr/>
              </p:nvSpPr>
              <p:spPr>
                <a:xfrm>
                  <a:off x="1932427" y="1256739"/>
                  <a:ext cx="13915" cy="35366"/>
                </a:xfrm>
                <a:custGeom>
                  <a:avLst/>
                  <a:gdLst>
                    <a:gd name="connsiteX0" fmla="*/ 3083 w 13915"/>
                    <a:gd name="connsiteY0" fmla="*/ 32261 h 35366"/>
                    <a:gd name="connsiteX1" fmla="*/ 13647 w 13915"/>
                    <a:gd name="connsiteY1" fmla="*/ 1796 h 35366"/>
                    <a:gd name="connsiteX2" fmla="*/ 13880 w 13915"/>
                    <a:gd name="connsiteY2" fmla="*/ 928 h 35366"/>
                    <a:gd name="connsiteX3" fmla="*/ 13430 w 13915"/>
                    <a:gd name="connsiteY3" fmla="*/ 37 h 35366"/>
                    <a:gd name="connsiteX4" fmla="*/ 12539 w 13915"/>
                    <a:gd name="connsiteY4" fmla="*/ 470 h 35366"/>
                    <a:gd name="connsiteX5" fmla="*/ 12282 w 13915"/>
                    <a:gd name="connsiteY5" fmla="*/ 1443 h 35366"/>
                    <a:gd name="connsiteX6" fmla="*/ 150 w 13915"/>
                    <a:gd name="connsiteY6" fmla="*/ 34221 h 35366"/>
                    <a:gd name="connsiteX7" fmla="*/ 279 w 13915"/>
                    <a:gd name="connsiteY7" fmla="*/ 35217 h 35366"/>
                    <a:gd name="connsiteX8" fmla="*/ 1275 w 13915"/>
                    <a:gd name="connsiteY8" fmla="*/ 35089 h 35366"/>
                    <a:gd name="connsiteX9" fmla="*/ 3083 w 13915"/>
                    <a:gd name="connsiteY9" fmla="*/ 32261 h 35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3915" h="35366">
                      <a:moveTo>
                        <a:pt x="3083" y="32261"/>
                      </a:moveTo>
                      <a:cubicBezTo>
                        <a:pt x="6320" y="26460"/>
                        <a:pt x="9936" y="16064"/>
                        <a:pt x="13647" y="1796"/>
                      </a:cubicBezTo>
                      <a:cubicBezTo>
                        <a:pt x="13776" y="1306"/>
                        <a:pt x="13848" y="1009"/>
                        <a:pt x="13880" y="928"/>
                      </a:cubicBezTo>
                      <a:cubicBezTo>
                        <a:pt x="14001" y="559"/>
                        <a:pt x="13800" y="157"/>
                        <a:pt x="13430" y="37"/>
                      </a:cubicBezTo>
                      <a:cubicBezTo>
                        <a:pt x="13061" y="-84"/>
                        <a:pt x="12667" y="101"/>
                        <a:pt x="12539" y="470"/>
                      </a:cubicBezTo>
                      <a:cubicBezTo>
                        <a:pt x="12515" y="535"/>
                        <a:pt x="12426" y="872"/>
                        <a:pt x="12282" y="1443"/>
                      </a:cubicBezTo>
                      <a:cubicBezTo>
                        <a:pt x="7975" y="18017"/>
                        <a:pt x="3669" y="29658"/>
                        <a:pt x="150" y="34221"/>
                      </a:cubicBezTo>
                      <a:cubicBezTo>
                        <a:pt x="-99" y="34526"/>
                        <a:pt x="-26" y="34976"/>
                        <a:pt x="279" y="35217"/>
                      </a:cubicBezTo>
                      <a:cubicBezTo>
                        <a:pt x="592" y="35458"/>
                        <a:pt x="1034" y="35402"/>
                        <a:pt x="1275" y="35089"/>
                      </a:cubicBezTo>
                      <a:cubicBezTo>
                        <a:pt x="1854" y="34310"/>
                        <a:pt x="2464" y="33370"/>
                        <a:pt x="3083" y="32261"/>
                      </a:cubicBezTo>
                      <a:close/>
                    </a:path>
                  </a:pathLst>
                </a:custGeom>
                <a:solidFill>
                  <a:srgbClr val="53AAAA"/>
                </a:solidFill>
                <a:ln w="8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1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1" b="0" i="0" u="none" strike="noStrike" kern="1200" cap="none" spc="0" normalizeH="0" baseline="0" noProof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00" name="Forma Livre: Forma 899">
                  <a:extLst>
                    <a:ext uri="{FF2B5EF4-FFF2-40B4-BE49-F238E27FC236}">
                      <a16:creationId xmlns:a16="http://schemas.microsoft.com/office/drawing/2014/main" id="{C32890C7-0E3F-36AD-2266-41C874DC87F6}"/>
                    </a:ext>
                  </a:extLst>
                </p:cNvPr>
                <p:cNvSpPr/>
                <p:nvPr/>
              </p:nvSpPr>
              <p:spPr>
                <a:xfrm>
                  <a:off x="1938051" y="1268140"/>
                  <a:ext cx="13765" cy="29068"/>
                </a:xfrm>
                <a:custGeom>
                  <a:avLst/>
                  <a:gdLst>
                    <a:gd name="connsiteX0" fmla="*/ 4810 w 13765"/>
                    <a:gd name="connsiteY0" fmla="*/ 23559 h 29068"/>
                    <a:gd name="connsiteX1" fmla="*/ 13471 w 13765"/>
                    <a:gd name="connsiteY1" fmla="*/ 1755 h 29068"/>
                    <a:gd name="connsiteX2" fmla="*/ 13720 w 13765"/>
                    <a:gd name="connsiteY2" fmla="*/ 968 h 29068"/>
                    <a:gd name="connsiteX3" fmla="*/ 13318 w 13765"/>
                    <a:gd name="connsiteY3" fmla="*/ 52 h 29068"/>
                    <a:gd name="connsiteX4" fmla="*/ 12402 w 13765"/>
                    <a:gd name="connsiteY4" fmla="*/ 429 h 29068"/>
                    <a:gd name="connsiteX5" fmla="*/ 12113 w 13765"/>
                    <a:gd name="connsiteY5" fmla="*/ 1345 h 29068"/>
                    <a:gd name="connsiteX6" fmla="*/ 174 w 13765"/>
                    <a:gd name="connsiteY6" fmla="*/ 27889 h 29068"/>
                    <a:gd name="connsiteX7" fmla="*/ 239 w 13765"/>
                    <a:gd name="connsiteY7" fmla="*/ 28894 h 29068"/>
                    <a:gd name="connsiteX8" fmla="*/ 1243 w 13765"/>
                    <a:gd name="connsiteY8" fmla="*/ 28829 h 29068"/>
                    <a:gd name="connsiteX9" fmla="*/ 4810 w 13765"/>
                    <a:gd name="connsiteY9" fmla="*/ 23559 h 290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3765" h="29068">
                      <a:moveTo>
                        <a:pt x="4810" y="23559"/>
                      </a:moveTo>
                      <a:cubicBezTo>
                        <a:pt x="7236" y="19213"/>
                        <a:pt x="10193" y="12408"/>
                        <a:pt x="13471" y="1755"/>
                      </a:cubicBezTo>
                      <a:cubicBezTo>
                        <a:pt x="13599" y="1321"/>
                        <a:pt x="13687" y="1048"/>
                        <a:pt x="13720" y="968"/>
                      </a:cubicBezTo>
                      <a:cubicBezTo>
                        <a:pt x="13856" y="606"/>
                        <a:pt x="13679" y="196"/>
                        <a:pt x="13318" y="52"/>
                      </a:cubicBezTo>
                      <a:cubicBezTo>
                        <a:pt x="12956" y="-93"/>
                        <a:pt x="12555" y="76"/>
                        <a:pt x="12402" y="429"/>
                      </a:cubicBezTo>
                      <a:cubicBezTo>
                        <a:pt x="12362" y="526"/>
                        <a:pt x="12306" y="711"/>
                        <a:pt x="12113" y="1345"/>
                      </a:cubicBezTo>
                      <a:cubicBezTo>
                        <a:pt x="7059" y="17791"/>
                        <a:pt x="2834" y="24861"/>
                        <a:pt x="174" y="27889"/>
                      </a:cubicBezTo>
                      <a:cubicBezTo>
                        <a:pt x="-83" y="28179"/>
                        <a:pt x="-51" y="28629"/>
                        <a:pt x="239" y="28894"/>
                      </a:cubicBezTo>
                      <a:cubicBezTo>
                        <a:pt x="536" y="29151"/>
                        <a:pt x="986" y="29119"/>
                        <a:pt x="1243" y="28829"/>
                      </a:cubicBezTo>
                      <a:cubicBezTo>
                        <a:pt x="2239" y="27689"/>
                        <a:pt x="3444" y="26018"/>
                        <a:pt x="4810" y="23559"/>
                      </a:cubicBezTo>
                      <a:close/>
                    </a:path>
                  </a:pathLst>
                </a:custGeom>
                <a:solidFill>
                  <a:srgbClr val="53AAAA"/>
                </a:solidFill>
                <a:ln w="8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1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1" b="0" i="0" u="none" strike="noStrike" kern="1200" cap="none" spc="0" normalizeH="0" baseline="0" noProof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896" name="Forma Livre: Forma 895">
                <a:extLst>
                  <a:ext uri="{FF2B5EF4-FFF2-40B4-BE49-F238E27FC236}">
                    <a16:creationId xmlns:a16="http://schemas.microsoft.com/office/drawing/2014/main" id="{051AAF9E-3AAC-1A60-5836-ADEDB6101E49}"/>
                  </a:ext>
                </a:extLst>
              </p:cNvPr>
              <p:cNvSpPr/>
              <p:nvPr/>
            </p:nvSpPr>
            <p:spPr>
              <a:xfrm>
                <a:off x="1714176" y="1325024"/>
                <a:ext cx="209892" cy="171000"/>
              </a:xfrm>
              <a:custGeom>
                <a:avLst/>
                <a:gdLst>
                  <a:gd name="connsiteX0" fmla="*/ 12346 w 209892"/>
                  <a:gd name="connsiteY0" fmla="*/ 10974 h 171000"/>
                  <a:gd name="connsiteX1" fmla="*/ 131433 w 209892"/>
                  <a:gd name="connsiteY1" fmla="*/ 110748 h 171000"/>
                  <a:gd name="connsiteX2" fmla="*/ 183349 w 209892"/>
                  <a:gd name="connsiteY2" fmla="*/ 0 h 171000"/>
                  <a:gd name="connsiteX3" fmla="*/ 209893 w 209892"/>
                  <a:gd name="connsiteY3" fmla="*/ 15602 h 171000"/>
                  <a:gd name="connsiteX4" fmla="*/ 127352 w 209892"/>
                  <a:gd name="connsiteY4" fmla="*/ 170979 h 171000"/>
                  <a:gd name="connsiteX5" fmla="*/ 12346 w 209892"/>
                  <a:gd name="connsiteY5" fmla="*/ 10974 h 171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9892" h="171000">
                    <a:moveTo>
                      <a:pt x="12346" y="10974"/>
                    </a:moveTo>
                    <a:cubicBezTo>
                      <a:pt x="69789" y="-37342"/>
                      <a:pt x="131433" y="110748"/>
                      <a:pt x="131433" y="110748"/>
                    </a:cubicBezTo>
                    <a:cubicBezTo>
                      <a:pt x="161488" y="69341"/>
                      <a:pt x="156427" y="48662"/>
                      <a:pt x="183349" y="0"/>
                    </a:cubicBezTo>
                    <a:lnTo>
                      <a:pt x="209893" y="15602"/>
                    </a:lnTo>
                    <a:cubicBezTo>
                      <a:pt x="188498" y="80066"/>
                      <a:pt x="164204" y="169107"/>
                      <a:pt x="127352" y="170979"/>
                    </a:cubicBezTo>
                    <a:cubicBezTo>
                      <a:pt x="90500" y="172851"/>
                      <a:pt x="-40365" y="55314"/>
                      <a:pt x="12346" y="10974"/>
                    </a:cubicBezTo>
                    <a:close/>
                  </a:path>
                </a:pathLst>
              </a:custGeom>
              <a:solidFill>
                <a:srgbClr val="EEA004"/>
              </a:solidFill>
              <a:ln w="8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1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832" name="Forma Livre: Forma 831">
              <a:extLst>
                <a:ext uri="{FF2B5EF4-FFF2-40B4-BE49-F238E27FC236}">
                  <a16:creationId xmlns:a16="http://schemas.microsoft.com/office/drawing/2014/main" id="{F6A6A5CF-BDB2-6EB4-8C0A-2565399703F2}"/>
                </a:ext>
              </a:extLst>
            </p:cNvPr>
            <p:cNvSpPr/>
            <p:nvPr/>
          </p:nvSpPr>
          <p:spPr>
            <a:xfrm>
              <a:off x="1900069" y="1378715"/>
              <a:ext cx="118487" cy="155883"/>
            </a:xfrm>
            <a:custGeom>
              <a:avLst/>
              <a:gdLst>
                <a:gd name="connsiteX0" fmla="*/ 102822 w 118487"/>
                <a:gd name="connsiteY0" fmla="*/ 46589 h 155883"/>
                <a:gd name="connsiteX1" fmla="*/ 95913 w 118487"/>
                <a:gd name="connsiteY1" fmla="*/ 58440 h 155883"/>
                <a:gd name="connsiteX2" fmla="*/ 103529 w 118487"/>
                <a:gd name="connsiteY2" fmla="*/ 71856 h 155883"/>
                <a:gd name="connsiteX3" fmla="*/ 99335 w 118487"/>
                <a:gd name="connsiteY3" fmla="*/ 85771 h 155883"/>
                <a:gd name="connsiteX4" fmla="*/ 101601 w 118487"/>
                <a:gd name="connsiteY4" fmla="*/ 100803 h 155883"/>
                <a:gd name="connsiteX5" fmla="*/ 89662 w 118487"/>
                <a:gd name="connsiteY5" fmla="*/ 121771 h 155883"/>
                <a:gd name="connsiteX6" fmla="*/ 88666 w 118487"/>
                <a:gd name="connsiteY6" fmla="*/ 155883 h 155883"/>
                <a:gd name="connsiteX7" fmla="*/ 87847 w 118487"/>
                <a:gd name="connsiteY7" fmla="*/ 155811 h 155883"/>
                <a:gd name="connsiteX8" fmla="*/ 78447 w 118487"/>
                <a:gd name="connsiteY8" fmla="*/ 154807 h 155883"/>
                <a:gd name="connsiteX9" fmla="*/ 76109 w 118487"/>
                <a:gd name="connsiteY9" fmla="*/ 154510 h 155883"/>
                <a:gd name="connsiteX10" fmla="*/ 76527 w 118487"/>
                <a:gd name="connsiteY10" fmla="*/ 154542 h 155883"/>
                <a:gd name="connsiteX11" fmla="*/ 76527 w 118487"/>
                <a:gd name="connsiteY11" fmla="*/ 154542 h 155883"/>
                <a:gd name="connsiteX12" fmla="*/ 75619 w 118487"/>
                <a:gd name="connsiteY12" fmla="*/ 154437 h 155883"/>
                <a:gd name="connsiteX13" fmla="*/ 71297 w 118487"/>
                <a:gd name="connsiteY13" fmla="*/ 153779 h 155883"/>
                <a:gd name="connsiteX14" fmla="*/ 53606 w 118487"/>
                <a:gd name="connsiteY14" fmla="*/ 150187 h 155883"/>
                <a:gd name="connsiteX15" fmla="*/ 36269 w 118487"/>
                <a:gd name="connsiteY15" fmla="*/ 144829 h 155883"/>
                <a:gd name="connsiteX16" fmla="*/ 32396 w 118487"/>
                <a:gd name="connsiteY16" fmla="*/ 143302 h 155883"/>
                <a:gd name="connsiteX17" fmla="*/ 31553 w 118487"/>
                <a:gd name="connsiteY17" fmla="*/ 142949 h 155883"/>
                <a:gd name="connsiteX18" fmla="*/ 29761 w 118487"/>
                <a:gd name="connsiteY18" fmla="*/ 142145 h 155883"/>
                <a:gd name="connsiteX19" fmla="*/ 21599 w 118487"/>
                <a:gd name="connsiteY19" fmla="*/ 138040 h 155883"/>
                <a:gd name="connsiteX20" fmla="*/ 14039 w 118487"/>
                <a:gd name="connsiteY20" fmla="*/ 133485 h 155883"/>
                <a:gd name="connsiteX21" fmla="*/ 10255 w 118487"/>
                <a:gd name="connsiteY21" fmla="*/ 130874 h 155883"/>
                <a:gd name="connsiteX22" fmla="*/ 8399 w 118487"/>
                <a:gd name="connsiteY22" fmla="*/ 129508 h 155883"/>
                <a:gd name="connsiteX23" fmla="*/ 8367 w 118487"/>
                <a:gd name="connsiteY23" fmla="*/ 129484 h 155883"/>
                <a:gd name="connsiteX24" fmla="*/ 8222 w 118487"/>
                <a:gd name="connsiteY24" fmla="*/ 129363 h 155883"/>
                <a:gd name="connsiteX25" fmla="*/ 5499 w 118487"/>
                <a:gd name="connsiteY25" fmla="*/ 98609 h 155883"/>
                <a:gd name="connsiteX26" fmla="*/ 16770 w 118487"/>
                <a:gd name="connsiteY26" fmla="*/ 31534 h 155883"/>
                <a:gd name="connsiteX27" fmla="*/ 52939 w 118487"/>
                <a:gd name="connsiteY27" fmla="*/ 23484 h 155883"/>
                <a:gd name="connsiteX28" fmla="*/ 86184 w 118487"/>
                <a:gd name="connsiteY28" fmla="*/ 13803 h 155883"/>
                <a:gd name="connsiteX29" fmla="*/ 114134 w 118487"/>
                <a:gd name="connsiteY29" fmla="*/ 13988 h 155883"/>
                <a:gd name="connsiteX30" fmla="*/ 102822 w 118487"/>
                <a:gd name="connsiteY30" fmla="*/ 46589 h 155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18487" h="155883">
                  <a:moveTo>
                    <a:pt x="102822" y="46589"/>
                  </a:moveTo>
                  <a:cubicBezTo>
                    <a:pt x="106638" y="52253"/>
                    <a:pt x="99608" y="51683"/>
                    <a:pt x="95913" y="58440"/>
                  </a:cubicBezTo>
                  <a:cubicBezTo>
                    <a:pt x="92217" y="65196"/>
                    <a:pt x="100348" y="67775"/>
                    <a:pt x="103529" y="71856"/>
                  </a:cubicBezTo>
                  <a:cubicBezTo>
                    <a:pt x="105521" y="74411"/>
                    <a:pt x="100597" y="78516"/>
                    <a:pt x="99335" y="85771"/>
                  </a:cubicBezTo>
                  <a:cubicBezTo>
                    <a:pt x="98580" y="90125"/>
                    <a:pt x="101312" y="97854"/>
                    <a:pt x="101601" y="100803"/>
                  </a:cubicBezTo>
                  <a:cubicBezTo>
                    <a:pt x="102380" y="108676"/>
                    <a:pt x="94892" y="111560"/>
                    <a:pt x="89662" y="121771"/>
                  </a:cubicBezTo>
                  <a:cubicBezTo>
                    <a:pt x="86537" y="127869"/>
                    <a:pt x="88457" y="140113"/>
                    <a:pt x="88666" y="155883"/>
                  </a:cubicBezTo>
                  <a:cubicBezTo>
                    <a:pt x="88393" y="155859"/>
                    <a:pt x="88120" y="155835"/>
                    <a:pt x="87847" y="155811"/>
                  </a:cubicBezTo>
                  <a:cubicBezTo>
                    <a:pt x="84705" y="155522"/>
                    <a:pt x="81572" y="155184"/>
                    <a:pt x="78447" y="154807"/>
                  </a:cubicBezTo>
                  <a:cubicBezTo>
                    <a:pt x="77668" y="154710"/>
                    <a:pt x="76888" y="154566"/>
                    <a:pt x="76109" y="154510"/>
                  </a:cubicBezTo>
                  <a:cubicBezTo>
                    <a:pt x="76278" y="154526"/>
                    <a:pt x="76406" y="154534"/>
                    <a:pt x="76527" y="154542"/>
                  </a:cubicBezTo>
                  <a:cubicBezTo>
                    <a:pt x="77089" y="154598"/>
                    <a:pt x="77378" y="154606"/>
                    <a:pt x="76527" y="154542"/>
                  </a:cubicBezTo>
                  <a:cubicBezTo>
                    <a:pt x="76254" y="154518"/>
                    <a:pt x="75916" y="154477"/>
                    <a:pt x="75619" y="154437"/>
                  </a:cubicBezTo>
                  <a:cubicBezTo>
                    <a:pt x="74173" y="154228"/>
                    <a:pt x="72735" y="154012"/>
                    <a:pt x="71297" y="153779"/>
                  </a:cubicBezTo>
                  <a:cubicBezTo>
                    <a:pt x="65352" y="152822"/>
                    <a:pt x="59447" y="151650"/>
                    <a:pt x="53606" y="150187"/>
                  </a:cubicBezTo>
                  <a:cubicBezTo>
                    <a:pt x="47733" y="148717"/>
                    <a:pt x="41933" y="146950"/>
                    <a:pt x="36269" y="144829"/>
                  </a:cubicBezTo>
                  <a:cubicBezTo>
                    <a:pt x="34967" y="144339"/>
                    <a:pt x="33682" y="143824"/>
                    <a:pt x="32396" y="143302"/>
                  </a:cubicBezTo>
                  <a:cubicBezTo>
                    <a:pt x="32115" y="143182"/>
                    <a:pt x="31826" y="143069"/>
                    <a:pt x="31553" y="142949"/>
                  </a:cubicBezTo>
                  <a:cubicBezTo>
                    <a:pt x="30958" y="142684"/>
                    <a:pt x="30356" y="142419"/>
                    <a:pt x="29761" y="142145"/>
                  </a:cubicBezTo>
                  <a:cubicBezTo>
                    <a:pt x="26989" y="140876"/>
                    <a:pt x="24266" y="139510"/>
                    <a:pt x="21599" y="138040"/>
                  </a:cubicBezTo>
                  <a:cubicBezTo>
                    <a:pt x="19020" y="136618"/>
                    <a:pt x="16497" y="135100"/>
                    <a:pt x="14039" y="133485"/>
                  </a:cubicBezTo>
                  <a:cubicBezTo>
                    <a:pt x="12761" y="132641"/>
                    <a:pt x="11500" y="131774"/>
                    <a:pt x="10255" y="130874"/>
                  </a:cubicBezTo>
                  <a:cubicBezTo>
                    <a:pt x="9628" y="130424"/>
                    <a:pt x="9017" y="129966"/>
                    <a:pt x="8399" y="129508"/>
                  </a:cubicBezTo>
                  <a:cubicBezTo>
                    <a:pt x="8391" y="129500"/>
                    <a:pt x="8383" y="129492"/>
                    <a:pt x="8367" y="129484"/>
                  </a:cubicBezTo>
                  <a:cubicBezTo>
                    <a:pt x="8318" y="129444"/>
                    <a:pt x="8278" y="129412"/>
                    <a:pt x="8222" y="129363"/>
                  </a:cubicBezTo>
                  <a:cubicBezTo>
                    <a:pt x="3402" y="125459"/>
                    <a:pt x="-6030" y="121932"/>
                    <a:pt x="5499" y="98609"/>
                  </a:cubicBezTo>
                  <a:cubicBezTo>
                    <a:pt x="15316" y="78757"/>
                    <a:pt x="2928" y="45995"/>
                    <a:pt x="16770" y="31534"/>
                  </a:cubicBezTo>
                  <a:cubicBezTo>
                    <a:pt x="30605" y="17065"/>
                    <a:pt x="52939" y="23484"/>
                    <a:pt x="52939" y="23484"/>
                  </a:cubicBezTo>
                  <a:cubicBezTo>
                    <a:pt x="52939" y="23484"/>
                    <a:pt x="78841" y="22937"/>
                    <a:pt x="86184" y="13803"/>
                  </a:cubicBezTo>
                  <a:cubicBezTo>
                    <a:pt x="93527" y="4676"/>
                    <a:pt x="99793" y="-12155"/>
                    <a:pt x="114134" y="13988"/>
                  </a:cubicBezTo>
                  <a:cubicBezTo>
                    <a:pt x="128466" y="40138"/>
                    <a:pt x="102822" y="46589"/>
                    <a:pt x="102822" y="46589"/>
                  </a:cubicBezTo>
                  <a:close/>
                </a:path>
              </a:pathLst>
            </a:custGeom>
            <a:solidFill>
              <a:srgbClr val="132237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3" name="Forma Livre: Forma 832">
              <a:extLst>
                <a:ext uri="{FF2B5EF4-FFF2-40B4-BE49-F238E27FC236}">
                  <a16:creationId xmlns:a16="http://schemas.microsoft.com/office/drawing/2014/main" id="{6E23B3FF-20D8-7979-3BCB-E31D884C7A64}"/>
                </a:ext>
              </a:extLst>
            </p:cNvPr>
            <p:cNvSpPr/>
            <p:nvPr/>
          </p:nvSpPr>
          <p:spPr>
            <a:xfrm>
              <a:off x="1870860" y="1497642"/>
              <a:ext cx="159302" cy="224516"/>
            </a:xfrm>
            <a:custGeom>
              <a:avLst/>
              <a:gdLst>
                <a:gd name="connsiteX0" fmla="*/ 154895 w 159302"/>
                <a:gd name="connsiteY0" fmla="*/ 45866 h 224516"/>
                <a:gd name="connsiteX1" fmla="*/ 117810 w 159302"/>
                <a:gd name="connsiteY1" fmla="*/ 216114 h 224516"/>
                <a:gd name="connsiteX2" fmla="*/ 0 w 159302"/>
                <a:gd name="connsiteY2" fmla="*/ 213374 h 224516"/>
                <a:gd name="connsiteX3" fmla="*/ 71237 w 159302"/>
                <a:gd name="connsiteY3" fmla="*/ 7295 h 224516"/>
                <a:gd name="connsiteX4" fmla="*/ 154895 w 159302"/>
                <a:gd name="connsiteY4" fmla="*/ 45866 h 224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302" h="224516">
                  <a:moveTo>
                    <a:pt x="154895" y="45866"/>
                  </a:moveTo>
                  <a:cubicBezTo>
                    <a:pt x="176072" y="89121"/>
                    <a:pt x="113849" y="160824"/>
                    <a:pt x="117810" y="216114"/>
                  </a:cubicBezTo>
                  <a:cubicBezTo>
                    <a:pt x="105269" y="228293"/>
                    <a:pt x="31742" y="227104"/>
                    <a:pt x="0" y="213374"/>
                  </a:cubicBezTo>
                  <a:cubicBezTo>
                    <a:pt x="20880" y="138482"/>
                    <a:pt x="40788" y="19635"/>
                    <a:pt x="71237" y="7295"/>
                  </a:cubicBezTo>
                  <a:cubicBezTo>
                    <a:pt x="110250" y="-8500"/>
                    <a:pt x="132464" y="41"/>
                    <a:pt x="154895" y="45866"/>
                  </a:cubicBezTo>
                  <a:close/>
                </a:path>
              </a:pathLst>
            </a:custGeom>
            <a:solidFill>
              <a:srgbClr val="FFC000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4" name="Forma Livre: Forma 833">
              <a:extLst>
                <a:ext uri="{FF2B5EF4-FFF2-40B4-BE49-F238E27FC236}">
                  <a16:creationId xmlns:a16="http://schemas.microsoft.com/office/drawing/2014/main" id="{2B1E3C81-6097-18D2-6809-4CA7F69511B6}"/>
                </a:ext>
              </a:extLst>
            </p:cNvPr>
            <p:cNvSpPr/>
            <p:nvPr/>
          </p:nvSpPr>
          <p:spPr>
            <a:xfrm>
              <a:off x="1951803" y="1420089"/>
              <a:ext cx="43006" cy="98570"/>
            </a:xfrm>
            <a:custGeom>
              <a:avLst/>
              <a:gdLst>
                <a:gd name="connsiteX0" fmla="*/ 38442 w 43006"/>
                <a:gd name="connsiteY0" fmla="*/ 54335 h 98570"/>
                <a:gd name="connsiteX1" fmla="*/ 42869 w 43006"/>
                <a:gd name="connsiteY1" fmla="*/ 87627 h 98570"/>
                <a:gd name="connsiteX2" fmla="*/ 25636 w 43006"/>
                <a:gd name="connsiteY2" fmla="*/ 98522 h 98570"/>
                <a:gd name="connsiteX3" fmla="*/ 25290 w 43006"/>
                <a:gd name="connsiteY3" fmla="*/ 98505 h 98570"/>
                <a:gd name="connsiteX4" fmla="*/ 9576 w 43006"/>
                <a:gd name="connsiteY4" fmla="*/ 93902 h 98570"/>
                <a:gd name="connsiteX5" fmla="*/ 746 w 43006"/>
                <a:gd name="connsiteY5" fmla="*/ 81088 h 98570"/>
                <a:gd name="connsiteX6" fmla="*/ 13794 w 43006"/>
                <a:gd name="connsiteY6" fmla="*/ 38741 h 98570"/>
                <a:gd name="connsiteX7" fmla="*/ 15296 w 43006"/>
                <a:gd name="connsiteY7" fmla="*/ 1 h 98570"/>
                <a:gd name="connsiteX8" fmla="*/ 41567 w 43006"/>
                <a:gd name="connsiteY8" fmla="*/ 33535 h 98570"/>
                <a:gd name="connsiteX9" fmla="*/ 38442 w 43006"/>
                <a:gd name="connsiteY9" fmla="*/ 54335 h 98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006" h="98570">
                  <a:moveTo>
                    <a:pt x="38442" y="54335"/>
                  </a:moveTo>
                  <a:lnTo>
                    <a:pt x="42869" y="87627"/>
                  </a:lnTo>
                  <a:cubicBezTo>
                    <a:pt x="44210" y="97445"/>
                    <a:pt x="35534" y="98883"/>
                    <a:pt x="25636" y="98522"/>
                  </a:cubicBezTo>
                  <a:cubicBezTo>
                    <a:pt x="25523" y="98513"/>
                    <a:pt x="25411" y="98513"/>
                    <a:pt x="25290" y="98505"/>
                  </a:cubicBezTo>
                  <a:cubicBezTo>
                    <a:pt x="20470" y="98264"/>
                    <a:pt x="14677" y="96208"/>
                    <a:pt x="9576" y="93902"/>
                  </a:cubicBezTo>
                  <a:cubicBezTo>
                    <a:pt x="2136" y="90544"/>
                    <a:pt x="-1728" y="88865"/>
                    <a:pt x="746" y="81088"/>
                  </a:cubicBezTo>
                  <a:lnTo>
                    <a:pt x="13794" y="38741"/>
                  </a:lnTo>
                  <a:cubicBezTo>
                    <a:pt x="13794" y="38741"/>
                    <a:pt x="15569" y="-232"/>
                    <a:pt x="15296" y="1"/>
                  </a:cubicBezTo>
                  <a:cubicBezTo>
                    <a:pt x="15023" y="234"/>
                    <a:pt x="41816" y="33270"/>
                    <a:pt x="41567" y="33535"/>
                  </a:cubicBezTo>
                  <a:cubicBezTo>
                    <a:pt x="41318" y="33800"/>
                    <a:pt x="38442" y="54335"/>
                    <a:pt x="38442" y="54335"/>
                  </a:cubicBezTo>
                  <a:close/>
                </a:path>
              </a:pathLst>
            </a:custGeom>
            <a:solidFill>
              <a:srgbClr val="F6A086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5" name="Forma Livre: Forma 834">
              <a:extLst>
                <a:ext uri="{FF2B5EF4-FFF2-40B4-BE49-F238E27FC236}">
                  <a16:creationId xmlns:a16="http://schemas.microsoft.com/office/drawing/2014/main" id="{6E6AE988-A55C-7444-9C1D-BACC04DFDF51}"/>
                </a:ext>
              </a:extLst>
            </p:cNvPr>
            <p:cNvSpPr/>
            <p:nvPr/>
          </p:nvSpPr>
          <p:spPr>
            <a:xfrm>
              <a:off x="1967710" y="1401477"/>
              <a:ext cx="69663" cy="95157"/>
            </a:xfrm>
            <a:custGeom>
              <a:avLst/>
              <a:gdLst>
                <a:gd name="connsiteX0" fmla="*/ 5535 w 69663"/>
                <a:gd name="connsiteY0" fmla="*/ 55658 h 95157"/>
                <a:gd name="connsiteX1" fmla="*/ 33317 w 69663"/>
                <a:gd name="connsiteY1" fmla="*/ 92180 h 95157"/>
                <a:gd name="connsiteX2" fmla="*/ 51931 w 69663"/>
                <a:gd name="connsiteY2" fmla="*/ 92068 h 95157"/>
                <a:gd name="connsiteX3" fmla="*/ 69494 w 69663"/>
                <a:gd name="connsiteY3" fmla="*/ 40209 h 95157"/>
                <a:gd name="connsiteX4" fmla="*/ 61299 w 69663"/>
                <a:gd name="connsiteY4" fmla="*/ 3100 h 95157"/>
                <a:gd name="connsiteX5" fmla="*/ 0 w 69663"/>
                <a:gd name="connsiteY5" fmla="*/ 15014 h 95157"/>
                <a:gd name="connsiteX6" fmla="*/ 5535 w 69663"/>
                <a:gd name="connsiteY6" fmla="*/ 55658 h 95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663" h="95157">
                  <a:moveTo>
                    <a:pt x="5535" y="55658"/>
                  </a:moveTo>
                  <a:cubicBezTo>
                    <a:pt x="5535" y="55658"/>
                    <a:pt x="2000" y="77430"/>
                    <a:pt x="33317" y="92180"/>
                  </a:cubicBezTo>
                  <a:cubicBezTo>
                    <a:pt x="43118" y="96800"/>
                    <a:pt x="47537" y="95474"/>
                    <a:pt x="51931" y="92068"/>
                  </a:cubicBezTo>
                  <a:cubicBezTo>
                    <a:pt x="58905" y="86669"/>
                    <a:pt x="71253" y="63154"/>
                    <a:pt x="69494" y="40209"/>
                  </a:cubicBezTo>
                  <a:cubicBezTo>
                    <a:pt x="67967" y="33107"/>
                    <a:pt x="67774" y="6627"/>
                    <a:pt x="61299" y="3100"/>
                  </a:cubicBezTo>
                  <a:cubicBezTo>
                    <a:pt x="40507" y="-8196"/>
                    <a:pt x="0" y="15014"/>
                    <a:pt x="0" y="15014"/>
                  </a:cubicBezTo>
                  <a:lnTo>
                    <a:pt x="5535" y="55658"/>
                  </a:lnTo>
                  <a:close/>
                </a:path>
              </a:pathLst>
            </a:custGeom>
            <a:solidFill>
              <a:srgbClr val="F6A086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6" name="Forma Livre: Forma 835">
              <a:extLst>
                <a:ext uri="{FF2B5EF4-FFF2-40B4-BE49-F238E27FC236}">
                  <a16:creationId xmlns:a16="http://schemas.microsoft.com/office/drawing/2014/main" id="{8968C513-D2DB-2C27-ECB3-A392C8BFB8C1}"/>
                </a:ext>
              </a:extLst>
            </p:cNvPr>
            <p:cNvSpPr/>
            <p:nvPr/>
          </p:nvSpPr>
          <p:spPr>
            <a:xfrm>
              <a:off x="1942414" y="1369076"/>
              <a:ext cx="99295" cy="91786"/>
            </a:xfrm>
            <a:custGeom>
              <a:avLst/>
              <a:gdLst>
                <a:gd name="connsiteX0" fmla="*/ 29787 w 99295"/>
                <a:gd name="connsiteY0" fmla="*/ 6691 h 91786"/>
                <a:gd name="connsiteX1" fmla="*/ 29899 w 99295"/>
                <a:gd name="connsiteY1" fmla="*/ 6579 h 91786"/>
                <a:gd name="connsiteX2" fmla="*/ 30140 w 99295"/>
                <a:gd name="connsiteY2" fmla="*/ 6892 h 91786"/>
                <a:gd name="connsiteX3" fmla="*/ 56524 w 99295"/>
                <a:gd name="connsiteY3" fmla="*/ 55 h 91786"/>
                <a:gd name="connsiteX4" fmla="*/ 98887 w 99295"/>
                <a:gd name="connsiteY4" fmla="*/ 38634 h 91786"/>
                <a:gd name="connsiteX5" fmla="*/ 55560 w 99295"/>
                <a:gd name="connsiteY5" fmla="*/ 55650 h 91786"/>
                <a:gd name="connsiteX6" fmla="*/ 41347 w 99295"/>
                <a:gd name="connsiteY6" fmla="*/ 64873 h 91786"/>
                <a:gd name="connsiteX7" fmla="*/ 40705 w 99295"/>
                <a:gd name="connsiteY7" fmla="*/ 76096 h 91786"/>
                <a:gd name="connsiteX8" fmla="*/ 30799 w 99295"/>
                <a:gd name="connsiteY8" fmla="*/ 83014 h 91786"/>
                <a:gd name="connsiteX9" fmla="*/ 32839 w 99295"/>
                <a:gd name="connsiteY9" fmla="*/ 87971 h 91786"/>
                <a:gd name="connsiteX10" fmla="*/ 32711 w 99295"/>
                <a:gd name="connsiteY10" fmla="*/ 88051 h 91786"/>
                <a:gd name="connsiteX11" fmla="*/ 20829 w 99295"/>
                <a:gd name="connsiteY11" fmla="*/ 91787 h 91786"/>
                <a:gd name="connsiteX12" fmla="*/ 61 w 99295"/>
                <a:gd name="connsiteY12" fmla="*/ 42024 h 91786"/>
                <a:gd name="connsiteX13" fmla="*/ 29787 w 99295"/>
                <a:gd name="connsiteY13" fmla="*/ 6691 h 91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9295" h="91786">
                  <a:moveTo>
                    <a:pt x="29787" y="6691"/>
                  </a:moveTo>
                  <a:lnTo>
                    <a:pt x="29899" y="6579"/>
                  </a:lnTo>
                  <a:cubicBezTo>
                    <a:pt x="30052" y="6771"/>
                    <a:pt x="30140" y="6892"/>
                    <a:pt x="30140" y="6892"/>
                  </a:cubicBezTo>
                  <a:cubicBezTo>
                    <a:pt x="30140" y="6892"/>
                    <a:pt x="38046" y="1477"/>
                    <a:pt x="56524" y="55"/>
                  </a:cubicBezTo>
                  <a:cubicBezTo>
                    <a:pt x="68205" y="-845"/>
                    <a:pt x="103474" y="9174"/>
                    <a:pt x="98887" y="38634"/>
                  </a:cubicBezTo>
                  <a:cubicBezTo>
                    <a:pt x="94291" y="68095"/>
                    <a:pt x="55560" y="55650"/>
                    <a:pt x="55560" y="55650"/>
                  </a:cubicBezTo>
                  <a:cubicBezTo>
                    <a:pt x="55126" y="62463"/>
                    <a:pt x="48401" y="61780"/>
                    <a:pt x="41347" y="64873"/>
                  </a:cubicBezTo>
                  <a:cubicBezTo>
                    <a:pt x="34294" y="67966"/>
                    <a:pt x="40673" y="70915"/>
                    <a:pt x="40705" y="76096"/>
                  </a:cubicBezTo>
                  <a:cubicBezTo>
                    <a:pt x="40721" y="78957"/>
                    <a:pt x="35716" y="79487"/>
                    <a:pt x="30799" y="83014"/>
                  </a:cubicBezTo>
                  <a:cubicBezTo>
                    <a:pt x="31988" y="86131"/>
                    <a:pt x="32839" y="87971"/>
                    <a:pt x="32839" y="87971"/>
                  </a:cubicBezTo>
                  <a:lnTo>
                    <a:pt x="32711" y="88051"/>
                  </a:lnTo>
                  <a:cubicBezTo>
                    <a:pt x="28300" y="83986"/>
                    <a:pt x="22243" y="87207"/>
                    <a:pt x="20829" y="91787"/>
                  </a:cubicBezTo>
                  <a:cubicBezTo>
                    <a:pt x="15197" y="84781"/>
                    <a:pt x="1113" y="65082"/>
                    <a:pt x="61" y="42024"/>
                  </a:cubicBezTo>
                  <a:cubicBezTo>
                    <a:pt x="-1249" y="13448"/>
                    <a:pt x="18860" y="360"/>
                    <a:pt x="29787" y="6691"/>
                  </a:cubicBezTo>
                  <a:close/>
                </a:path>
              </a:pathLst>
            </a:custGeom>
            <a:solidFill>
              <a:srgbClr val="132237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837" name="Gráfico 14">
              <a:extLst>
                <a:ext uri="{FF2B5EF4-FFF2-40B4-BE49-F238E27FC236}">
                  <a16:creationId xmlns:a16="http://schemas.microsoft.com/office/drawing/2014/main" id="{C4E06941-EF64-08F0-BC5D-0312B032637B}"/>
                </a:ext>
              </a:extLst>
            </p:cNvPr>
            <p:cNvGrpSpPr/>
            <p:nvPr/>
          </p:nvGrpSpPr>
          <p:grpSpPr>
            <a:xfrm>
              <a:off x="2089656" y="1384773"/>
              <a:ext cx="197630" cy="123185"/>
              <a:chOff x="1857362" y="1208194"/>
              <a:chExt cx="197630" cy="123185"/>
            </a:xfrm>
          </p:grpSpPr>
          <p:grpSp>
            <p:nvGrpSpPr>
              <p:cNvPr id="876" name="Gráfico 14">
                <a:extLst>
                  <a:ext uri="{FF2B5EF4-FFF2-40B4-BE49-F238E27FC236}">
                    <a16:creationId xmlns:a16="http://schemas.microsoft.com/office/drawing/2014/main" id="{0D662CFA-D917-46D2-B31F-1CDF85B655F5}"/>
                  </a:ext>
                </a:extLst>
              </p:cNvPr>
              <p:cNvGrpSpPr/>
              <p:nvPr/>
            </p:nvGrpSpPr>
            <p:grpSpPr>
              <a:xfrm>
                <a:off x="1857362" y="1264592"/>
                <a:ext cx="16236" cy="14044"/>
                <a:chOff x="1857362" y="1264592"/>
                <a:chExt cx="16236" cy="14044"/>
              </a:xfrm>
              <a:solidFill>
                <a:srgbClr val="01888B"/>
              </a:solidFill>
            </p:grpSpPr>
            <p:sp>
              <p:nvSpPr>
                <p:cNvPr id="892" name="Forma Livre: Forma 891">
                  <a:extLst>
                    <a:ext uri="{FF2B5EF4-FFF2-40B4-BE49-F238E27FC236}">
                      <a16:creationId xmlns:a16="http://schemas.microsoft.com/office/drawing/2014/main" id="{0B389E9B-3562-B3E9-FF72-C874AFC72A0C}"/>
                    </a:ext>
                  </a:extLst>
                </p:cNvPr>
                <p:cNvSpPr/>
                <p:nvPr/>
              </p:nvSpPr>
              <p:spPr>
                <a:xfrm rot="-52942">
                  <a:off x="1866336" y="1264641"/>
                  <a:ext cx="7262" cy="13995"/>
                </a:xfrm>
                <a:custGeom>
                  <a:avLst/>
                  <a:gdLst>
                    <a:gd name="connsiteX0" fmla="*/ 7263 w 7262"/>
                    <a:gd name="connsiteY0" fmla="*/ 6998 h 13995"/>
                    <a:gd name="connsiteX1" fmla="*/ 3631 w 7262"/>
                    <a:gd name="connsiteY1" fmla="*/ 13995 h 13995"/>
                    <a:gd name="connsiteX2" fmla="*/ 0 w 7262"/>
                    <a:gd name="connsiteY2" fmla="*/ 6998 h 13995"/>
                    <a:gd name="connsiteX3" fmla="*/ 3631 w 7262"/>
                    <a:gd name="connsiteY3" fmla="*/ 0 h 13995"/>
                    <a:gd name="connsiteX4" fmla="*/ 7263 w 7262"/>
                    <a:gd name="connsiteY4" fmla="*/ 6998 h 139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262" h="13995">
                      <a:moveTo>
                        <a:pt x="7263" y="6998"/>
                      </a:moveTo>
                      <a:cubicBezTo>
                        <a:pt x="7263" y="10863"/>
                        <a:pt x="5637" y="13995"/>
                        <a:pt x="3631" y="13995"/>
                      </a:cubicBezTo>
                      <a:cubicBezTo>
                        <a:pt x="1626" y="13995"/>
                        <a:pt x="0" y="10863"/>
                        <a:pt x="0" y="6998"/>
                      </a:cubicBezTo>
                      <a:cubicBezTo>
                        <a:pt x="0" y="3133"/>
                        <a:pt x="1626" y="0"/>
                        <a:pt x="3631" y="0"/>
                      </a:cubicBezTo>
                      <a:cubicBezTo>
                        <a:pt x="5637" y="0"/>
                        <a:pt x="7263" y="3133"/>
                        <a:pt x="7263" y="6998"/>
                      </a:cubicBezTo>
                      <a:close/>
                    </a:path>
                  </a:pathLst>
                </a:custGeom>
                <a:solidFill>
                  <a:srgbClr val="01888B"/>
                </a:solidFill>
                <a:ln w="8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1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1" b="0" i="0" u="none" strike="noStrike" kern="1200" cap="none" spc="0" normalizeH="0" baseline="0" noProof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93" name="Forma Livre: Forma 892">
                  <a:extLst>
                    <a:ext uri="{FF2B5EF4-FFF2-40B4-BE49-F238E27FC236}">
                      <a16:creationId xmlns:a16="http://schemas.microsoft.com/office/drawing/2014/main" id="{4DB1C12F-678E-1D55-453F-EF4A92437FFB}"/>
                    </a:ext>
                  </a:extLst>
                </p:cNvPr>
                <p:cNvSpPr/>
                <p:nvPr/>
              </p:nvSpPr>
              <p:spPr>
                <a:xfrm>
                  <a:off x="1857362" y="1267043"/>
                  <a:ext cx="4542" cy="9801"/>
                </a:xfrm>
                <a:custGeom>
                  <a:avLst/>
                  <a:gdLst>
                    <a:gd name="connsiteX0" fmla="*/ 4541 w 4542"/>
                    <a:gd name="connsiteY0" fmla="*/ 4869 h 9801"/>
                    <a:gd name="connsiteX1" fmla="*/ 2195 w 4542"/>
                    <a:gd name="connsiteY1" fmla="*/ 0 h 9801"/>
                    <a:gd name="connsiteX2" fmla="*/ 2 w 4542"/>
                    <a:gd name="connsiteY2" fmla="*/ 4933 h 9801"/>
                    <a:gd name="connsiteX3" fmla="*/ 2348 w 4542"/>
                    <a:gd name="connsiteY3" fmla="*/ 9802 h 9801"/>
                    <a:gd name="connsiteX4" fmla="*/ 4541 w 4542"/>
                    <a:gd name="connsiteY4" fmla="*/ 4869 h 98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542" h="9801">
                      <a:moveTo>
                        <a:pt x="4541" y="4869"/>
                      </a:moveTo>
                      <a:cubicBezTo>
                        <a:pt x="4501" y="2161"/>
                        <a:pt x="3448" y="-16"/>
                        <a:pt x="2195" y="0"/>
                      </a:cubicBezTo>
                      <a:cubicBezTo>
                        <a:pt x="942" y="16"/>
                        <a:pt x="-46" y="2225"/>
                        <a:pt x="2" y="4933"/>
                      </a:cubicBezTo>
                      <a:cubicBezTo>
                        <a:pt x="42" y="7640"/>
                        <a:pt x="1094" y="9818"/>
                        <a:pt x="2348" y="9802"/>
                      </a:cubicBezTo>
                      <a:cubicBezTo>
                        <a:pt x="3601" y="9785"/>
                        <a:pt x="4581" y="7576"/>
                        <a:pt x="4541" y="4869"/>
                      </a:cubicBezTo>
                      <a:close/>
                    </a:path>
                  </a:pathLst>
                </a:custGeom>
                <a:solidFill>
                  <a:srgbClr val="01888B"/>
                </a:solidFill>
                <a:ln w="8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1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1" b="0" i="0" u="none" strike="noStrike" kern="1200" cap="none" spc="0" normalizeH="0" baseline="0" noProof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94" name="Forma Livre: Forma 893">
                  <a:extLst>
                    <a:ext uri="{FF2B5EF4-FFF2-40B4-BE49-F238E27FC236}">
                      <a16:creationId xmlns:a16="http://schemas.microsoft.com/office/drawing/2014/main" id="{78A47484-2015-610E-07A0-09CEB9436158}"/>
                    </a:ext>
                  </a:extLst>
                </p:cNvPr>
                <p:cNvSpPr/>
                <p:nvPr/>
              </p:nvSpPr>
              <p:spPr>
                <a:xfrm>
                  <a:off x="1859396" y="1264592"/>
                  <a:ext cx="10564" cy="13987"/>
                </a:xfrm>
                <a:custGeom>
                  <a:avLst/>
                  <a:gdLst>
                    <a:gd name="connsiteX0" fmla="*/ 10275 w 10564"/>
                    <a:gd name="connsiteY0" fmla="*/ 0 h 13987"/>
                    <a:gd name="connsiteX1" fmla="*/ 0 w 10564"/>
                    <a:gd name="connsiteY1" fmla="*/ 2458 h 13987"/>
                    <a:gd name="connsiteX2" fmla="*/ 257 w 10564"/>
                    <a:gd name="connsiteY2" fmla="*/ 12252 h 13987"/>
                    <a:gd name="connsiteX3" fmla="*/ 10565 w 10564"/>
                    <a:gd name="connsiteY3" fmla="*/ 13987 h 139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564" h="13987">
                      <a:moveTo>
                        <a:pt x="10275" y="0"/>
                      </a:moveTo>
                      <a:lnTo>
                        <a:pt x="0" y="2458"/>
                      </a:lnTo>
                      <a:lnTo>
                        <a:pt x="257" y="12252"/>
                      </a:lnTo>
                      <a:lnTo>
                        <a:pt x="10565" y="13987"/>
                      </a:lnTo>
                      <a:close/>
                    </a:path>
                  </a:pathLst>
                </a:custGeom>
                <a:solidFill>
                  <a:srgbClr val="01888B"/>
                </a:solidFill>
                <a:ln w="8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1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1" b="0" i="0" u="none" strike="noStrike" kern="1200" cap="none" spc="0" normalizeH="0" baseline="0" noProof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877" name="Gráfico 14">
                <a:extLst>
                  <a:ext uri="{FF2B5EF4-FFF2-40B4-BE49-F238E27FC236}">
                    <a16:creationId xmlns:a16="http://schemas.microsoft.com/office/drawing/2014/main" id="{13D94C35-7205-DA4D-5FC8-C441704BC93B}"/>
                  </a:ext>
                </a:extLst>
              </p:cNvPr>
              <p:cNvGrpSpPr/>
              <p:nvPr/>
            </p:nvGrpSpPr>
            <p:grpSpPr>
              <a:xfrm>
                <a:off x="1865500" y="1258044"/>
                <a:ext cx="30529" cy="26416"/>
                <a:chOff x="1865500" y="1258044"/>
                <a:chExt cx="30529" cy="26416"/>
              </a:xfrm>
              <a:solidFill>
                <a:srgbClr val="85CFD2"/>
              </a:solidFill>
            </p:grpSpPr>
            <p:sp>
              <p:nvSpPr>
                <p:cNvPr id="889" name="Forma Livre: Forma 888">
                  <a:extLst>
                    <a:ext uri="{FF2B5EF4-FFF2-40B4-BE49-F238E27FC236}">
                      <a16:creationId xmlns:a16="http://schemas.microsoft.com/office/drawing/2014/main" id="{1FE638DD-9ED1-5F3D-27BF-5BA95C7D6039}"/>
                    </a:ext>
                  </a:extLst>
                </p:cNvPr>
                <p:cNvSpPr/>
                <p:nvPr/>
              </p:nvSpPr>
              <p:spPr>
                <a:xfrm rot="-53286">
                  <a:off x="1882355" y="1258044"/>
                  <a:ext cx="13674" cy="26351"/>
                </a:xfrm>
                <a:custGeom>
                  <a:avLst/>
                  <a:gdLst>
                    <a:gd name="connsiteX0" fmla="*/ 13674 w 13674"/>
                    <a:gd name="connsiteY0" fmla="*/ 13176 h 26351"/>
                    <a:gd name="connsiteX1" fmla="*/ 6837 w 13674"/>
                    <a:gd name="connsiteY1" fmla="*/ 26352 h 26351"/>
                    <a:gd name="connsiteX2" fmla="*/ 0 w 13674"/>
                    <a:gd name="connsiteY2" fmla="*/ 13176 h 26351"/>
                    <a:gd name="connsiteX3" fmla="*/ 6837 w 13674"/>
                    <a:gd name="connsiteY3" fmla="*/ 0 h 26351"/>
                    <a:gd name="connsiteX4" fmla="*/ 13674 w 13674"/>
                    <a:gd name="connsiteY4" fmla="*/ 13176 h 263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674" h="26351">
                      <a:moveTo>
                        <a:pt x="13674" y="13176"/>
                      </a:moveTo>
                      <a:cubicBezTo>
                        <a:pt x="13674" y="20453"/>
                        <a:pt x="10613" y="26352"/>
                        <a:pt x="6837" y="26352"/>
                      </a:cubicBezTo>
                      <a:cubicBezTo>
                        <a:pt x="3061" y="26352"/>
                        <a:pt x="0" y="20453"/>
                        <a:pt x="0" y="13176"/>
                      </a:cubicBezTo>
                      <a:cubicBezTo>
                        <a:pt x="0" y="5899"/>
                        <a:pt x="3061" y="0"/>
                        <a:pt x="6837" y="0"/>
                      </a:cubicBezTo>
                      <a:cubicBezTo>
                        <a:pt x="10613" y="0"/>
                        <a:pt x="13674" y="5899"/>
                        <a:pt x="13674" y="13176"/>
                      </a:cubicBezTo>
                      <a:close/>
                    </a:path>
                  </a:pathLst>
                </a:custGeom>
                <a:solidFill>
                  <a:srgbClr val="85CFD2"/>
                </a:solidFill>
                <a:ln w="8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1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1" b="0" i="0" u="none" strike="noStrike" kern="1200" cap="none" spc="0" normalizeH="0" baseline="0" noProof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90" name="Forma Livre: Forma 889">
                  <a:extLst>
                    <a:ext uri="{FF2B5EF4-FFF2-40B4-BE49-F238E27FC236}">
                      <a16:creationId xmlns:a16="http://schemas.microsoft.com/office/drawing/2014/main" id="{ADAC52F8-233A-84F4-A2EA-D4E93A1EA68E}"/>
                    </a:ext>
                  </a:extLst>
                </p:cNvPr>
                <p:cNvSpPr/>
                <p:nvPr/>
              </p:nvSpPr>
              <p:spPr>
                <a:xfrm rot="-53286">
                  <a:off x="1865500" y="1262678"/>
                  <a:ext cx="8548" cy="18446"/>
                </a:xfrm>
                <a:custGeom>
                  <a:avLst/>
                  <a:gdLst>
                    <a:gd name="connsiteX0" fmla="*/ 8548 w 8548"/>
                    <a:gd name="connsiteY0" fmla="*/ 9223 h 18446"/>
                    <a:gd name="connsiteX1" fmla="*/ 4274 w 8548"/>
                    <a:gd name="connsiteY1" fmla="*/ 18446 h 18446"/>
                    <a:gd name="connsiteX2" fmla="*/ 0 w 8548"/>
                    <a:gd name="connsiteY2" fmla="*/ 9223 h 18446"/>
                    <a:gd name="connsiteX3" fmla="*/ 4274 w 8548"/>
                    <a:gd name="connsiteY3" fmla="*/ 0 h 18446"/>
                    <a:gd name="connsiteX4" fmla="*/ 8548 w 8548"/>
                    <a:gd name="connsiteY4" fmla="*/ 9223 h 184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548" h="18446">
                      <a:moveTo>
                        <a:pt x="8548" y="9223"/>
                      </a:moveTo>
                      <a:cubicBezTo>
                        <a:pt x="8548" y="14317"/>
                        <a:pt x="6635" y="18446"/>
                        <a:pt x="4274" y="18446"/>
                      </a:cubicBezTo>
                      <a:cubicBezTo>
                        <a:pt x="1914" y="18446"/>
                        <a:pt x="0" y="14317"/>
                        <a:pt x="0" y="9223"/>
                      </a:cubicBezTo>
                      <a:cubicBezTo>
                        <a:pt x="0" y="4129"/>
                        <a:pt x="1914" y="0"/>
                        <a:pt x="4274" y="0"/>
                      </a:cubicBezTo>
                      <a:cubicBezTo>
                        <a:pt x="6635" y="0"/>
                        <a:pt x="8548" y="4129"/>
                        <a:pt x="8548" y="9223"/>
                      </a:cubicBezTo>
                      <a:close/>
                    </a:path>
                  </a:pathLst>
                </a:custGeom>
                <a:solidFill>
                  <a:srgbClr val="85CFD2"/>
                </a:solidFill>
                <a:ln w="8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1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1" b="0" i="0" u="none" strike="noStrike" kern="1200" cap="none" spc="0" normalizeH="0" baseline="0" noProof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91" name="Forma Livre: Forma 890">
                  <a:extLst>
                    <a:ext uri="{FF2B5EF4-FFF2-40B4-BE49-F238E27FC236}">
                      <a16:creationId xmlns:a16="http://schemas.microsoft.com/office/drawing/2014/main" id="{36E105C9-B01F-5A9C-BFC7-A3EE4A4A1569}"/>
                    </a:ext>
                  </a:extLst>
                </p:cNvPr>
                <p:cNvSpPr/>
                <p:nvPr/>
              </p:nvSpPr>
              <p:spPr>
                <a:xfrm>
                  <a:off x="1869310" y="1258133"/>
                  <a:ext cx="19892" cy="26327"/>
                </a:xfrm>
                <a:custGeom>
                  <a:avLst/>
                  <a:gdLst>
                    <a:gd name="connsiteX0" fmla="*/ 19338 w 19892"/>
                    <a:gd name="connsiteY0" fmla="*/ 0 h 26327"/>
                    <a:gd name="connsiteX1" fmla="*/ 0 w 19892"/>
                    <a:gd name="connsiteY1" fmla="*/ 4620 h 26327"/>
                    <a:gd name="connsiteX2" fmla="*/ 482 w 19892"/>
                    <a:gd name="connsiteY2" fmla="*/ 23057 h 26327"/>
                    <a:gd name="connsiteX3" fmla="*/ 19892 w 19892"/>
                    <a:gd name="connsiteY3" fmla="*/ 26327 h 26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892" h="26327">
                      <a:moveTo>
                        <a:pt x="19338" y="0"/>
                      </a:moveTo>
                      <a:lnTo>
                        <a:pt x="0" y="4620"/>
                      </a:lnTo>
                      <a:lnTo>
                        <a:pt x="482" y="23057"/>
                      </a:lnTo>
                      <a:lnTo>
                        <a:pt x="19892" y="26327"/>
                      </a:lnTo>
                      <a:close/>
                    </a:path>
                  </a:pathLst>
                </a:custGeom>
                <a:solidFill>
                  <a:srgbClr val="85CFD2"/>
                </a:solidFill>
                <a:ln w="8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1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1" b="0" i="0" u="none" strike="noStrike" kern="1200" cap="none" spc="0" normalizeH="0" baseline="0" noProof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878" name="Gráfico 14">
                <a:extLst>
                  <a:ext uri="{FF2B5EF4-FFF2-40B4-BE49-F238E27FC236}">
                    <a16:creationId xmlns:a16="http://schemas.microsoft.com/office/drawing/2014/main" id="{B5B4EA7D-CCD7-BF63-31B4-B9FBE8F46D56}"/>
                  </a:ext>
                </a:extLst>
              </p:cNvPr>
              <p:cNvGrpSpPr/>
              <p:nvPr/>
            </p:nvGrpSpPr>
            <p:grpSpPr>
              <a:xfrm>
                <a:off x="1878268" y="1233541"/>
                <a:ext cx="89434" cy="77143"/>
                <a:chOff x="1878268" y="1233541"/>
                <a:chExt cx="89434" cy="77143"/>
              </a:xfrm>
              <a:solidFill>
                <a:srgbClr val="0A3C5F"/>
              </a:solidFill>
            </p:grpSpPr>
            <p:sp>
              <p:nvSpPr>
                <p:cNvPr id="886" name="Forma Livre: Forma 885">
                  <a:extLst>
                    <a:ext uri="{FF2B5EF4-FFF2-40B4-BE49-F238E27FC236}">
                      <a16:creationId xmlns:a16="http://schemas.microsoft.com/office/drawing/2014/main" id="{CB631EC7-3170-B854-E635-1966F1F091C5}"/>
                    </a:ext>
                  </a:extLst>
                </p:cNvPr>
                <p:cNvSpPr/>
                <p:nvPr/>
              </p:nvSpPr>
              <p:spPr>
                <a:xfrm rot="-52942">
                  <a:off x="1927660" y="1233557"/>
                  <a:ext cx="40042" cy="77127"/>
                </a:xfrm>
                <a:custGeom>
                  <a:avLst/>
                  <a:gdLst>
                    <a:gd name="connsiteX0" fmla="*/ 40042 w 40042"/>
                    <a:gd name="connsiteY0" fmla="*/ 38564 h 77127"/>
                    <a:gd name="connsiteX1" fmla="*/ 20021 w 40042"/>
                    <a:gd name="connsiteY1" fmla="*/ 77128 h 77127"/>
                    <a:gd name="connsiteX2" fmla="*/ 0 w 40042"/>
                    <a:gd name="connsiteY2" fmla="*/ 38564 h 77127"/>
                    <a:gd name="connsiteX3" fmla="*/ 20021 w 40042"/>
                    <a:gd name="connsiteY3" fmla="*/ 0 h 77127"/>
                    <a:gd name="connsiteX4" fmla="*/ 40042 w 40042"/>
                    <a:gd name="connsiteY4" fmla="*/ 38564 h 771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042" h="77127">
                      <a:moveTo>
                        <a:pt x="40042" y="38564"/>
                      </a:moveTo>
                      <a:cubicBezTo>
                        <a:pt x="40042" y="59862"/>
                        <a:pt x="31078" y="77128"/>
                        <a:pt x="20021" y="77128"/>
                      </a:cubicBezTo>
                      <a:cubicBezTo>
                        <a:pt x="8964" y="77128"/>
                        <a:pt x="0" y="59862"/>
                        <a:pt x="0" y="38564"/>
                      </a:cubicBezTo>
                      <a:cubicBezTo>
                        <a:pt x="0" y="17266"/>
                        <a:pt x="8964" y="0"/>
                        <a:pt x="20021" y="0"/>
                      </a:cubicBezTo>
                      <a:cubicBezTo>
                        <a:pt x="31078" y="0"/>
                        <a:pt x="40042" y="17266"/>
                        <a:pt x="40042" y="38564"/>
                      </a:cubicBezTo>
                      <a:close/>
                    </a:path>
                  </a:pathLst>
                </a:custGeom>
                <a:solidFill>
                  <a:srgbClr val="0A3C5F"/>
                </a:solidFill>
                <a:ln w="8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1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1" b="0" i="0" u="none" strike="noStrike" kern="1200" cap="none" spc="0" normalizeH="0" baseline="0" noProof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87" name="Forma Livre: Forma 886">
                  <a:extLst>
                    <a:ext uri="{FF2B5EF4-FFF2-40B4-BE49-F238E27FC236}">
                      <a16:creationId xmlns:a16="http://schemas.microsoft.com/office/drawing/2014/main" id="{6477F328-C68E-2981-9704-E0C5FA8F4A84}"/>
                    </a:ext>
                  </a:extLst>
                </p:cNvPr>
                <p:cNvSpPr/>
                <p:nvPr/>
              </p:nvSpPr>
              <p:spPr>
                <a:xfrm>
                  <a:off x="1878268" y="1247045"/>
                  <a:ext cx="25064" cy="54021"/>
                </a:xfrm>
                <a:custGeom>
                  <a:avLst/>
                  <a:gdLst>
                    <a:gd name="connsiteX0" fmla="*/ 25057 w 25064"/>
                    <a:gd name="connsiteY0" fmla="*/ 26818 h 54021"/>
                    <a:gd name="connsiteX1" fmla="*/ 12114 w 25064"/>
                    <a:gd name="connsiteY1" fmla="*/ 1 h 54021"/>
                    <a:gd name="connsiteX2" fmla="*/ 7 w 25064"/>
                    <a:gd name="connsiteY2" fmla="*/ 27204 h 54021"/>
                    <a:gd name="connsiteX3" fmla="*/ 12950 w 25064"/>
                    <a:gd name="connsiteY3" fmla="*/ 54021 h 54021"/>
                    <a:gd name="connsiteX4" fmla="*/ 25057 w 25064"/>
                    <a:gd name="connsiteY4" fmla="*/ 26818 h 540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5064" h="54021">
                      <a:moveTo>
                        <a:pt x="25057" y="26818"/>
                      </a:moveTo>
                      <a:cubicBezTo>
                        <a:pt x="24824" y="11899"/>
                        <a:pt x="19032" y="-104"/>
                        <a:pt x="12114" y="1"/>
                      </a:cubicBezTo>
                      <a:cubicBezTo>
                        <a:pt x="5197" y="105"/>
                        <a:pt x="-226" y="12285"/>
                        <a:pt x="7" y="27204"/>
                      </a:cubicBezTo>
                      <a:cubicBezTo>
                        <a:pt x="240" y="42123"/>
                        <a:pt x="6033" y="54125"/>
                        <a:pt x="12950" y="54021"/>
                      </a:cubicBezTo>
                      <a:cubicBezTo>
                        <a:pt x="19867" y="53917"/>
                        <a:pt x="25290" y="41737"/>
                        <a:pt x="25057" y="26818"/>
                      </a:cubicBezTo>
                      <a:close/>
                    </a:path>
                  </a:pathLst>
                </a:custGeom>
                <a:solidFill>
                  <a:srgbClr val="0A3C5F"/>
                </a:solidFill>
                <a:ln w="8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1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1" b="0" i="0" u="none" strike="noStrike" kern="1200" cap="none" spc="0" normalizeH="0" baseline="0" noProof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88" name="Forma Livre: Forma 887">
                  <a:extLst>
                    <a:ext uri="{FF2B5EF4-FFF2-40B4-BE49-F238E27FC236}">
                      <a16:creationId xmlns:a16="http://schemas.microsoft.com/office/drawing/2014/main" id="{14419278-702F-6B88-D293-3B9078935848}"/>
                    </a:ext>
                  </a:extLst>
                </p:cNvPr>
                <p:cNvSpPr/>
                <p:nvPr/>
              </p:nvSpPr>
              <p:spPr>
                <a:xfrm>
                  <a:off x="1889523" y="1233541"/>
                  <a:ext cx="58246" cy="77077"/>
                </a:xfrm>
                <a:custGeom>
                  <a:avLst/>
                  <a:gdLst>
                    <a:gd name="connsiteX0" fmla="*/ 56623 w 58246"/>
                    <a:gd name="connsiteY0" fmla="*/ 0 h 77077"/>
                    <a:gd name="connsiteX1" fmla="*/ 0 w 58246"/>
                    <a:gd name="connsiteY1" fmla="*/ 13529 h 77077"/>
                    <a:gd name="connsiteX2" fmla="*/ 1422 w 58246"/>
                    <a:gd name="connsiteY2" fmla="*/ 67525 h 77077"/>
                    <a:gd name="connsiteX3" fmla="*/ 58246 w 58246"/>
                    <a:gd name="connsiteY3" fmla="*/ 77078 h 770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8246" h="77077">
                      <a:moveTo>
                        <a:pt x="56623" y="0"/>
                      </a:moveTo>
                      <a:lnTo>
                        <a:pt x="0" y="13529"/>
                      </a:lnTo>
                      <a:lnTo>
                        <a:pt x="1422" y="67525"/>
                      </a:lnTo>
                      <a:lnTo>
                        <a:pt x="58246" y="77078"/>
                      </a:lnTo>
                      <a:close/>
                    </a:path>
                  </a:pathLst>
                </a:custGeom>
                <a:solidFill>
                  <a:srgbClr val="0A3C5F"/>
                </a:solidFill>
                <a:ln w="8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1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1" b="0" i="0" u="none" strike="noStrike" kern="1200" cap="none" spc="0" normalizeH="0" baseline="0" noProof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879" name="Gráfico 14">
                <a:extLst>
                  <a:ext uri="{FF2B5EF4-FFF2-40B4-BE49-F238E27FC236}">
                    <a16:creationId xmlns:a16="http://schemas.microsoft.com/office/drawing/2014/main" id="{6E59FD66-E1A8-3849-75C8-98D6F811C32F}"/>
                  </a:ext>
                </a:extLst>
              </p:cNvPr>
              <p:cNvGrpSpPr/>
              <p:nvPr/>
            </p:nvGrpSpPr>
            <p:grpSpPr>
              <a:xfrm>
                <a:off x="1912299" y="1208194"/>
                <a:ext cx="142693" cy="123185"/>
                <a:chOff x="1912299" y="1208194"/>
                <a:chExt cx="142693" cy="123185"/>
              </a:xfrm>
            </p:grpSpPr>
            <p:sp>
              <p:nvSpPr>
                <p:cNvPr id="880" name="Forma Livre: Forma 879">
                  <a:extLst>
                    <a:ext uri="{FF2B5EF4-FFF2-40B4-BE49-F238E27FC236}">
                      <a16:creationId xmlns:a16="http://schemas.microsoft.com/office/drawing/2014/main" id="{DA5F26DA-2A50-8E8F-7569-BCA01C49EACB}"/>
                    </a:ext>
                  </a:extLst>
                </p:cNvPr>
                <p:cNvSpPr/>
                <p:nvPr/>
              </p:nvSpPr>
              <p:spPr>
                <a:xfrm rot="-53286">
                  <a:off x="1912299" y="1229840"/>
                  <a:ext cx="39977" cy="86238"/>
                </a:xfrm>
                <a:custGeom>
                  <a:avLst/>
                  <a:gdLst>
                    <a:gd name="connsiteX0" fmla="*/ 39978 w 39977"/>
                    <a:gd name="connsiteY0" fmla="*/ 43119 h 86238"/>
                    <a:gd name="connsiteX1" fmla="*/ 19989 w 39977"/>
                    <a:gd name="connsiteY1" fmla="*/ 86238 h 86238"/>
                    <a:gd name="connsiteX2" fmla="*/ 0 w 39977"/>
                    <a:gd name="connsiteY2" fmla="*/ 43119 h 86238"/>
                    <a:gd name="connsiteX3" fmla="*/ 19989 w 39977"/>
                    <a:gd name="connsiteY3" fmla="*/ 0 h 86238"/>
                    <a:gd name="connsiteX4" fmla="*/ 39978 w 39977"/>
                    <a:gd name="connsiteY4" fmla="*/ 43119 h 862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977" h="86238">
                      <a:moveTo>
                        <a:pt x="39978" y="43119"/>
                      </a:moveTo>
                      <a:cubicBezTo>
                        <a:pt x="39978" y="66933"/>
                        <a:pt x="31028" y="86238"/>
                        <a:pt x="19989" y="86238"/>
                      </a:cubicBezTo>
                      <a:cubicBezTo>
                        <a:pt x="8949" y="86238"/>
                        <a:pt x="0" y="66933"/>
                        <a:pt x="0" y="43119"/>
                      </a:cubicBezTo>
                      <a:cubicBezTo>
                        <a:pt x="0" y="19305"/>
                        <a:pt x="8949" y="0"/>
                        <a:pt x="19989" y="0"/>
                      </a:cubicBezTo>
                      <a:cubicBezTo>
                        <a:pt x="31028" y="0"/>
                        <a:pt x="39978" y="19305"/>
                        <a:pt x="39978" y="43119"/>
                      </a:cubicBezTo>
                      <a:close/>
                    </a:path>
                  </a:pathLst>
                </a:custGeom>
                <a:solidFill>
                  <a:srgbClr val="FFD147"/>
                </a:solidFill>
                <a:ln w="8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1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1" b="0" i="0" u="none" strike="noStrike" kern="1200" cap="none" spc="0" normalizeH="0" baseline="0" noProof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81" name="Forma Livre: Forma 880">
                  <a:extLst>
                    <a:ext uri="{FF2B5EF4-FFF2-40B4-BE49-F238E27FC236}">
                      <a16:creationId xmlns:a16="http://schemas.microsoft.com/office/drawing/2014/main" id="{2E0EFD79-309B-4D8E-DFCF-0C994270907A}"/>
                    </a:ext>
                  </a:extLst>
                </p:cNvPr>
                <p:cNvSpPr/>
                <p:nvPr/>
              </p:nvSpPr>
              <p:spPr>
                <a:xfrm>
                  <a:off x="1930215" y="1208363"/>
                  <a:ext cx="92968" cy="123016"/>
                </a:xfrm>
                <a:custGeom>
                  <a:avLst/>
                  <a:gdLst>
                    <a:gd name="connsiteX0" fmla="*/ 90374 w 92968"/>
                    <a:gd name="connsiteY0" fmla="*/ 0 h 123016"/>
                    <a:gd name="connsiteX1" fmla="*/ 0 w 92968"/>
                    <a:gd name="connsiteY1" fmla="*/ 21587 h 123016"/>
                    <a:gd name="connsiteX2" fmla="*/ 2266 w 92968"/>
                    <a:gd name="connsiteY2" fmla="*/ 107776 h 123016"/>
                    <a:gd name="connsiteX3" fmla="*/ 92969 w 92968"/>
                    <a:gd name="connsiteY3" fmla="*/ 123016 h 123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2968" h="123016">
                      <a:moveTo>
                        <a:pt x="90374" y="0"/>
                      </a:moveTo>
                      <a:lnTo>
                        <a:pt x="0" y="21587"/>
                      </a:lnTo>
                      <a:lnTo>
                        <a:pt x="2266" y="107776"/>
                      </a:lnTo>
                      <a:lnTo>
                        <a:pt x="92969" y="123016"/>
                      </a:lnTo>
                      <a:close/>
                    </a:path>
                  </a:pathLst>
                </a:custGeom>
                <a:solidFill>
                  <a:srgbClr val="EE730D"/>
                </a:solidFill>
                <a:ln w="8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1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1" b="0" i="0" u="none" strike="noStrike" kern="1200" cap="none" spc="0" normalizeH="0" baseline="0" noProof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82" name="Forma Livre: Forma 881">
                  <a:extLst>
                    <a:ext uri="{FF2B5EF4-FFF2-40B4-BE49-F238E27FC236}">
                      <a16:creationId xmlns:a16="http://schemas.microsoft.com/office/drawing/2014/main" id="{86AC1E06-3CD0-AF78-1BDA-7DD53A89192B}"/>
                    </a:ext>
                  </a:extLst>
                </p:cNvPr>
                <p:cNvSpPr/>
                <p:nvPr/>
              </p:nvSpPr>
              <p:spPr>
                <a:xfrm rot="-53286">
                  <a:off x="1991073" y="1208194"/>
                  <a:ext cx="63919" cy="123114"/>
                </a:xfrm>
                <a:custGeom>
                  <a:avLst/>
                  <a:gdLst>
                    <a:gd name="connsiteX0" fmla="*/ 63920 w 63919"/>
                    <a:gd name="connsiteY0" fmla="*/ 61557 h 123114"/>
                    <a:gd name="connsiteX1" fmla="*/ 31960 w 63919"/>
                    <a:gd name="connsiteY1" fmla="*/ 123115 h 123114"/>
                    <a:gd name="connsiteX2" fmla="*/ 0 w 63919"/>
                    <a:gd name="connsiteY2" fmla="*/ 61557 h 123114"/>
                    <a:gd name="connsiteX3" fmla="*/ 31960 w 63919"/>
                    <a:gd name="connsiteY3" fmla="*/ 0 h 123114"/>
                    <a:gd name="connsiteX4" fmla="*/ 63920 w 63919"/>
                    <a:gd name="connsiteY4" fmla="*/ 61557 h 1231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3919" h="123114">
                      <a:moveTo>
                        <a:pt x="63920" y="61557"/>
                      </a:moveTo>
                      <a:cubicBezTo>
                        <a:pt x="63920" y="95555"/>
                        <a:pt x="49611" y="123115"/>
                        <a:pt x="31960" y="123115"/>
                      </a:cubicBezTo>
                      <a:cubicBezTo>
                        <a:pt x="14309" y="123115"/>
                        <a:pt x="0" y="95555"/>
                        <a:pt x="0" y="61557"/>
                      </a:cubicBezTo>
                      <a:cubicBezTo>
                        <a:pt x="0" y="27560"/>
                        <a:pt x="14309" y="0"/>
                        <a:pt x="31960" y="0"/>
                      </a:cubicBezTo>
                      <a:cubicBezTo>
                        <a:pt x="49611" y="0"/>
                        <a:pt x="63920" y="27560"/>
                        <a:pt x="63920" y="61557"/>
                      </a:cubicBezTo>
                      <a:close/>
                    </a:path>
                  </a:pathLst>
                </a:custGeom>
                <a:solidFill>
                  <a:srgbClr val="EE730D"/>
                </a:solidFill>
                <a:ln w="8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1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1" b="0" i="0" u="none" strike="noStrike" kern="1200" cap="none" spc="0" normalizeH="0" baseline="0" noProof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883" name="Gráfico 14">
                  <a:extLst>
                    <a:ext uri="{FF2B5EF4-FFF2-40B4-BE49-F238E27FC236}">
                      <a16:creationId xmlns:a16="http://schemas.microsoft.com/office/drawing/2014/main" id="{D35AFB32-BE19-AB5B-199E-36E6D78C7212}"/>
                    </a:ext>
                  </a:extLst>
                </p:cNvPr>
                <p:cNvGrpSpPr/>
                <p:nvPr/>
              </p:nvGrpSpPr>
              <p:grpSpPr>
                <a:xfrm>
                  <a:off x="1970666" y="1216861"/>
                  <a:ext cx="79827" cy="106206"/>
                  <a:chOff x="1970666" y="1216861"/>
                  <a:chExt cx="79827" cy="106206"/>
                </a:xfrm>
              </p:grpSpPr>
              <p:sp>
                <p:nvSpPr>
                  <p:cNvPr id="884" name="Forma Livre: Forma 883">
                    <a:extLst>
                      <a:ext uri="{FF2B5EF4-FFF2-40B4-BE49-F238E27FC236}">
                        <a16:creationId xmlns:a16="http://schemas.microsoft.com/office/drawing/2014/main" id="{1FF01168-9121-4D3C-0B11-C77ECA86F5E1}"/>
                      </a:ext>
                    </a:extLst>
                  </p:cNvPr>
                  <p:cNvSpPr/>
                  <p:nvPr/>
                </p:nvSpPr>
                <p:spPr>
                  <a:xfrm rot="-53286">
                    <a:off x="1995572" y="1216861"/>
                    <a:ext cx="54921" cy="105777"/>
                  </a:xfrm>
                  <a:custGeom>
                    <a:avLst/>
                    <a:gdLst>
                      <a:gd name="connsiteX0" fmla="*/ 54921 w 54921"/>
                      <a:gd name="connsiteY0" fmla="*/ 52889 h 105777"/>
                      <a:gd name="connsiteX1" fmla="*/ 27461 w 54921"/>
                      <a:gd name="connsiteY1" fmla="*/ 105777 h 105777"/>
                      <a:gd name="connsiteX2" fmla="*/ 0 w 54921"/>
                      <a:gd name="connsiteY2" fmla="*/ 52889 h 105777"/>
                      <a:gd name="connsiteX3" fmla="*/ 27461 w 54921"/>
                      <a:gd name="connsiteY3" fmla="*/ 0 h 105777"/>
                      <a:gd name="connsiteX4" fmla="*/ 54921 w 54921"/>
                      <a:gd name="connsiteY4" fmla="*/ 52889 h 10577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4921" h="105777">
                        <a:moveTo>
                          <a:pt x="54921" y="52889"/>
                        </a:moveTo>
                        <a:cubicBezTo>
                          <a:pt x="54921" y="82098"/>
                          <a:pt x="42627" y="105777"/>
                          <a:pt x="27461" y="105777"/>
                        </a:cubicBezTo>
                        <a:cubicBezTo>
                          <a:pt x="12295" y="105777"/>
                          <a:pt x="0" y="82098"/>
                          <a:pt x="0" y="52889"/>
                        </a:cubicBezTo>
                        <a:cubicBezTo>
                          <a:pt x="0" y="23679"/>
                          <a:pt x="12294" y="0"/>
                          <a:pt x="27461" y="0"/>
                        </a:cubicBezTo>
                        <a:cubicBezTo>
                          <a:pt x="42627" y="0"/>
                          <a:pt x="54921" y="23679"/>
                          <a:pt x="54921" y="52889"/>
                        </a:cubicBezTo>
                        <a:close/>
                      </a:path>
                    </a:pathLst>
                  </a:custGeom>
                  <a:solidFill>
                    <a:srgbClr val="F7A60F"/>
                  </a:solidFill>
                  <a:ln w="80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1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1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5F6062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85" name="Forma Livre: Forma 884">
                    <a:extLst>
                      <a:ext uri="{FF2B5EF4-FFF2-40B4-BE49-F238E27FC236}">
                        <a16:creationId xmlns:a16="http://schemas.microsoft.com/office/drawing/2014/main" id="{813F46B7-E0F4-35FD-6F89-D3B7E5097642}"/>
                      </a:ext>
                    </a:extLst>
                  </p:cNvPr>
                  <p:cNvSpPr/>
                  <p:nvPr/>
                </p:nvSpPr>
                <p:spPr>
                  <a:xfrm rot="-53286">
                    <a:off x="1970666" y="1217274"/>
                    <a:ext cx="72130" cy="105793"/>
                  </a:xfrm>
                  <a:custGeom>
                    <a:avLst/>
                    <a:gdLst>
                      <a:gd name="connsiteX0" fmla="*/ 72130 w 72130"/>
                      <a:gd name="connsiteY0" fmla="*/ 52897 h 105793"/>
                      <a:gd name="connsiteX1" fmla="*/ 36065 w 72130"/>
                      <a:gd name="connsiteY1" fmla="*/ 105793 h 105793"/>
                      <a:gd name="connsiteX2" fmla="*/ 0 w 72130"/>
                      <a:gd name="connsiteY2" fmla="*/ 52897 h 105793"/>
                      <a:gd name="connsiteX3" fmla="*/ 36065 w 72130"/>
                      <a:gd name="connsiteY3" fmla="*/ 0 h 105793"/>
                      <a:gd name="connsiteX4" fmla="*/ 72130 w 72130"/>
                      <a:gd name="connsiteY4" fmla="*/ 52897 h 1057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2130" h="105793">
                        <a:moveTo>
                          <a:pt x="72130" y="52897"/>
                        </a:moveTo>
                        <a:cubicBezTo>
                          <a:pt x="72130" y="82111"/>
                          <a:pt x="55983" y="105793"/>
                          <a:pt x="36065" y="105793"/>
                        </a:cubicBezTo>
                        <a:cubicBezTo>
                          <a:pt x="16147" y="105793"/>
                          <a:pt x="0" y="82111"/>
                          <a:pt x="0" y="52897"/>
                        </a:cubicBezTo>
                        <a:cubicBezTo>
                          <a:pt x="0" y="23683"/>
                          <a:pt x="16147" y="0"/>
                          <a:pt x="36065" y="0"/>
                        </a:cubicBezTo>
                        <a:cubicBezTo>
                          <a:pt x="55983" y="0"/>
                          <a:pt x="72130" y="23683"/>
                          <a:pt x="72130" y="52897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80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1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1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5F6062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  <p:grpSp>
          <p:nvGrpSpPr>
            <p:cNvPr id="838" name="Gráfico 14">
              <a:extLst>
                <a:ext uri="{FF2B5EF4-FFF2-40B4-BE49-F238E27FC236}">
                  <a16:creationId xmlns:a16="http://schemas.microsoft.com/office/drawing/2014/main" id="{658B6E6A-1F68-3D96-CB48-E1D04D0B0199}"/>
                </a:ext>
              </a:extLst>
            </p:cNvPr>
            <p:cNvGrpSpPr/>
            <p:nvPr/>
          </p:nvGrpSpPr>
          <p:grpSpPr>
            <a:xfrm>
              <a:off x="2022813" y="1441163"/>
              <a:ext cx="16215" cy="13995"/>
              <a:chOff x="1790519" y="1264584"/>
              <a:chExt cx="16215" cy="13995"/>
            </a:xfrm>
            <a:solidFill>
              <a:srgbClr val="132237"/>
            </a:solidFill>
          </p:grpSpPr>
          <p:sp>
            <p:nvSpPr>
              <p:cNvPr id="873" name="Forma Livre: Forma 872">
                <a:extLst>
                  <a:ext uri="{FF2B5EF4-FFF2-40B4-BE49-F238E27FC236}">
                    <a16:creationId xmlns:a16="http://schemas.microsoft.com/office/drawing/2014/main" id="{79A942BF-8477-00FA-58BC-87581CA1111B}"/>
                  </a:ext>
                </a:extLst>
              </p:cNvPr>
              <p:cNvSpPr/>
              <p:nvPr/>
            </p:nvSpPr>
            <p:spPr>
              <a:xfrm>
                <a:off x="1799469" y="1264584"/>
                <a:ext cx="7265" cy="13995"/>
              </a:xfrm>
              <a:custGeom>
                <a:avLst/>
                <a:gdLst>
                  <a:gd name="connsiteX0" fmla="*/ 7264 w 7265"/>
                  <a:gd name="connsiteY0" fmla="*/ 6942 h 13995"/>
                  <a:gd name="connsiteX1" fmla="*/ 3528 w 7265"/>
                  <a:gd name="connsiteY1" fmla="*/ 0 h 13995"/>
                  <a:gd name="connsiteX2" fmla="*/ 1 w 7265"/>
                  <a:gd name="connsiteY2" fmla="*/ 7054 h 13995"/>
                  <a:gd name="connsiteX3" fmla="*/ 3737 w 7265"/>
                  <a:gd name="connsiteY3" fmla="*/ 13995 h 13995"/>
                  <a:gd name="connsiteX4" fmla="*/ 7264 w 7265"/>
                  <a:gd name="connsiteY4" fmla="*/ 6942 h 139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65" h="13995">
                    <a:moveTo>
                      <a:pt x="7264" y="6942"/>
                    </a:moveTo>
                    <a:cubicBezTo>
                      <a:pt x="7208" y="3077"/>
                      <a:pt x="5529" y="-32"/>
                      <a:pt x="3528" y="0"/>
                    </a:cubicBezTo>
                    <a:cubicBezTo>
                      <a:pt x="1520" y="32"/>
                      <a:pt x="-55" y="3190"/>
                      <a:pt x="1" y="7054"/>
                    </a:cubicBezTo>
                    <a:cubicBezTo>
                      <a:pt x="58" y="10918"/>
                      <a:pt x="1737" y="14028"/>
                      <a:pt x="3737" y="13995"/>
                    </a:cubicBezTo>
                    <a:cubicBezTo>
                      <a:pt x="5746" y="13963"/>
                      <a:pt x="7328" y="10806"/>
                      <a:pt x="7264" y="6942"/>
                    </a:cubicBezTo>
                    <a:close/>
                  </a:path>
                </a:pathLst>
              </a:custGeom>
              <a:grpFill/>
              <a:ln w="8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1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74" name="Forma Livre: Forma 873">
                <a:extLst>
                  <a:ext uri="{FF2B5EF4-FFF2-40B4-BE49-F238E27FC236}">
                    <a16:creationId xmlns:a16="http://schemas.microsoft.com/office/drawing/2014/main" id="{7F2526CB-2B03-A72F-AB59-6E17FC3FE4BC}"/>
                  </a:ext>
                </a:extLst>
              </p:cNvPr>
              <p:cNvSpPr/>
              <p:nvPr/>
            </p:nvSpPr>
            <p:spPr>
              <a:xfrm>
                <a:off x="1790519" y="1267043"/>
                <a:ext cx="4542" cy="9801"/>
              </a:xfrm>
              <a:custGeom>
                <a:avLst/>
                <a:gdLst>
                  <a:gd name="connsiteX0" fmla="*/ 4541 w 4542"/>
                  <a:gd name="connsiteY0" fmla="*/ 4869 h 9801"/>
                  <a:gd name="connsiteX1" fmla="*/ 2195 w 4542"/>
                  <a:gd name="connsiteY1" fmla="*/ 0 h 9801"/>
                  <a:gd name="connsiteX2" fmla="*/ 2 w 4542"/>
                  <a:gd name="connsiteY2" fmla="*/ 4933 h 9801"/>
                  <a:gd name="connsiteX3" fmla="*/ 2348 w 4542"/>
                  <a:gd name="connsiteY3" fmla="*/ 9802 h 9801"/>
                  <a:gd name="connsiteX4" fmla="*/ 4541 w 4542"/>
                  <a:gd name="connsiteY4" fmla="*/ 4869 h 98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42" h="9801">
                    <a:moveTo>
                      <a:pt x="4541" y="4869"/>
                    </a:moveTo>
                    <a:cubicBezTo>
                      <a:pt x="4501" y="2161"/>
                      <a:pt x="3448" y="-16"/>
                      <a:pt x="2195" y="0"/>
                    </a:cubicBezTo>
                    <a:cubicBezTo>
                      <a:pt x="942" y="16"/>
                      <a:pt x="-47" y="2225"/>
                      <a:pt x="2" y="4933"/>
                    </a:cubicBezTo>
                    <a:cubicBezTo>
                      <a:pt x="42" y="7640"/>
                      <a:pt x="1094" y="9818"/>
                      <a:pt x="2348" y="9802"/>
                    </a:cubicBezTo>
                    <a:cubicBezTo>
                      <a:pt x="3601" y="9785"/>
                      <a:pt x="4581" y="7576"/>
                      <a:pt x="4541" y="4869"/>
                    </a:cubicBezTo>
                    <a:close/>
                  </a:path>
                </a:pathLst>
              </a:custGeom>
              <a:grpFill/>
              <a:ln w="8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1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75" name="Forma Livre: Forma 874">
                <a:extLst>
                  <a:ext uri="{FF2B5EF4-FFF2-40B4-BE49-F238E27FC236}">
                    <a16:creationId xmlns:a16="http://schemas.microsoft.com/office/drawing/2014/main" id="{158EAC3C-B72E-A579-A2A5-6A5E41CAE21B}"/>
                  </a:ext>
                </a:extLst>
              </p:cNvPr>
              <p:cNvSpPr/>
              <p:nvPr/>
            </p:nvSpPr>
            <p:spPr>
              <a:xfrm>
                <a:off x="1792561" y="1264592"/>
                <a:ext cx="10564" cy="13987"/>
              </a:xfrm>
              <a:custGeom>
                <a:avLst/>
                <a:gdLst>
                  <a:gd name="connsiteX0" fmla="*/ 10267 w 10564"/>
                  <a:gd name="connsiteY0" fmla="*/ 0 h 13987"/>
                  <a:gd name="connsiteX1" fmla="*/ 0 w 10564"/>
                  <a:gd name="connsiteY1" fmla="*/ 2458 h 13987"/>
                  <a:gd name="connsiteX2" fmla="*/ 257 w 10564"/>
                  <a:gd name="connsiteY2" fmla="*/ 12252 h 13987"/>
                  <a:gd name="connsiteX3" fmla="*/ 10565 w 10564"/>
                  <a:gd name="connsiteY3" fmla="*/ 13987 h 13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564" h="13987">
                    <a:moveTo>
                      <a:pt x="10267" y="0"/>
                    </a:moveTo>
                    <a:lnTo>
                      <a:pt x="0" y="2458"/>
                    </a:lnTo>
                    <a:lnTo>
                      <a:pt x="257" y="12252"/>
                    </a:lnTo>
                    <a:lnTo>
                      <a:pt x="10565" y="13987"/>
                    </a:lnTo>
                    <a:close/>
                  </a:path>
                </a:pathLst>
              </a:custGeom>
              <a:grpFill/>
              <a:ln w="8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1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839" name="Gráfico 14">
              <a:extLst>
                <a:ext uri="{FF2B5EF4-FFF2-40B4-BE49-F238E27FC236}">
                  <a16:creationId xmlns:a16="http://schemas.microsoft.com/office/drawing/2014/main" id="{8D0070D8-6022-31A6-C56B-8B093DBDBB8B}"/>
                </a:ext>
              </a:extLst>
            </p:cNvPr>
            <p:cNvGrpSpPr/>
            <p:nvPr/>
          </p:nvGrpSpPr>
          <p:grpSpPr>
            <a:xfrm>
              <a:off x="2030919" y="1434696"/>
              <a:ext cx="30541" cy="26343"/>
              <a:chOff x="1798625" y="1258117"/>
              <a:chExt cx="30541" cy="26343"/>
            </a:xfrm>
            <a:solidFill>
              <a:srgbClr val="132237"/>
            </a:solidFill>
          </p:grpSpPr>
          <p:sp>
            <p:nvSpPr>
              <p:cNvPr id="870" name="Forma Livre: Forma 869">
                <a:extLst>
                  <a:ext uri="{FF2B5EF4-FFF2-40B4-BE49-F238E27FC236}">
                    <a16:creationId xmlns:a16="http://schemas.microsoft.com/office/drawing/2014/main" id="{9593B6A2-5275-1460-3211-51F687C38FE1}"/>
                  </a:ext>
                </a:extLst>
              </p:cNvPr>
              <p:cNvSpPr/>
              <p:nvPr/>
            </p:nvSpPr>
            <p:spPr>
              <a:xfrm>
                <a:off x="1815487" y="1258117"/>
                <a:ext cx="13679" cy="26336"/>
              </a:xfrm>
              <a:custGeom>
                <a:avLst/>
                <a:gdLst>
                  <a:gd name="connsiteX0" fmla="*/ 13677 w 13679"/>
                  <a:gd name="connsiteY0" fmla="*/ 13064 h 26336"/>
                  <a:gd name="connsiteX1" fmla="*/ 6639 w 13679"/>
                  <a:gd name="connsiteY1" fmla="*/ 0 h 26336"/>
                  <a:gd name="connsiteX2" fmla="*/ 3 w 13679"/>
                  <a:gd name="connsiteY2" fmla="*/ 13273 h 26336"/>
                  <a:gd name="connsiteX3" fmla="*/ 7041 w 13679"/>
                  <a:gd name="connsiteY3" fmla="*/ 26336 h 26336"/>
                  <a:gd name="connsiteX4" fmla="*/ 13677 w 13679"/>
                  <a:gd name="connsiteY4" fmla="*/ 13064 h 26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79" h="26336">
                    <a:moveTo>
                      <a:pt x="13677" y="13064"/>
                    </a:moveTo>
                    <a:cubicBezTo>
                      <a:pt x="13564" y="5793"/>
                      <a:pt x="10415" y="-56"/>
                      <a:pt x="6639" y="0"/>
                    </a:cubicBezTo>
                    <a:cubicBezTo>
                      <a:pt x="2863" y="57"/>
                      <a:pt x="-109" y="6002"/>
                      <a:pt x="3" y="13273"/>
                    </a:cubicBezTo>
                    <a:cubicBezTo>
                      <a:pt x="116" y="20543"/>
                      <a:pt x="3265" y="26392"/>
                      <a:pt x="7041" y="26336"/>
                    </a:cubicBezTo>
                    <a:cubicBezTo>
                      <a:pt x="10817" y="26279"/>
                      <a:pt x="13789" y="20334"/>
                      <a:pt x="13677" y="13064"/>
                    </a:cubicBezTo>
                    <a:close/>
                  </a:path>
                </a:pathLst>
              </a:custGeom>
              <a:grpFill/>
              <a:ln w="8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1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71" name="Forma Livre: Forma 870">
                <a:extLst>
                  <a:ext uri="{FF2B5EF4-FFF2-40B4-BE49-F238E27FC236}">
                    <a16:creationId xmlns:a16="http://schemas.microsoft.com/office/drawing/2014/main" id="{FD9B15FF-3D38-72F2-090F-A5A15A2A7BD1}"/>
                  </a:ext>
                </a:extLst>
              </p:cNvPr>
              <p:cNvSpPr/>
              <p:nvPr/>
            </p:nvSpPr>
            <p:spPr>
              <a:xfrm>
                <a:off x="1798625" y="1262744"/>
                <a:ext cx="8560" cy="18454"/>
              </a:xfrm>
              <a:custGeom>
                <a:avLst/>
                <a:gdLst>
                  <a:gd name="connsiteX0" fmla="*/ 8558 w 8560"/>
                  <a:gd name="connsiteY0" fmla="*/ 9159 h 18454"/>
                  <a:gd name="connsiteX1" fmla="*/ 4140 w 8560"/>
                  <a:gd name="connsiteY1" fmla="*/ 0 h 18454"/>
                  <a:gd name="connsiteX2" fmla="*/ 2 w 8560"/>
                  <a:gd name="connsiteY2" fmla="*/ 9296 h 18454"/>
                  <a:gd name="connsiteX3" fmla="*/ 4421 w 8560"/>
                  <a:gd name="connsiteY3" fmla="*/ 18454 h 18454"/>
                  <a:gd name="connsiteX4" fmla="*/ 8558 w 8560"/>
                  <a:gd name="connsiteY4" fmla="*/ 9159 h 184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60" h="18454">
                    <a:moveTo>
                      <a:pt x="8558" y="9159"/>
                    </a:moveTo>
                    <a:cubicBezTo>
                      <a:pt x="8478" y="4065"/>
                      <a:pt x="6501" y="-40"/>
                      <a:pt x="4140" y="0"/>
                    </a:cubicBezTo>
                    <a:cubicBezTo>
                      <a:pt x="1778" y="40"/>
                      <a:pt x="-70" y="4194"/>
                      <a:pt x="2" y="9296"/>
                    </a:cubicBezTo>
                    <a:cubicBezTo>
                      <a:pt x="82" y="14389"/>
                      <a:pt x="2059" y="18494"/>
                      <a:pt x="4421" y="18454"/>
                    </a:cubicBezTo>
                    <a:cubicBezTo>
                      <a:pt x="6791" y="18414"/>
                      <a:pt x="8639" y="14253"/>
                      <a:pt x="8558" y="9159"/>
                    </a:cubicBezTo>
                    <a:close/>
                  </a:path>
                </a:pathLst>
              </a:custGeom>
              <a:grpFill/>
              <a:ln w="8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1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72" name="Forma Livre: Forma 871">
                <a:extLst>
                  <a:ext uri="{FF2B5EF4-FFF2-40B4-BE49-F238E27FC236}">
                    <a16:creationId xmlns:a16="http://schemas.microsoft.com/office/drawing/2014/main" id="{4F640094-CB8E-B3DE-9959-FFCA0B02DEBE}"/>
                  </a:ext>
                </a:extLst>
              </p:cNvPr>
              <p:cNvSpPr/>
              <p:nvPr/>
            </p:nvSpPr>
            <p:spPr>
              <a:xfrm>
                <a:off x="1802475" y="1258133"/>
                <a:ext cx="19892" cy="26327"/>
              </a:xfrm>
              <a:custGeom>
                <a:avLst/>
                <a:gdLst>
                  <a:gd name="connsiteX0" fmla="*/ 19338 w 19892"/>
                  <a:gd name="connsiteY0" fmla="*/ 0 h 26327"/>
                  <a:gd name="connsiteX1" fmla="*/ 0 w 19892"/>
                  <a:gd name="connsiteY1" fmla="*/ 4620 h 26327"/>
                  <a:gd name="connsiteX2" fmla="*/ 482 w 19892"/>
                  <a:gd name="connsiteY2" fmla="*/ 23057 h 26327"/>
                  <a:gd name="connsiteX3" fmla="*/ 19892 w 19892"/>
                  <a:gd name="connsiteY3" fmla="*/ 26327 h 26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892" h="26327">
                    <a:moveTo>
                      <a:pt x="19338" y="0"/>
                    </a:moveTo>
                    <a:lnTo>
                      <a:pt x="0" y="4620"/>
                    </a:lnTo>
                    <a:lnTo>
                      <a:pt x="482" y="23057"/>
                    </a:lnTo>
                    <a:lnTo>
                      <a:pt x="19892" y="26327"/>
                    </a:lnTo>
                    <a:close/>
                  </a:path>
                </a:pathLst>
              </a:custGeom>
              <a:grpFill/>
              <a:ln w="8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1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840" name="Gráfico 14">
              <a:extLst>
                <a:ext uri="{FF2B5EF4-FFF2-40B4-BE49-F238E27FC236}">
                  <a16:creationId xmlns:a16="http://schemas.microsoft.com/office/drawing/2014/main" id="{55083822-AA7F-BE89-A9E9-BC3691A603E3}"/>
                </a:ext>
              </a:extLst>
            </p:cNvPr>
            <p:cNvGrpSpPr/>
            <p:nvPr/>
          </p:nvGrpSpPr>
          <p:grpSpPr>
            <a:xfrm>
              <a:off x="2043749" y="1409998"/>
              <a:ext cx="89411" cy="77199"/>
              <a:chOff x="1811455" y="1233419"/>
              <a:chExt cx="89411" cy="77199"/>
            </a:xfrm>
            <a:solidFill>
              <a:srgbClr val="0A3C5F"/>
            </a:solidFill>
          </p:grpSpPr>
          <p:sp>
            <p:nvSpPr>
              <p:cNvPr id="867" name="Forma Livre: Forma 866">
                <a:extLst>
                  <a:ext uri="{FF2B5EF4-FFF2-40B4-BE49-F238E27FC236}">
                    <a16:creationId xmlns:a16="http://schemas.microsoft.com/office/drawing/2014/main" id="{D12FEFB7-5DA3-4619-C0F8-BD87FB48F24F}"/>
                  </a:ext>
                </a:extLst>
              </p:cNvPr>
              <p:cNvSpPr/>
              <p:nvPr/>
            </p:nvSpPr>
            <p:spPr>
              <a:xfrm rot="-53286">
                <a:off x="1860824" y="1233419"/>
                <a:ext cx="40042" cy="77127"/>
              </a:xfrm>
              <a:custGeom>
                <a:avLst/>
                <a:gdLst>
                  <a:gd name="connsiteX0" fmla="*/ 40042 w 40042"/>
                  <a:gd name="connsiteY0" fmla="*/ 38564 h 77127"/>
                  <a:gd name="connsiteX1" fmla="*/ 20021 w 40042"/>
                  <a:gd name="connsiteY1" fmla="*/ 77128 h 77127"/>
                  <a:gd name="connsiteX2" fmla="*/ 0 w 40042"/>
                  <a:gd name="connsiteY2" fmla="*/ 38564 h 77127"/>
                  <a:gd name="connsiteX3" fmla="*/ 20021 w 40042"/>
                  <a:gd name="connsiteY3" fmla="*/ 0 h 77127"/>
                  <a:gd name="connsiteX4" fmla="*/ 40042 w 40042"/>
                  <a:gd name="connsiteY4" fmla="*/ 38564 h 77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042" h="77127">
                    <a:moveTo>
                      <a:pt x="40042" y="38564"/>
                    </a:moveTo>
                    <a:cubicBezTo>
                      <a:pt x="40042" y="59862"/>
                      <a:pt x="31078" y="77128"/>
                      <a:pt x="20021" y="77128"/>
                    </a:cubicBezTo>
                    <a:cubicBezTo>
                      <a:pt x="8964" y="77128"/>
                      <a:pt x="0" y="59862"/>
                      <a:pt x="0" y="38564"/>
                    </a:cubicBezTo>
                    <a:cubicBezTo>
                      <a:pt x="0" y="17266"/>
                      <a:pt x="8964" y="0"/>
                      <a:pt x="20021" y="0"/>
                    </a:cubicBezTo>
                    <a:cubicBezTo>
                      <a:pt x="31078" y="0"/>
                      <a:pt x="40042" y="17266"/>
                      <a:pt x="40042" y="38564"/>
                    </a:cubicBezTo>
                    <a:close/>
                  </a:path>
                </a:pathLst>
              </a:custGeom>
              <a:solidFill>
                <a:srgbClr val="0A3C5F"/>
              </a:solidFill>
              <a:ln w="8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1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68" name="Forma Livre: Forma 867">
                <a:extLst>
                  <a:ext uri="{FF2B5EF4-FFF2-40B4-BE49-F238E27FC236}">
                    <a16:creationId xmlns:a16="http://schemas.microsoft.com/office/drawing/2014/main" id="{F2A3321F-1EC6-902C-27AA-D93395CBF830}"/>
                  </a:ext>
                </a:extLst>
              </p:cNvPr>
              <p:cNvSpPr/>
              <p:nvPr/>
            </p:nvSpPr>
            <p:spPr>
              <a:xfrm rot="-52942">
                <a:off x="1811455" y="1247103"/>
                <a:ext cx="25050" cy="54037"/>
              </a:xfrm>
              <a:custGeom>
                <a:avLst/>
                <a:gdLst>
                  <a:gd name="connsiteX0" fmla="*/ 25050 w 25050"/>
                  <a:gd name="connsiteY0" fmla="*/ 27019 h 54037"/>
                  <a:gd name="connsiteX1" fmla="*/ 12525 w 25050"/>
                  <a:gd name="connsiteY1" fmla="*/ 54038 h 54037"/>
                  <a:gd name="connsiteX2" fmla="*/ 0 w 25050"/>
                  <a:gd name="connsiteY2" fmla="*/ 27019 h 54037"/>
                  <a:gd name="connsiteX3" fmla="*/ 12525 w 25050"/>
                  <a:gd name="connsiteY3" fmla="*/ 0 h 54037"/>
                  <a:gd name="connsiteX4" fmla="*/ 25050 w 25050"/>
                  <a:gd name="connsiteY4" fmla="*/ 27019 h 540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050" h="54037">
                    <a:moveTo>
                      <a:pt x="25050" y="27019"/>
                    </a:moveTo>
                    <a:cubicBezTo>
                      <a:pt x="25050" y="41941"/>
                      <a:pt x="19443" y="54038"/>
                      <a:pt x="12525" y="54038"/>
                    </a:cubicBezTo>
                    <a:cubicBezTo>
                      <a:pt x="5608" y="54038"/>
                      <a:pt x="0" y="41941"/>
                      <a:pt x="0" y="27019"/>
                    </a:cubicBezTo>
                    <a:cubicBezTo>
                      <a:pt x="0" y="12097"/>
                      <a:pt x="5608" y="0"/>
                      <a:pt x="12525" y="0"/>
                    </a:cubicBezTo>
                    <a:cubicBezTo>
                      <a:pt x="19443" y="0"/>
                      <a:pt x="25050" y="12097"/>
                      <a:pt x="25050" y="27019"/>
                    </a:cubicBezTo>
                    <a:close/>
                  </a:path>
                </a:pathLst>
              </a:custGeom>
              <a:solidFill>
                <a:srgbClr val="132237"/>
              </a:solidFill>
              <a:ln w="8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1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69" name="Forma Livre: Forma 868">
                <a:extLst>
                  <a:ext uri="{FF2B5EF4-FFF2-40B4-BE49-F238E27FC236}">
                    <a16:creationId xmlns:a16="http://schemas.microsoft.com/office/drawing/2014/main" id="{C6A83380-C8D6-C0F9-4B15-6AB71BE45AFF}"/>
                  </a:ext>
                </a:extLst>
              </p:cNvPr>
              <p:cNvSpPr/>
              <p:nvPr/>
            </p:nvSpPr>
            <p:spPr>
              <a:xfrm>
                <a:off x="1822681" y="1233541"/>
                <a:ext cx="58254" cy="77077"/>
              </a:xfrm>
              <a:custGeom>
                <a:avLst/>
                <a:gdLst>
                  <a:gd name="connsiteX0" fmla="*/ 56623 w 58254"/>
                  <a:gd name="connsiteY0" fmla="*/ 0 h 77077"/>
                  <a:gd name="connsiteX1" fmla="*/ 0 w 58254"/>
                  <a:gd name="connsiteY1" fmla="*/ 13529 h 77077"/>
                  <a:gd name="connsiteX2" fmla="*/ 1422 w 58254"/>
                  <a:gd name="connsiteY2" fmla="*/ 67525 h 77077"/>
                  <a:gd name="connsiteX3" fmla="*/ 58254 w 58254"/>
                  <a:gd name="connsiteY3" fmla="*/ 77078 h 77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8254" h="77077">
                    <a:moveTo>
                      <a:pt x="56623" y="0"/>
                    </a:moveTo>
                    <a:lnTo>
                      <a:pt x="0" y="13529"/>
                    </a:lnTo>
                    <a:lnTo>
                      <a:pt x="1422" y="67525"/>
                    </a:lnTo>
                    <a:lnTo>
                      <a:pt x="58254" y="77078"/>
                    </a:lnTo>
                    <a:close/>
                  </a:path>
                </a:pathLst>
              </a:custGeom>
              <a:solidFill>
                <a:srgbClr val="132237"/>
              </a:solidFill>
              <a:ln w="8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1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841" name="Gráfico 14">
              <a:extLst>
                <a:ext uri="{FF2B5EF4-FFF2-40B4-BE49-F238E27FC236}">
                  <a16:creationId xmlns:a16="http://schemas.microsoft.com/office/drawing/2014/main" id="{463529F5-E758-00EA-B4B0-8BFC94A09521}"/>
                </a:ext>
              </a:extLst>
            </p:cNvPr>
            <p:cNvGrpSpPr/>
            <p:nvPr/>
          </p:nvGrpSpPr>
          <p:grpSpPr>
            <a:xfrm>
              <a:off x="2077757" y="1384774"/>
              <a:ext cx="142693" cy="123184"/>
              <a:chOff x="1845463" y="1208195"/>
              <a:chExt cx="142693" cy="123184"/>
            </a:xfrm>
          </p:grpSpPr>
          <p:sp>
            <p:nvSpPr>
              <p:cNvPr id="861" name="Forma Livre: Forma 860">
                <a:extLst>
                  <a:ext uri="{FF2B5EF4-FFF2-40B4-BE49-F238E27FC236}">
                    <a16:creationId xmlns:a16="http://schemas.microsoft.com/office/drawing/2014/main" id="{58C8F81D-8409-285A-72E9-A1AE772F089A}"/>
                  </a:ext>
                </a:extLst>
              </p:cNvPr>
              <p:cNvSpPr/>
              <p:nvPr/>
            </p:nvSpPr>
            <p:spPr>
              <a:xfrm rot="-53286">
                <a:off x="1845463" y="1229844"/>
                <a:ext cx="39977" cy="86238"/>
              </a:xfrm>
              <a:custGeom>
                <a:avLst/>
                <a:gdLst>
                  <a:gd name="connsiteX0" fmla="*/ 39978 w 39977"/>
                  <a:gd name="connsiteY0" fmla="*/ 43119 h 86238"/>
                  <a:gd name="connsiteX1" fmla="*/ 19989 w 39977"/>
                  <a:gd name="connsiteY1" fmla="*/ 86238 h 86238"/>
                  <a:gd name="connsiteX2" fmla="*/ 0 w 39977"/>
                  <a:gd name="connsiteY2" fmla="*/ 43119 h 86238"/>
                  <a:gd name="connsiteX3" fmla="*/ 19989 w 39977"/>
                  <a:gd name="connsiteY3" fmla="*/ 0 h 86238"/>
                  <a:gd name="connsiteX4" fmla="*/ 39978 w 39977"/>
                  <a:gd name="connsiteY4" fmla="*/ 43119 h 86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977" h="86238">
                    <a:moveTo>
                      <a:pt x="39978" y="43119"/>
                    </a:moveTo>
                    <a:cubicBezTo>
                      <a:pt x="39978" y="66933"/>
                      <a:pt x="31028" y="86238"/>
                      <a:pt x="19989" y="86238"/>
                    </a:cubicBezTo>
                    <a:cubicBezTo>
                      <a:pt x="8949" y="86238"/>
                      <a:pt x="0" y="66933"/>
                      <a:pt x="0" y="43119"/>
                    </a:cubicBezTo>
                    <a:cubicBezTo>
                      <a:pt x="0" y="19305"/>
                      <a:pt x="8949" y="0"/>
                      <a:pt x="19989" y="0"/>
                    </a:cubicBezTo>
                    <a:cubicBezTo>
                      <a:pt x="31028" y="0"/>
                      <a:pt x="39978" y="19305"/>
                      <a:pt x="39978" y="43119"/>
                    </a:cubicBezTo>
                    <a:close/>
                  </a:path>
                </a:pathLst>
              </a:custGeom>
              <a:solidFill>
                <a:srgbClr val="EE730D"/>
              </a:solidFill>
              <a:ln w="8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1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62" name="Forma Livre: Forma 861">
                <a:extLst>
                  <a:ext uri="{FF2B5EF4-FFF2-40B4-BE49-F238E27FC236}">
                    <a16:creationId xmlns:a16="http://schemas.microsoft.com/office/drawing/2014/main" id="{849115A8-393E-D36B-C215-28F455EB9FC0}"/>
                  </a:ext>
                </a:extLst>
              </p:cNvPr>
              <p:cNvSpPr/>
              <p:nvPr/>
            </p:nvSpPr>
            <p:spPr>
              <a:xfrm>
                <a:off x="1863373" y="1208363"/>
                <a:ext cx="92977" cy="123016"/>
              </a:xfrm>
              <a:custGeom>
                <a:avLst/>
                <a:gdLst>
                  <a:gd name="connsiteX0" fmla="*/ 90374 w 92977"/>
                  <a:gd name="connsiteY0" fmla="*/ 0 h 123016"/>
                  <a:gd name="connsiteX1" fmla="*/ 0 w 92977"/>
                  <a:gd name="connsiteY1" fmla="*/ 21587 h 123016"/>
                  <a:gd name="connsiteX2" fmla="*/ 2274 w 92977"/>
                  <a:gd name="connsiteY2" fmla="*/ 107776 h 123016"/>
                  <a:gd name="connsiteX3" fmla="*/ 92977 w 92977"/>
                  <a:gd name="connsiteY3" fmla="*/ 123016 h 123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977" h="123016">
                    <a:moveTo>
                      <a:pt x="90374" y="0"/>
                    </a:moveTo>
                    <a:lnTo>
                      <a:pt x="0" y="21587"/>
                    </a:lnTo>
                    <a:lnTo>
                      <a:pt x="2274" y="107776"/>
                    </a:lnTo>
                    <a:lnTo>
                      <a:pt x="92977" y="123016"/>
                    </a:lnTo>
                    <a:close/>
                  </a:path>
                </a:pathLst>
              </a:custGeom>
              <a:solidFill>
                <a:srgbClr val="EE730D"/>
              </a:solidFill>
              <a:ln w="8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1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63" name="Forma Livre: Forma 862">
                <a:extLst>
                  <a:ext uri="{FF2B5EF4-FFF2-40B4-BE49-F238E27FC236}">
                    <a16:creationId xmlns:a16="http://schemas.microsoft.com/office/drawing/2014/main" id="{E46F2F02-0622-295D-6EEF-E048C0A9F454}"/>
                  </a:ext>
                </a:extLst>
              </p:cNvPr>
              <p:cNvSpPr/>
              <p:nvPr/>
            </p:nvSpPr>
            <p:spPr>
              <a:xfrm rot="-53286">
                <a:off x="1924237" y="1208195"/>
                <a:ext cx="63919" cy="123114"/>
              </a:xfrm>
              <a:custGeom>
                <a:avLst/>
                <a:gdLst>
                  <a:gd name="connsiteX0" fmla="*/ 63920 w 63919"/>
                  <a:gd name="connsiteY0" fmla="*/ 61557 h 123114"/>
                  <a:gd name="connsiteX1" fmla="*/ 31960 w 63919"/>
                  <a:gd name="connsiteY1" fmla="*/ 123115 h 123114"/>
                  <a:gd name="connsiteX2" fmla="*/ 0 w 63919"/>
                  <a:gd name="connsiteY2" fmla="*/ 61557 h 123114"/>
                  <a:gd name="connsiteX3" fmla="*/ 31960 w 63919"/>
                  <a:gd name="connsiteY3" fmla="*/ 0 h 123114"/>
                  <a:gd name="connsiteX4" fmla="*/ 63920 w 63919"/>
                  <a:gd name="connsiteY4" fmla="*/ 61557 h 123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3919" h="123114">
                    <a:moveTo>
                      <a:pt x="63920" y="61557"/>
                    </a:moveTo>
                    <a:cubicBezTo>
                      <a:pt x="63920" y="95555"/>
                      <a:pt x="49611" y="123115"/>
                      <a:pt x="31960" y="123115"/>
                    </a:cubicBezTo>
                    <a:cubicBezTo>
                      <a:pt x="14309" y="123115"/>
                      <a:pt x="0" y="95555"/>
                      <a:pt x="0" y="61557"/>
                    </a:cubicBezTo>
                    <a:cubicBezTo>
                      <a:pt x="0" y="27560"/>
                      <a:pt x="14309" y="0"/>
                      <a:pt x="31960" y="0"/>
                    </a:cubicBezTo>
                    <a:cubicBezTo>
                      <a:pt x="49611" y="0"/>
                      <a:pt x="63920" y="27560"/>
                      <a:pt x="63920" y="61557"/>
                    </a:cubicBezTo>
                    <a:close/>
                  </a:path>
                </a:pathLst>
              </a:custGeom>
              <a:solidFill>
                <a:srgbClr val="EE730D"/>
              </a:solidFill>
              <a:ln w="8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1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864" name="Gráfico 14">
                <a:extLst>
                  <a:ext uri="{FF2B5EF4-FFF2-40B4-BE49-F238E27FC236}">
                    <a16:creationId xmlns:a16="http://schemas.microsoft.com/office/drawing/2014/main" id="{B70E2EEA-5337-942A-9EEA-7877AD303C03}"/>
                  </a:ext>
                </a:extLst>
              </p:cNvPr>
              <p:cNvGrpSpPr/>
              <p:nvPr/>
            </p:nvGrpSpPr>
            <p:grpSpPr>
              <a:xfrm>
                <a:off x="1903822" y="1216865"/>
                <a:ext cx="79835" cy="106209"/>
                <a:chOff x="1903822" y="1216865"/>
                <a:chExt cx="79835" cy="106209"/>
              </a:xfrm>
            </p:grpSpPr>
            <p:sp>
              <p:nvSpPr>
                <p:cNvPr id="865" name="Forma Livre: Forma 864">
                  <a:extLst>
                    <a:ext uri="{FF2B5EF4-FFF2-40B4-BE49-F238E27FC236}">
                      <a16:creationId xmlns:a16="http://schemas.microsoft.com/office/drawing/2014/main" id="{B0D5385C-274A-2125-BCA4-D31F64AE4AD9}"/>
                    </a:ext>
                  </a:extLst>
                </p:cNvPr>
                <p:cNvSpPr/>
                <p:nvPr/>
              </p:nvSpPr>
              <p:spPr>
                <a:xfrm rot="-53286">
                  <a:off x="1928736" y="1216865"/>
                  <a:ext cx="54921" cy="105777"/>
                </a:xfrm>
                <a:custGeom>
                  <a:avLst/>
                  <a:gdLst>
                    <a:gd name="connsiteX0" fmla="*/ 54921 w 54921"/>
                    <a:gd name="connsiteY0" fmla="*/ 52889 h 105777"/>
                    <a:gd name="connsiteX1" fmla="*/ 27461 w 54921"/>
                    <a:gd name="connsiteY1" fmla="*/ 105777 h 105777"/>
                    <a:gd name="connsiteX2" fmla="*/ 0 w 54921"/>
                    <a:gd name="connsiteY2" fmla="*/ 52889 h 105777"/>
                    <a:gd name="connsiteX3" fmla="*/ 27461 w 54921"/>
                    <a:gd name="connsiteY3" fmla="*/ 0 h 105777"/>
                    <a:gd name="connsiteX4" fmla="*/ 54921 w 54921"/>
                    <a:gd name="connsiteY4" fmla="*/ 52889 h 1057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4921" h="105777">
                      <a:moveTo>
                        <a:pt x="54921" y="52889"/>
                      </a:moveTo>
                      <a:cubicBezTo>
                        <a:pt x="54921" y="82098"/>
                        <a:pt x="42627" y="105777"/>
                        <a:pt x="27461" y="105777"/>
                      </a:cubicBezTo>
                      <a:cubicBezTo>
                        <a:pt x="12295" y="105777"/>
                        <a:pt x="0" y="82098"/>
                        <a:pt x="0" y="52889"/>
                      </a:cubicBezTo>
                      <a:cubicBezTo>
                        <a:pt x="0" y="23679"/>
                        <a:pt x="12294" y="0"/>
                        <a:pt x="27461" y="0"/>
                      </a:cubicBezTo>
                      <a:cubicBezTo>
                        <a:pt x="42627" y="0"/>
                        <a:pt x="54921" y="23679"/>
                        <a:pt x="54921" y="52889"/>
                      </a:cubicBezTo>
                      <a:close/>
                    </a:path>
                  </a:pathLst>
                </a:custGeom>
                <a:solidFill>
                  <a:srgbClr val="F7A60F"/>
                </a:solidFill>
                <a:ln w="8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1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1" b="0" i="0" u="none" strike="noStrike" kern="1200" cap="none" spc="0" normalizeH="0" baseline="0" noProof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66" name="Forma Livre: Forma 865">
                  <a:extLst>
                    <a:ext uri="{FF2B5EF4-FFF2-40B4-BE49-F238E27FC236}">
                      <a16:creationId xmlns:a16="http://schemas.microsoft.com/office/drawing/2014/main" id="{129FB202-9CEC-3EA3-4798-0E9F28687C03}"/>
                    </a:ext>
                  </a:extLst>
                </p:cNvPr>
                <p:cNvSpPr/>
                <p:nvPr/>
              </p:nvSpPr>
              <p:spPr>
                <a:xfrm rot="-53286">
                  <a:off x="1903822" y="1217281"/>
                  <a:ext cx="72130" cy="105793"/>
                </a:xfrm>
                <a:custGeom>
                  <a:avLst/>
                  <a:gdLst>
                    <a:gd name="connsiteX0" fmla="*/ 72130 w 72130"/>
                    <a:gd name="connsiteY0" fmla="*/ 52897 h 105793"/>
                    <a:gd name="connsiteX1" fmla="*/ 36065 w 72130"/>
                    <a:gd name="connsiteY1" fmla="*/ 105793 h 105793"/>
                    <a:gd name="connsiteX2" fmla="*/ 0 w 72130"/>
                    <a:gd name="connsiteY2" fmla="*/ 52897 h 105793"/>
                    <a:gd name="connsiteX3" fmla="*/ 36065 w 72130"/>
                    <a:gd name="connsiteY3" fmla="*/ 0 h 105793"/>
                    <a:gd name="connsiteX4" fmla="*/ 72130 w 72130"/>
                    <a:gd name="connsiteY4" fmla="*/ 52897 h 1057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2130" h="105793">
                      <a:moveTo>
                        <a:pt x="72130" y="52897"/>
                      </a:moveTo>
                      <a:cubicBezTo>
                        <a:pt x="72130" y="82111"/>
                        <a:pt x="55984" y="105793"/>
                        <a:pt x="36065" y="105793"/>
                      </a:cubicBezTo>
                      <a:cubicBezTo>
                        <a:pt x="16147" y="105793"/>
                        <a:pt x="0" y="82111"/>
                        <a:pt x="0" y="52897"/>
                      </a:cubicBezTo>
                      <a:cubicBezTo>
                        <a:pt x="0" y="23683"/>
                        <a:pt x="16147" y="0"/>
                        <a:pt x="36065" y="0"/>
                      </a:cubicBezTo>
                      <a:cubicBezTo>
                        <a:pt x="55984" y="0"/>
                        <a:pt x="72130" y="23683"/>
                        <a:pt x="72130" y="52897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8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1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1" b="0" i="0" u="none" strike="noStrike" kern="1200" cap="none" spc="0" normalizeH="0" baseline="0" noProof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842" name="Gráfico 14">
              <a:extLst>
                <a:ext uri="{FF2B5EF4-FFF2-40B4-BE49-F238E27FC236}">
                  <a16:creationId xmlns:a16="http://schemas.microsoft.com/office/drawing/2014/main" id="{67E88652-5BCA-7766-8FDB-943EC961ACA6}"/>
                </a:ext>
              </a:extLst>
            </p:cNvPr>
            <p:cNvGrpSpPr/>
            <p:nvPr/>
          </p:nvGrpSpPr>
          <p:grpSpPr>
            <a:xfrm>
              <a:off x="1918071" y="1427544"/>
              <a:ext cx="239526" cy="244633"/>
              <a:chOff x="1685777" y="1250965"/>
              <a:chExt cx="239526" cy="244633"/>
            </a:xfrm>
          </p:grpSpPr>
          <p:grpSp>
            <p:nvGrpSpPr>
              <p:cNvPr id="855" name="Gráfico 14">
                <a:extLst>
                  <a:ext uri="{FF2B5EF4-FFF2-40B4-BE49-F238E27FC236}">
                    <a16:creationId xmlns:a16="http://schemas.microsoft.com/office/drawing/2014/main" id="{E103BD73-DA14-7929-E007-751AF0C5A3A9}"/>
                  </a:ext>
                </a:extLst>
              </p:cNvPr>
              <p:cNvGrpSpPr/>
              <p:nvPr/>
            </p:nvGrpSpPr>
            <p:grpSpPr>
              <a:xfrm>
                <a:off x="1863389" y="1250965"/>
                <a:ext cx="61914" cy="108910"/>
                <a:chOff x="1863389" y="1250965"/>
                <a:chExt cx="61914" cy="108910"/>
              </a:xfrm>
            </p:grpSpPr>
            <p:sp>
              <p:nvSpPr>
                <p:cNvPr id="857" name="Forma Livre: Forma 856">
                  <a:extLst>
                    <a:ext uri="{FF2B5EF4-FFF2-40B4-BE49-F238E27FC236}">
                      <a16:creationId xmlns:a16="http://schemas.microsoft.com/office/drawing/2014/main" id="{64B2E70A-F22A-8C79-0887-014B599A811B}"/>
                    </a:ext>
                  </a:extLst>
                </p:cNvPr>
                <p:cNvSpPr/>
                <p:nvPr/>
              </p:nvSpPr>
              <p:spPr>
                <a:xfrm>
                  <a:off x="1863389" y="1250965"/>
                  <a:ext cx="61914" cy="108910"/>
                </a:xfrm>
                <a:custGeom>
                  <a:avLst/>
                  <a:gdLst>
                    <a:gd name="connsiteX0" fmla="*/ 0 w 61914"/>
                    <a:gd name="connsiteY0" fmla="*/ 89380 h 108910"/>
                    <a:gd name="connsiteX1" fmla="*/ 11424 w 61914"/>
                    <a:gd name="connsiteY1" fmla="*/ 59654 h 108910"/>
                    <a:gd name="connsiteX2" fmla="*/ 10492 w 61914"/>
                    <a:gd name="connsiteY2" fmla="*/ 30017 h 108910"/>
                    <a:gd name="connsiteX3" fmla="*/ 22559 w 61914"/>
                    <a:gd name="connsiteY3" fmla="*/ 39722 h 108910"/>
                    <a:gd name="connsiteX4" fmla="*/ 37069 w 61914"/>
                    <a:gd name="connsiteY4" fmla="*/ 6751 h 108910"/>
                    <a:gd name="connsiteX5" fmla="*/ 51273 w 61914"/>
                    <a:gd name="connsiteY5" fmla="*/ 1834 h 108910"/>
                    <a:gd name="connsiteX6" fmla="*/ 58961 w 61914"/>
                    <a:gd name="connsiteY6" fmla="*/ 40349 h 108910"/>
                    <a:gd name="connsiteX7" fmla="*/ 32505 w 61914"/>
                    <a:gd name="connsiteY7" fmla="*/ 76775 h 108910"/>
                    <a:gd name="connsiteX8" fmla="*/ 22391 w 61914"/>
                    <a:gd name="connsiteY8" fmla="*/ 108911 h 108910"/>
                    <a:gd name="connsiteX9" fmla="*/ 0 w 61914"/>
                    <a:gd name="connsiteY9" fmla="*/ 89380 h 1089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1914" h="108910">
                      <a:moveTo>
                        <a:pt x="0" y="89380"/>
                      </a:moveTo>
                      <a:cubicBezTo>
                        <a:pt x="0" y="89380"/>
                        <a:pt x="11625" y="67825"/>
                        <a:pt x="11424" y="59654"/>
                      </a:cubicBezTo>
                      <a:cubicBezTo>
                        <a:pt x="11223" y="51484"/>
                        <a:pt x="2997" y="30178"/>
                        <a:pt x="10492" y="30017"/>
                      </a:cubicBezTo>
                      <a:cubicBezTo>
                        <a:pt x="17988" y="29848"/>
                        <a:pt x="17659" y="38147"/>
                        <a:pt x="22559" y="39722"/>
                      </a:cubicBezTo>
                      <a:cubicBezTo>
                        <a:pt x="27452" y="41305"/>
                        <a:pt x="32128" y="13467"/>
                        <a:pt x="37069" y="6751"/>
                      </a:cubicBezTo>
                      <a:cubicBezTo>
                        <a:pt x="42010" y="42"/>
                        <a:pt x="46075" y="-1805"/>
                        <a:pt x="51273" y="1834"/>
                      </a:cubicBezTo>
                      <a:cubicBezTo>
                        <a:pt x="56471" y="5465"/>
                        <a:pt x="67067" y="20392"/>
                        <a:pt x="58961" y="40349"/>
                      </a:cubicBezTo>
                      <a:cubicBezTo>
                        <a:pt x="50855" y="60297"/>
                        <a:pt x="32505" y="76775"/>
                        <a:pt x="32505" y="76775"/>
                      </a:cubicBezTo>
                      <a:lnTo>
                        <a:pt x="22391" y="108911"/>
                      </a:lnTo>
                      <a:lnTo>
                        <a:pt x="0" y="89380"/>
                      </a:lnTo>
                      <a:close/>
                    </a:path>
                  </a:pathLst>
                </a:custGeom>
                <a:solidFill>
                  <a:srgbClr val="F6A086"/>
                </a:solidFill>
                <a:ln w="8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1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1" b="0" i="0" u="none" strike="noStrike" kern="1200" cap="none" spc="0" normalizeH="0" baseline="0" noProof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58" name="Forma Livre: Forma 857">
                  <a:extLst>
                    <a:ext uri="{FF2B5EF4-FFF2-40B4-BE49-F238E27FC236}">
                      <a16:creationId xmlns:a16="http://schemas.microsoft.com/office/drawing/2014/main" id="{BB14E370-2305-A320-A220-A7D890B59E6F}"/>
                    </a:ext>
                  </a:extLst>
                </p:cNvPr>
                <p:cNvSpPr/>
                <p:nvPr/>
              </p:nvSpPr>
              <p:spPr>
                <a:xfrm>
                  <a:off x="1897073" y="1251116"/>
                  <a:ext cx="13779" cy="36040"/>
                </a:xfrm>
                <a:custGeom>
                  <a:avLst/>
                  <a:gdLst>
                    <a:gd name="connsiteX0" fmla="*/ 2983 w 13779"/>
                    <a:gd name="connsiteY0" fmla="*/ 33112 h 36040"/>
                    <a:gd name="connsiteX1" fmla="*/ 13507 w 13779"/>
                    <a:gd name="connsiteY1" fmla="*/ 1884 h 36040"/>
                    <a:gd name="connsiteX2" fmla="*/ 13748 w 13779"/>
                    <a:gd name="connsiteY2" fmla="*/ 928 h 36040"/>
                    <a:gd name="connsiteX3" fmla="*/ 13290 w 13779"/>
                    <a:gd name="connsiteY3" fmla="*/ 36 h 36040"/>
                    <a:gd name="connsiteX4" fmla="*/ 12399 w 13779"/>
                    <a:gd name="connsiteY4" fmla="*/ 470 h 36040"/>
                    <a:gd name="connsiteX5" fmla="*/ 12126 w 13779"/>
                    <a:gd name="connsiteY5" fmla="*/ 1538 h 36040"/>
                    <a:gd name="connsiteX6" fmla="*/ 147 w 13779"/>
                    <a:gd name="connsiteY6" fmla="*/ 34895 h 36040"/>
                    <a:gd name="connsiteX7" fmla="*/ 275 w 13779"/>
                    <a:gd name="connsiteY7" fmla="*/ 35891 h 36040"/>
                    <a:gd name="connsiteX8" fmla="*/ 1272 w 13779"/>
                    <a:gd name="connsiteY8" fmla="*/ 35763 h 36040"/>
                    <a:gd name="connsiteX9" fmla="*/ 2983 w 13779"/>
                    <a:gd name="connsiteY9" fmla="*/ 33112 h 360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3779" h="36040">
                      <a:moveTo>
                        <a:pt x="2983" y="33112"/>
                      </a:moveTo>
                      <a:cubicBezTo>
                        <a:pt x="6229" y="27303"/>
                        <a:pt x="9828" y="16642"/>
                        <a:pt x="13507" y="1884"/>
                      </a:cubicBezTo>
                      <a:cubicBezTo>
                        <a:pt x="13644" y="1345"/>
                        <a:pt x="13724" y="1016"/>
                        <a:pt x="13748" y="928"/>
                      </a:cubicBezTo>
                      <a:cubicBezTo>
                        <a:pt x="13861" y="558"/>
                        <a:pt x="13660" y="156"/>
                        <a:pt x="13290" y="36"/>
                      </a:cubicBezTo>
                      <a:cubicBezTo>
                        <a:pt x="12921" y="-85"/>
                        <a:pt x="12527" y="108"/>
                        <a:pt x="12399" y="470"/>
                      </a:cubicBezTo>
                      <a:cubicBezTo>
                        <a:pt x="12367" y="558"/>
                        <a:pt x="12326" y="727"/>
                        <a:pt x="12126" y="1538"/>
                      </a:cubicBezTo>
                      <a:cubicBezTo>
                        <a:pt x="6703" y="23286"/>
                        <a:pt x="2613" y="31682"/>
                        <a:pt x="147" y="34895"/>
                      </a:cubicBezTo>
                      <a:cubicBezTo>
                        <a:pt x="-94" y="35209"/>
                        <a:pt x="-30" y="35650"/>
                        <a:pt x="275" y="35891"/>
                      </a:cubicBezTo>
                      <a:cubicBezTo>
                        <a:pt x="589" y="36132"/>
                        <a:pt x="1031" y="36076"/>
                        <a:pt x="1272" y="35763"/>
                      </a:cubicBezTo>
                      <a:cubicBezTo>
                        <a:pt x="1834" y="35040"/>
                        <a:pt x="2404" y="34156"/>
                        <a:pt x="2983" y="33112"/>
                      </a:cubicBezTo>
                      <a:close/>
                    </a:path>
                  </a:pathLst>
                </a:custGeom>
                <a:solidFill>
                  <a:srgbClr val="E18075"/>
                </a:solidFill>
                <a:ln w="8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1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1" b="0" i="0" u="none" strike="noStrike" kern="1200" cap="none" spc="0" normalizeH="0" baseline="0" noProof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59" name="Forma Livre: Forma 858">
                  <a:extLst>
                    <a:ext uri="{FF2B5EF4-FFF2-40B4-BE49-F238E27FC236}">
                      <a16:creationId xmlns:a16="http://schemas.microsoft.com/office/drawing/2014/main" id="{783E1EC0-CDCC-ECDB-4DFB-CEB1A4B42B9C}"/>
                    </a:ext>
                  </a:extLst>
                </p:cNvPr>
                <p:cNvSpPr/>
                <p:nvPr/>
              </p:nvSpPr>
              <p:spPr>
                <a:xfrm>
                  <a:off x="1904027" y="1256313"/>
                  <a:ext cx="13915" cy="35366"/>
                </a:xfrm>
                <a:custGeom>
                  <a:avLst/>
                  <a:gdLst>
                    <a:gd name="connsiteX0" fmla="*/ 3083 w 13915"/>
                    <a:gd name="connsiteY0" fmla="*/ 32261 h 35366"/>
                    <a:gd name="connsiteX1" fmla="*/ 13647 w 13915"/>
                    <a:gd name="connsiteY1" fmla="*/ 1796 h 35366"/>
                    <a:gd name="connsiteX2" fmla="*/ 13880 w 13915"/>
                    <a:gd name="connsiteY2" fmla="*/ 928 h 35366"/>
                    <a:gd name="connsiteX3" fmla="*/ 13430 w 13915"/>
                    <a:gd name="connsiteY3" fmla="*/ 37 h 35366"/>
                    <a:gd name="connsiteX4" fmla="*/ 12539 w 13915"/>
                    <a:gd name="connsiteY4" fmla="*/ 470 h 35366"/>
                    <a:gd name="connsiteX5" fmla="*/ 12282 w 13915"/>
                    <a:gd name="connsiteY5" fmla="*/ 1443 h 35366"/>
                    <a:gd name="connsiteX6" fmla="*/ 150 w 13915"/>
                    <a:gd name="connsiteY6" fmla="*/ 34221 h 35366"/>
                    <a:gd name="connsiteX7" fmla="*/ 279 w 13915"/>
                    <a:gd name="connsiteY7" fmla="*/ 35217 h 35366"/>
                    <a:gd name="connsiteX8" fmla="*/ 1275 w 13915"/>
                    <a:gd name="connsiteY8" fmla="*/ 35089 h 35366"/>
                    <a:gd name="connsiteX9" fmla="*/ 3083 w 13915"/>
                    <a:gd name="connsiteY9" fmla="*/ 32261 h 35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3915" h="35366">
                      <a:moveTo>
                        <a:pt x="3083" y="32261"/>
                      </a:moveTo>
                      <a:cubicBezTo>
                        <a:pt x="6320" y="26460"/>
                        <a:pt x="9936" y="16064"/>
                        <a:pt x="13647" y="1796"/>
                      </a:cubicBezTo>
                      <a:cubicBezTo>
                        <a:pt x="13776" y="1306"/>
                        <a:pt x="13848" y="1009"/>
                        <a:pt x="13880" y="928"/>
                      </a:cubicBezTo>
                      <a:cubicBezTo>
                        <a:pt x="14001" y="559"/>
                        <a:pt x="13800" y="157"/>
                        <a:pt x="13430" y="37"/>
                      </a:cubicBezTo>
                      <a:cubicBezTo>
                        <a:pt x="13061" y="-84"/>
                        <a:pt x="12667" y="101"/>
                        <a:pt x="12539" y="470"/>
                      </a:cubicBezTo>
                      <a:cubicBezTo>
                        <a:pt x="12515" y="535"/>
                        <a:pt x="12426" y="872"/>
                        <a:pt x="12282" y="1443"/>
                      </a:cubicBezTo>
                      <a:cubicBezTo>
                        <a:pt x="7975" y="18017"/>
                        <a:pt x="3669" y="29658"/>
                        <a:pt x="150" y="34221"/>
                      </a:cubicBezTo>
                      <a:cubicBezTo>
                        <a:pt x="-99" y="34526"/>
                        <a:pt x="-26" y="34976"/>
                        <a:pt x="279" y="35217"/>
                      </a:cubicBezTo>
                      <a:cubicBezTo>
                        <a:pt x="592" y="35458"/>
                        <a:pt x="1034" y="35402"/>
                        <a:pt x="1275" y="35089"/>
                      </a:cubicBezTo>
                      <a:cubicBezTo>
                        <a:pt x="1862" y="34310"/>
                        <a:pt x="2464" y="33370"/>
                        <a:pt x="3083" y="32261"/>
                      </a:cubicBezTo>
                      <a:close/>
                    </a:path>
                  </a:pathLst>
                </a:custGeom>
                <a:solidFill>
                  <a:srgbClr val="E18075"/>
                </a:solidFill>
                <a:ln w="8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1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1" b="0" i="0" u="none" strike="noStrike" kern="1200" cap="none" spc="0" normalizeH="0" baseline="0" noProof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60" name="Forma Livre: Forma 859">
                  <a:extLst>
                    <a:ext uri="{FF2B5EF4-FFF2-40B4-BE49-F238E27FC236}">
                      <a16:creationId xmlns:a16="http://schemas.microsoft.com/office/drawing/2014/main" id="{900EDA96-3B16-4A87-E5AE-5617833CEB5A}"/>
                    </a:ext>
                  </a:extLst>
                </p:cNvPr>
                <p:cNvSpPr/>
                <p:nvPr/>
              </p:nvSpPr>
              <p:spPr>
                <a:xfrm>
                  <a:off x="1909659" y="1267714"/>
                  <a:ext cx="13765" cy="29068"/>
                </a:xfrm>
                <a:custGeom>
                  <a:avLst/>
                  <a:gdLst>
                    <a:gd name="connsiteX0" fmla="*/ 4810 w 13765"/>
                    <a:gd name="connsiteY0" fmla="*/ 23559 h 29068"/>
                    <a:gd name="connsiteX1" fmla="*/ 13471 w 13765"/>
                    <a:gd name="connsiteY1" fmla="*/ 1755 h 29068"/>
                    <a:gd name="connsiteX2" fmla="*/ 13720 w 13765"/>
                    <a:gd name="connsiteY2" fmla="*/ 968 h 29068"/>
                    <a:gd name="connsiteX3" fmla="*/ 13318 w 13765"/>
                    <a:gd name="connsiteY3" fmla="*/ 52 h 29068"/>
                    <a:gd name="connsiteX4" fmla="*/ 12402 w 13765"/>
                    <a:gd name="connsiteY4" fmla="*/ 429 h 29068"/>
                    <a:gd name="connsiteX5" fmla="*/ 12113 w 13765"/>
                    <a:gd name="connsiteY5" fmla="*/ 1345 h 29068"/>
                    <a:gd name="connsiteX6" fmla="*/ 174 w 13765"/>
                    <a:gd name="connsiteY6" fmla="*/ 27889 h 29068"/>
                    <a:gd name="connsiteX7" fmla="*/ 239 w 13765"/>
                    <a:gd name="connsiteY7" fmla="*/ 28894 h 29068"/>
                    <a:gd name="connsiteX8" fmla="*/ 1243 w 13765"/>
                    <a:gd name="connsiteY8" fmla="*/ 28829 h 29068"/>
                    <a:gd name="connsiteX9" fmla="*/ 4810 w 13765"/>
                    <a:gd name="connsiteY9" fmla="*/ 23559 h 290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3765" h="29068">
                      <a:moveTo>
                        <a:pt x="4810" y="23559"/>
                      </a:moveTo>
                      <a:cubicBezTo>
                        <a:pt x="7236" y="19213"/>
                        <a:pt x="10193" y="12408"/>
                        <a:pt x="13471" y="1755"/>
                      </a:cubicBezTo>
                      <a:cubicBezTo>
                        <a:pt x="13599" y="1321"/>
                        <a:pt x="13687" y="1048"/>
                        <a:pt x="13720" y="968"/>
                      </a:cubicBezTo>
                      <a:cubicBezTo>
                        <a:pt x="13856" y="606"/>
                        <a:pt x="13679" y="196"/>
                        <a:pt x="13318" y="52"/>
                      </a:cubicBezTo>
                      <a:cubicBezTo>
                        <a:pt x="12956" y="-93"/>
                        <a:pt x="12555" y="76"/>
                        <a:pt x="12402" y="429"/>
                      </a:cubicBezTo>
                      <a:cubicBezTo>
                        <a:pt x="12362" y="526"/>
                        <a:pt x="12306" y="711"/>
                        <a:pt x="12113" y="1345"/>
                      </a:cubicBezTo>
                      <a:cubicBezTo>
                        <a:pt x="7059" y="17791"/>
                        <a:pt x="2834" y="24861"/>
                        <a:pt x="174" y="27889"/>
                      </a:cubicBezTo>
                      <a:cubicBezTo>
                        <a:pt x="-83" y="28179"/>
                        <a:pt x="-51" y="28629"/>
                        <a:pt x="239" y="28894"/>
                      </a:cubicBezTo>
                      <a:cubicBezTo>
                        <a:pt x="536" y="29151"/>
                        <a:pt x="986" y="29119"/>
                        <a:pt x="1243" y="28829"/>
                      </a:cubicBezTo>
                      <a:cubicBezTo>
                        <a:pt x="2231" y="27689"/>
                        <a:pt x="3436" y="26018"/>
                        <a:pt x="4810" y="23559"/>
                      </a:cubicBezTo>
                      <a:close/>
                    </a:path>
                  </a:pathLst>
                </a:custGeom>
                <a:solidFill>
                  <a:srgbClr val="E18075"/>
                </a:solidFill>
                <a:ln w="8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1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1" b="0" i="0" u="none" strike="noStrike" kern="1200" cap="none" spc="0" normalizeH="0" baseline="0" noProof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856" name="Forma Livre: Forma 855">
                <a:extLst>
                  <a:ext uri="{FF2B5EF4-FFF2-40B4-BE49-F238E27FC236}">
                    <a16:creationId xmlns:a16="http://schemas.microsoft.com/office/drawing/2014/main" id="{7712E3BC-A427-5DAC-2C02-DF78A57393B0}"/>
                  </a:ext>
                </a:extLst>
              </p:cNvPr>
              <p:cNvSpPr/>
              <p:nvPr/>
            </p:nvSpPr>
            <p:spPr>
              <a:xfrm>
                <a:off x="1685777" y="1324598"/>
                <a:ext cx="209891" cy="171000"/>
              </a:xfrm>
              <a:custGeom>
                <a:avLst/>
                <a:gdLst>
                  <a:gd name="connsiteX0" fmla="*/ 12345 w 209891"/>
                  <a:gd name="connsiteY0" fmla="*/ 10974 h 171000"/>
                  <a:gd name="connsiteX1" fmla="*/ 120305 w 209891"/>
                  <a:gd name="connsiteY1" fmla="*/ 106466 h 171000"/>
                  <a:gd name="connsiteX2" fmla="*/ 183348 w 209891"/>
                  <a:gd name="connsiteY2" fmla="*/ 0 h 171000"/>
                  <a:gd name="connsiteX3" fmla="*/ 209892 w 209891"/>
                  <a:gd name="connsiteY3" fmla="*/ 15602 h 171000"/>
                  <a:gd name="connsiteX4" fmla="*/ 127351 w 209891"/>
                  <a:gd name="connsiteY4" fmla="*/ 170979 h 171000"/>
                  <a:gd name="connsiteX5" fmla="*/ 12345 w 209891"/>
                  <a:gd name="connsiteY5" fmla="*/ 10974 h 171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9891" h="171000">
                    <a:moveTo>
                      <a:pt x="12345" y="10974"/>
                    </a:moveTo>
                    <a:cubicBezTo>
                      <a:pt x="69788" y="-37342"/>
                      <a:pt x="120305" y="106466"/>
                      <a:pt x="120305" y="106466"/>
                    </a:cubicBezTo>
                    <a:cubicBezTo>
                      <a:pt x="120305" y="106466"/>
                      <a:pt x="156426" y="48662"/>
                      <a:pt x="183348" y="0"/>
                    </a:cubicBezTo>
                    <a:lnTo>
                      <a:pt x="209892" y="15602"/>
                    </a:lnTo>
                    <a:cubicBezTo>
                      <a:pt x="188497" y="80066"/>
                      <a:pt x="164203" y="169107"/>
                      <a:pt x="127351" y="170979"/>
                    </a:cubicBezTo>
                    <a:cubicBezTo>
                      <a:pt x="90515" y="172843"/>
                      <a:pt x="-40366" y="55306"/>
                      <a:pt x="12345" y="10974"/>
                    </a:cubicBezTo>
                    <a:close/>
                  </a:path>
                </a:pathLst>
              </a:custGeom>
              <a:solidFill>
                <a:srgbClr val="FFC000"/>
              </a:solidFill>
              <a:ln w="8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1" b="0" i="0" u="none" strike="noStrike" kern="120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843" name="Forma Livre: Forma 842">
              <a:extLst>
                <a:ext uri="{FF2B5EF4-FFF2-40B4-BE49-F238E27FC236}">
                  <a16:creationId xmlns:a16="http://schemas.microsoft.com/office/drawing/2014/main" id="{EEF3F07D-D74B-2030-D700-3F8B9227E45E}"/>
                </a:ext>
              </a:extLst>
            </p:cNvPr>
            <p:cNvSpPr/>
            <p:nvPr/>
          </p:nvSpPr>
          <p:spPr>
            <a:xfrm>
              <a:off x="2133001" y="2582612"/>
              <a:ext cx="824991" cy="607503"/>
            </a:xfrm>
            <a:custGeom>
              <a:avLst/>
              <a:gdLst>
                <a:gd name="connsiteX0" fmla="*/ 453565 w 824991"/>
                <a:gd name="connsiteY0" fmla="*/ 607504 h 607503"/>
                <a:gd name="connsiteX1" fmla="*/ 0 w 824991"/>
                <a:gd name="connsiteY1" fmla="*/ 607504 h 607503"/>
                <a:gd name="connsiteX2" fmla="*/ 592561 w 824991"/>
                <a:gd name="connsiteY2" fmla="*/ 0 h 607503"/>
                <a:gd name="connsiteX3" fmla="*/ 824991 w 824991"/>
                <a:gd name="connsiteY3" fmla="*/ 226710 h 607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991" h="607503">
                  <a:moveTo>
                    <a:pt x="453565" y="607504"/>
                  </a:moveTo>
                  <a:lnTo>
                    <a:pt x="0" y="607504"/>
                  </a:lnTo>
                  <a:lnTo>
                    <a:pt x="592561" y="0"/>
                  </a:lnTo>
                  <a:lnTo>
                    <a:pt x="824991" y="226710"/>
                  </a:lnTo>
                  <a:close/>
                </a:path>
              </a:pathLst>
            </a:custGeom>
            <a:solidFill>
              <a:srgbClr val="EE730D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4" name="Forma Livre: Forma 843">
              <a:extLst>
                <a:ext uri="{FF2B5EF4-FFF2-40B4-BE49-F238E27FC236}">
                  <a16:creationId xmlns:a16="http://schemas.microsoft.com/office/drawing/2014/main" id="{0F112EC0-9C2B-A4CF-F37C-7335618A34F7}"/>
                </a:ext>
              </a:extLst>
            </p:cNvPr>
            <p:cNvSpPr/>
            <p:nvPr/>
          </p:nvSpPr>
          <p:spPr>
            <a:xfrm>
              <a:off x="2526556" y="2486631"/>
              <a:ext cx="541492" cy="539790"/>
            </a:xfrm>
            <a:custGeom>
              <a:avLst/>
              <a:gdLst>
                <a:gd name="connsiteX0" fmla="*/ 18530 w 541492"/>
                <a:gd name="connsiteY0" fmla="*/ 0 h 539790"/>
                <a:gd name="connsiteX1" fmla="*/ 507276 w 541492"/>
                <a:gd name="connsiteY1" fmla="*/ 0 h 539790"/>
                <a:gd name="connsiteX2" fmla="*/ 541493 w 541492"/>
                <a:gd name="connsiteY2" fmla="*/ 34217 h 539790"/>
                <a:gd name="connsiteX3" fmla="*/ 541493 w 541492"/>
                <a:gd name="connsiteY3" fmla="*/ 521259 h 539790"/>
                <a:gd name="connsiteX4" fmla="*/ 507341 w 541492"/>
                <a:gd name="connsiteY4" fmla="*/ 531117 h 539790"/>
                <a:gd name="connsiteX5" fmla="*/ 309143 w 541492"/>
                <a:gd name="connsiteY5" fmla="*/ 216274 h 539790"/>
                <a:gd name="connsiteX6" fmla="*/ 8946 w 541492"/>
                <a:gd name="connsiteY6" fmla="*/ 34321 h 539790"/>
                <a:gd name="connsiteX7" fmla="*/ 18530 w 541492"/>
                <a:gd name="connsiteY7" fmla="*/ 0 h 539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1492" h="539790">
                  <a:moveTo>
                    <a:pt x="18530" y="0"/>
                  </a:moveTo>
                  <a:lnTo>
                    <a:pt x="507276" y="0"/>
                  </a:lnTo>
                  <a:cubicBezTo>
                    <a:pt x="526172" y="0"/>
                    <a:pt x="541493" y="15321"/>
                    <a:pt x="541493" y="34217"/>
                  </a:cubicBezTo>
                  <a:lnTo>
                    <a:pt x="541493" y="521259"/>
                  </a:lnTo>
                  <a:cubicBezTo>
                    <a:pt x="541493" y="539810"/>
                    <a:pt x="517222" y="546815"/>
                    <a:pt x="507341" y="531117"/>
                  </a:cubicBezTo>
                  <a:lnTo>
                    <a:pt x="309143" y="216274"/>
                  </a:lnTo>
                  <a:lnTo>
                    <a:pt x="8946" y="34321"/>
                  </a:lnTo>
                  <a:cubicBezTo>
                    <a:pt x="-7066" y="24608"/>
                    <a:pt x="-189" y="0"/>
                    <a:pt x="18530" y="0"/>
                  </a:cubicBezTo>
                  <a:close/>
                </a:path>
              </a:pathLst>
            </a:custGeom>
            <a:solidFill>
              <a:srgbClr val="EE730D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5" name="Forma Livre: Forma 844">
              <a:extLst>
                <a:ext uri="{FF2B5EF4-FFF2-40B4-BE49-F238E27FC236}">
                  <a16:creationId xmlns:a16="http://schemas.microsoft.com/office/drawing/2014/main" id="{42866B3E-023E-FCAE-8F8F-503B77C11F32}"/>
                </a:ext>
              </a:extLst>
            </p:cNvPr>
            <p:cNvSpPr/>
            <p:nvPr/>
          </p:nvSpPr>
          <p:spPr>
            <a:xfrm>
              <a:off x="2835699" y="2702897"/>
              <a:ext cx="87224" cy="194156"/>
            </a:xfrm>
            <a:custGeom>
              <a:avLst/>
              <a:gdLst>
                <a:gd name="connsiteX0" fmla="*/ 0 w 87224"/>
                <a:gd name="connsiteY0" fmla="*/ 0 h 194156"/>
                <a:gd name="connsiteX1" fmla="*/ 87225 w 87224"/>
                <a:gd name="connsiteY1" fmla="*/ 138570 h 194156"/>
                <a:gd name="connsiteX2" fmla="*/ 36723 w 87224"/>
                <a:gd name="connsiteY2" fmla="*/ 194157 h 194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7224" h="194156">
                  <a:moveTo>
                    <a:pt x="0" y="0"/>
                  </a:moveTo>
                  <a:lnTo>
                    <a:pt x="87225" y="138570"/>
                  </a:lnTo>
                  <a:lnTo>
                    <a:pt x="36723" y="194157"/>
                  </a:lnTo>
                  <a:close/>
                </a:path>
              </a:pathLst>
            </a:custGeom>
            <a:solidFill>
              <a:srgbClr val="EE730D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6" name="Forma Livre: Forma 845">
              <a:extLst>
                <a:ext uri="{FF2B5EF4-FFF2-40B4-BE49-F238E27FC236}">
                  <a16:creationId xmlns:a16="http://schemas.microsoft.com/office/drawing/2014/main" id="{08484395-D1D9-960C-F518-A0CB3B4F12F4}"/>
                </a:ext>
              </a:extLst>
            </p:cNvPr>
            <p:cNvSpPr/>
            <p:nvPr/>
          </p:nvSpPr>
          <p:spPr>
            <a:xfrm>
              <a:off x="1705779" y="2766068"/>
              <a:ext cx="558569" cy="424048"/>
            </a:xfrm>
            <a:custGeom>
              <a:avLst/>
              <a:gdLst>
                <a:gd name="connsiteX0" fmla="*/ 282868 w 558569"/>
                <a:gd name="connsiteY0" fmla="*/ 424049 h 424048"/>
                <a:gd name="connsiteX1" fmla="*/ 0 w 558569"/>
                <a:gd name="connsiteY1" fmla="*/ 424049 h 424048"/>
                <a:gd name="connsiteX2" fmla="*/ 413612 w 558569"/>
                <a:gd name="connsiteY2" fmla="*/ 0 h 424048"/>
                <a:gd name="connsiteX3" fmla="*/ 558569 w 558569"/>
                <a:gd name="connsiteY3" fmla="*/ 141398 h 424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8569" h="424048">
                  <a:moveTo>
                    <a:pt x="282868" y="424049"/>
                  </a:moveTo>
                  <a:lnTo>
                    <a:pt x="0" y="424049"/>
                  </a:lnTo>
                  <a:lnTo>
                    <a:pt x="413612" y="0"/>
                  </a:lnTo>
                  <a:lnTo>
                    <a:pt x="558569" y="141398"/>
                  </a:lnTo>
                  <a:close/>
                </a:path>
              </a:pathLst>
            </a:custGeom>
            <a:solidFill>
              <a:srgbClr val="FACF00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7" name="Forma Livre: Forma 846">
              <a:extLst>
                <a:ext uri="{FF2B5EF4-FFF2-40B4-BE49-F238E27FC236}">
                  <a16:creationId xmlns:a16="http://schemas.microsoft.com/office/drawing/2014/main" id="{CB542AAD-8E90-81AF-913E-06F1355FBA5A}"/>
                </a:ext>
              </a:extLst>
            </p:cNvPr>
            <p:cNvSpPr/>
            <p:nvPr/>
          </p:nvSpPr>
          <p:spPr>
            <a:xfrm>
              <a:off x="1995279" y="2706215"/>
              <a:ext cx="337703" cy="336635"/>
            </a:xfrm>
            <a:custGeom>
              <a:avLst/>
              <a:gdLst>
                <a:gd name="connsiteX0" fmla="*/ 11556 w 337703"/>
                <a:gd name="connsiteY0" fmla="*/ 0 h 336635"/>
                <a:gd name="connsiteX1" fmla="*/ 316365 w 337703"/>
                <a:gd name="connsiteY1" fmla="*/ 0 h 336635"/>
                <a:gd name="connsiteX2" fmla="*/ 337703 w 337703"/>
                <a:gd name="connsiteY2" fmla="*/ 21338 h 336635"/>
                <a:gd name="connsiteX3" fmla="*/ 337703 w 337703"/>
                <a:gd name="connsiteY3" fmla="*/ 325078 h 336635"/>
                <a:gd name="connsiteX4" fmla="*/ 316405 w 337703"/>
                <a:gd name="connsiteY4" fmla="*/ 331224 h 336635"/>
                <a:gd name="connsiteX5" fmla="*/ 192794 w 337703"/>
                <a:gd name="connsiteY5" fmla="*/ 134874 h 336635"/>
                <a:gd name="connsiteX6" fmla="*/ 5579 w 337703"/>
                <a:gd name="connsiteY6" fmla="*/ 21394 h 336635"/>
                <a:gd name="connsiteX7" fmla="*/ 11556 w 337703"/>
                <a:gd name="connsiteY7" fmla="*/ 0 h 336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7703" h="336635">
                  <a:moveTo>
                    <a:pt x="11556" y="0"/>
                  </a:moveTo>
                  <a:lnTo>
                    <a:pt x="316365" y="0"/>
                  </a:lnTo>
                  <a:cubicBezTo>
                    <a:pt x="328151" y="0"/>
                    <a:pt x="337703" y="9552"/>
                    <a:pt x="337703" y="21338"/>
                  </a:cubicBezTo>
                  <a:lnTo>
                    <a:pt x="337703" y="325078"/>
                  </a:lnTo>
                  <a:cubicBezTo>
                    <a:pt x="337703" y="336647"/>
                    <a:pt x="322567" y="341018"/>
                    <a:pt x="316405" y="331224"/>
                  </a:cubicBezTo>
                  <a:lnTo>
                    <a:pt x="192794" y="134874"/>
                  </a:lnTo>
                  <a:lnTo>
                    <a:pt x="5579" y="21394"/>
                  </a:lnTo>
                  <a:cubicBezTo>
                    <a:pt x="-4407" y="15345"/>
                    <a:pt x="-117" y="0"/>
                    <a:pt x="11556" y="0"/>
                  </a:cubicBezTo>
                  <a:close/>
                </a:path>
              </a:pathLst>
            </a:custGeom>
            <a:solidFill>
              <a:srgbClr val="FACF00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8" name="Forma Livre: Forma 847">
              <a:extLst>
                <a:ext uri="{FF2B5EF4-FFF2-40B4-BE49-F238E27FC236}">
                  <a16:creationId xmlns:a16="http://schemas.microsoft.com/office/drawing/2014/main" id="{31981C02-4817-91F8-A46C-CAE5B3F94090}"/>
                </a:ext>
              </a:extLst>
            </p:cNvPr>
            <p:cNvSpPr/>
            <p:nvPr/>
          </p:nvSpPr>
          <p:spPr>
            <a:xfrm>
              <a:off x="2188073" y="2841089"/>
              <a:ext cx="54405" cy="121087"/>
            </a:xfrm>
            <a:custGeom>
              <a:avLst/>
              <a:gdLst>
                <a:gd name="connsiteX0" fmla="*/ 0 w 54405"/>
                <a:gd name="connsiteY0" fmla="*/ 0 h 121087"/>
                <a:gd name="connsiteX1" fmla="*/ 54406 w 54405"/>
                <a:gd name="connsiteY1" fmla="*/ 86413 h 121087"/>
                <a:gd name="connsiteX2" fmla="*/ 22905 w 54405"/>
                <a:gd name="connsiteY2" fmla="*/ 121088 h 121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405" h="121087">
                  <a:moveTo>
                    <a:pt x="0" y="0"/>
                  </a:moveTo>
                  <a:lnTo>
                    <a:pt x="54406" y="86413"/>
                  </a:lnTo>
                  <a:lnTo>
                    <a:pt x="22905" y="121088"/>
                  </a:lnTo>
                  <a:close/>
                </a:path>
              </a:pathLst>
            </a:custGeom>
            <a:solidFill>
              <a:srgbClr val="FFC000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9" name="Forma Livre: Forma 848">
              <a:extLst>
                <a:ext uri="{FF2B5EF4-FFF2-40B4-BE49-F238E27FC236}">
                  <a16:creationId xmlns:a16="http://schemas.microsoft.com/office/drawing/2014/main" id="{F41E8429-12FB-F0CF-733A-D1F2D77BB8F8}"/>
                </a:ext>
              </a:extLst>
            </p:cNvPr>
            <p:cNvSpPr/>
            <p:nvPr/>
          </p:nvSpPr>
          <p:spPr>
            <a:xfrm>
              <a:off x="1070943" y="2371464"/>
              <a:ext cx="992073" cy="818652"/>
            </a:xfrm>
            <a:custGeom>
              <a:avLst/>
              <a:gdLst>
                <a:gd name="connsiteX0" fmla="*/ 377725 w 992073"/>
                <a:gd name="connsiteY0" fmla="*/ 818653 h 818652"/>
                <a:gd name="connsiteX1" fmla="*/ 0 w 992073"/>
                <a:gd name="connsiteY1" fmla="*/ 818653 h 818652"/>
                <a:gd name="connsiteX2" fmla="*/ 798511 w 992073"/>
                <a:gd name="connsiteY2" fmla="*/ 0 h 818652"/>
                <a:gd name="connsiteX3" fmla="*/ 992074 w 992073"/>
                <a:gd name="connsiteY3" fmla="*/ 188806 h 818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2073" h="818652">
                  <a:moveTo>
                    <a:pt x="377725" y="818653"/>
                  </a:moveTo>
                  <a:lnTo>
                    <a:pt x="0" y="818653"/>
                  </a:lnTo>
                  <a:lnTo>
                    <a:pt x="798511" y="0"/>
                  </a:lnTo>
                  <a:lnTo>
                    <a:pt x="992074" y="188806"/>
                  </a:lnTo>
                  <a:close/>
                </a:path>
              </a:pathLst>
            </a:custGeom>
            <a:solidFill>
              <a:srgbClr val="0070C0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0" name="Forma Livre: Forma 849">
              <a:extLst>
                <a:ext uri="{FF2B5EF4-FFF2-40B4-BE49-F238E27FC236}">
                  <a16:creationId xmlns:a16="http://schemas.microsoft.com/office/drawing/2014/main" id="{2A9A8AB4-43F0-C647-12C5-CE215ACF6A5A}"/>
                </a:ext>
              </a:extLst>
            </p:cNvPr>
            <p:cNvSpPr/>
            <p:nvPr/>
          </p:nvSpPr>
          <p:spPr>
            <a:xfrm>
              <a:off x="1703724" y="2291534"/>
              <a:ext cx="450943" cy="449529"/>
            </a:xfrm>
            <a:custGeom>
              <a:avLst/>
              <a:gdLst>
                <a:gd name="connsiteX0" fmla="*/ 15431 w 450943"/>
                <a:gd name="connsiteY0" fmla="*/ 0 h 449529"/>
                <a:gd name="connsiteX1" fmla="*/ 422448 w 450943"/>
                <a:gd name="connsiteY1" fmla="*/ 0 h 449529"/>
                <a:gd name="connsiteX2" fmla="*/ 450944 w 450943"/>
                <a:gd name="connsiteY2" fmla="*/ 28497 h 449529"/>
                <a:gd name="connsiteX3" fmla="*/ 450944 w 450943"/>
                <a:gd name="connsiteY3" fmla="*/ 434099 h 449529"/>
                <a:gd name="connsiteX4" fmla="*/ 422504 w 450943"/>
                <a:gd name="connsiteY4" fmla="*/ 442302 h 449529"/>
                <a:gd name="connsiteX5" fmla="*/ 257446 w 450943"/>
                <a:gd name="connsiteY5" fmla="*/ 180105 h 449529"/>
                <a:gd name="connsiteX6" fmla="*/ 7445 w 450943"/>
                <a:gd name="connsiteY6" fmla="*/ 28577 h 449529"/>
                <a:gd name="connsiteX7" fmla="*/ 15431 w 450943"/>
                <a:gd name="connsiteY7" fmla="*/ 0 h 449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0943" h="449529">
                  <a:moveTo>
                    <a:pt x="15431" y="0"/>
                  </a:moveTo>
                  <a:lnTo>
                    <a:pt x="422448" y="0"/>
                  </a:lnTo>
                  <a:cubicBezTo>
                    <a:pt x="438186" y="0"/>
                    <a:pt x="450944" y="12758"/>
                    <a:pt x="450944" y="28497"/>
                  </a:cubicBezTo>
                  <a:lnTo>
                    <a:pt x="450944" y="434099"/>
                  </a:lnTo>
                  <a:cubicBezTo>
                    <a:pt x="450944" y="449548"/>
                    <a:pt x="430730" y="455381"/>
                    <a:pt x="422504" y="442302"/>
                  </a:cubicBezTo>
                  <a:lnTo>
                    <a:pt x="257446" y="180105"/>
                  </a:lnTo>
                  <a:lnTo>
                    <a:pt x="7445" y="28577"/>
                  </a:lnTo>
                  <a:cubicBezTo>
                    <a:pt x="-5883" y="20503"/>
                    <a:pt x="-155" y="0"/>
                    <a:pt x="15431" y="0"/>
                  </a:cubicBezTo>
                  <a:close/>
                </a:path>
              </a:pathLst>
            </a:custGeom>
            <a:solidFill>
              <a:srgbClr val="0070C0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1" name="Forma Livre: Forma 850">
              <a:extLst>
                <a:ext uri="{FF2B5EF4-FFF2-40B4-BE49-F238E27FC236}">
                  <a16:creationId xmlns:a16="http://schemas.microsoft.com/office/drawing/2014/main" id="{EBD1AA37-216A-360A-D4B4-895FA333B71F}"/>
                </a:ext>
              </a:extLst>
            </p:cNvPr>
            <p:cNvSpPr/>
            <p:nvPr/>
          </p:nvSpPr>
          <p:spPr>
            <a:xfrm>
              <a:off x="1961170" y="2471639"/>
              <a:ext cx="72643" cy="161691"/>
            </a:xfrm>
            <a:custGeom>
              <a:avLst/>
              <a:gdLst>
                <a:gd name="connsiteX0" fmla="*/ 0 w 72643"/>
                <a:gd name="connsiteY0" fmla="*/ 0 h 161691"/>
                <a:gd name="connsiteX1" fmla="*/ 72643 w 72643"/>
                <a:gd name="connsiteY1" fmla="*/ 115400 h 161691"/>
                <a:gd name="connsiteX2" fmla="*/ 30585 w 72643"/>
                <a:gd name="connsiteY2" fmla="*/ 161692 h 161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643" h="161691">
                  <a:moveTo>
                    <a:pt x="0" y="0"/>
                  </a:moveTo>
                  <a:lnTo>
                    <a:pt x="72643" y="115400"/>
                  </a:lnTo>
                  <a:lnTo>
                    <a:pt x="30585" y="161692"/>
                  </a:lnTo>
                  <a:close/>
                </a:path>
              </a:pathLst>
            </a:custGeom>
            <a:solidFill>
              <a:srgbClr val="0070C0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2" name="Forma Livre: Forma 851">
              <a:extLst>
                <a:ext uri="{FF2B5EF4-FFF2-40B4-BE49-F238E27FC236}">
                  <a16:creationId xmlns:a16="http://schemas.microsoft.com/office/drawing/2014/main" id="{0242F265-CA3E-88F8-4B2C-17FF7DDB42E6}"/>
                </a:ext>
              </a:extLst>
            </p:cNvPr>
            <p:cNvSpPr/>
            <p:nvPr/>
          </p:nvSpPr>
          <p:spPr>
            <a:xfrm>
              <a:off x="765693" y="2543375"/>
              <a:ext cx="738674" cy="646741"/>
            </a:xfrm>
            <a:custGeom>
              <a:avLst/>
              <a:gdLst>
                <a:gd name="connsiteX0" fmla="*/ 199925 w 738674"/>
                <a:gd name="connsiteY0" fmla="*/ 646742 h 646741"/>
                <a:gd name="connsiteX1" fmla="*/ 0 w 738674"/>
                <a:gd name="connsiteY1" fmla="*/ 646742 h 646741"/>
                <a:gd name="connsiteX2" fmla="*/ 636683 w 738674"/>
                <a:gd name="connsiteY2" fmla="*/ 0 h 646741"/>
                <a:gd name="connsiteX3" fmla="*/ 738674 w 738674"/>
                <a:gd name="connsiteY3" fmla="*/ 99485 h 646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8674" h="646741">
                  <a:moveTo>
                    <a:pt x="199925" y="646742"/>
                  </a:moveTo>
                  <a:lnTo>
                    <a:pt x="0" y="646742"/>
                  </a:lnTo>
                  <a:lnTo>
                    <a:pt x="636683" y="0"/>
                  </a:lnTo>
                  <a:lnTo>
                    <a:pt x="738674" y="99485"/>
                  </a:lnTo>
                  <a:close/>
                </a:path>
              </a:pathLst>
            </a:custGeom>
            <a:solidFill>
              <a:srgbClr val="132237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3" name="Forma Livre: Forma 852">
              <a:extLst>
                <a:ext uri="{FF2B5EF4-FFF2-40B4-BE49-F238E27FC236}">
                  <a16:creationId xmlns:a16="http://schemas.microsoft.com/office/drawing/2014/main" id="{C93B60D5-2CA9-DFE1-51D5-1F8F3E16F6A2}"/>
                </a:ext>
              </a:extLst>
            </p:cNvPr>
            <p:cNvSpPr/>
            <p:nvPr/>
          </p:nvSpPr>
          <p:spPr>
            <a:xfrm>
              <a:off x="1315048" y="2501261"/>
              <a:ext cx="237611" cy="236865"/>
            </a:xfrm>
            <a:custGeom>
              <a:avLst/>
              <a:gdLst>
                <a:gd name="connsiteX0" fmla="*/ 8129 w 237611"/>
                <a:gd name="connsiteY0" fmla="*/ 0 h 236865"/>
                <a:gd name="connsiteX1" fmla="*/ 222596 w 237611"/>
                <a:gd name="connsiteY1" fmla="*/ 0 h 236865"/>
                <a:gd name="connsiteX2" fmla="*/ 237611 w 237611"/>
                <a:gd name="connsiteY2" fmla="*/ 15015 h 236865"/>
                <a:gd name="connsiteX3" fmla="*/ 237611 w 237611"/>
                <a:gd name="connsiteY3" fmla="*/ 228735 h 236865"/>
                <a:gd name="connsiteX4" fmla="*/ 222628 w 237611"/>
                <a:gd name="connsiteY4" fmla="*/ 233057 h 236865"/>
                <a:gd name="connsiteX5" fmla="*/ 135660 w 237611"/>
                <a:gd name="connsiteY5" fmla="*/ 94905 h 236865"/>
                <a:gd name="connsiteX6" fmla="*/ 3928 w 237611"/>
                <a:gd name="connsiteY6" fmla="*/ 15056 h 236865"/>
                <a:gd name="connsiteX7" fmla="*/ 8129 w 237611"/>
                <a:gd name="connsiteY7" fmla="*/ 0 h 236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7611" h="236865">
                  <a:moveTo>
                    <a:pt x="8129" y="0"/>
                  </a:moveTo>
                  <a:lnTo>
                    <a:pt x="222596" y="0"/>
                  </a:lnTo>
                  <a:cubicBezTo>
                    <a:pt x="230887" y="0"/>
                    <a:pt x="237611" y="6724"/>
                    <a:pt x="237611" y="15015"/>
                  </a:cubicBezTo>
                  <a:lnTo>
                    <a:pt x="237611" y="228735"/>
                  </a:lnTo>
                  <a:cubicBezTo>
                    <a:pt x="237611" y="236873"/>
                    <a:pt x="226966" y="239950"/>
                    <a:pt x="222628" y="233057"/>
                  </a:cubicBezTo>
                  <a:lnTo>
                    <a:pt x="135660" y="94905"/>
                  </a:lnTo>
                  <a:lnTo>
                    <a:pt x="3928" y="15056"/>
                  </a:lnTo>
                  <a:cubicBezTo>
                    <a:pt x="-3102" y="10798"/>
                    <a:pt x="-81" y="0"/>
                    <a:pt x="8129" y="0"/>
                  </a:cubicBezTo>
                  <a:close/>
                </a:path>
              </a:pathLst>
            </a:custGeom>
            <a:solidFill>
              <a:srgbClr val="132237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4" name="Forma Livre: Forma 853">
              <a:extLst>
                <a:ext uri="{FF2B5EF4-FFF2-40B4-BE49-F238E27FC236}">
                  <a16:creationId xmlns:a16="http://schemas.microsoft.com/office/drawing/2014/main" id="{27F3E3D8-3437-7ECC-79FF-789A96264CAF}"/>
                </a:ext>
              </a:extLst>
            </p:cNvPr>
            <p:cNvSpPr/>
            <p:nvPr/>
          </p:nvSpPr>
          <p:spPr>
            <a:xfrm>
              <a:off x="1450700" y="2596158"/>
              <a:ext cx="38281" cy="85200"/>
            </a:xfrm>
            <a:custGeom>
              <a:avLst/>
              <a:gdLst>
                <a:gd name="connsiteX0" fmla="*/ 0 w 38281"/>
                <a:gd name="connsiteY0" fmla="*/ 0 h 85200"/>
                <a:gd name="connsiteX1" fmla="*/ 38282 w 38281"/>
                <a:gd name="connsiteY1" fmla="*/ 60801 h 85200"/>
                <a:gd name="connsiteX2" fmla="*/ 16116 w 38281"/>
                <a:gd name="connsiteY2" fmla="*/ 85200 h 8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281" h="85200">
                  <a:moveTo>
                    <a:pt x="0" y="0"/>
                  </a:moveTo>
                  <a:lnTo>
                    <a:pt x="38282" y="60801"/>
                  </a:lnTo>
                  <a:lnTo>
                    <a:pt x="16116" y="85200"/>
                  </a:lnTo>
                  <a:close/>
                </a:path>
              </a:pathLst>
            </a:custGeom>
            <a:solidFill>
              <a:srgbClr val="132237"/>
            </a:solidFill>
            <a:ln w="8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920" name="Espaço Reservado para Texto 1">
            <a:extLst>
              <a:ext uri="{FF2B5EF4-FFF2-40B4-BE49-F238E27FC236}">
                <a16:creationId xmlns:a16="http://schemas.microsoft.com/office/drawing/2014/main" id="{3294F5DA-39E6-AD5A-E714-4EEEA852D135}"/>
              </a:ext>
            </a:extLst>
          </p:cNvPr>
          <p:cNvSpPr txBox="1">
            <a:spLocks/>
          </p:cNvSpPr>
          <p:nvPr/>
        </p:nvSpPr>
        <p:spPr>
          <a:xfrm>
            <a:off x="302803" y="181038"/>
            <a:ext cx="2969092" cy="22790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pt-BR"/>
            </a:defPPr>
            <a:lvl1pPr defTabSz="914411">
              <a:lnSpc>
                <a:spcPct val="75000"/>
              </a:lnSpc>
              <a:spcBef>
                <a:spcPts val="0"/>
              </a:spcBef>
              <a:buNone/>
              <a:defRPr kumimoji="0" sz="28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tau Display Heavy" panose="020B0803020204020204" pitchFamily="34" charset="0"/>
                <a:cs typeface="Itau Display Heavy" panose="020B0803020204020204" pitchFamily="34" charset="0"/>
              </a:defRPr>
            </a:lvl1pPr>
            <a:lvl2pPr marL="539756" indent="-182566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>
                <a:solidFill>
                  <a:schemeClr val="accent6"/>
                </a:solidFill>
              </a:defRPr>
            </a:lvl2pPr>
            <a:lvl3pPr marL="898536" indent="-184152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accent6"/>
                </a:solidFill>
              </a:defRPr>
            </a:lvl3pPr>
            <a:lvl4pPr marL="1255729" indent="-184152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>
                <a:solidFill>
                  <a:schemeClr val="accent6"/>
                </a:solidFill>
              </a:defRPr>
            </a:lvl4pPr>
            <a:lvl5pPr marL="1612920" indent="-174628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>
                <a:solidFill>
                  <a:schemeClr val="accent6"/>
                </a:solidFill>
              </a:defRPr>
            </a:lvl5pPr>
            <a:lvl6pPr marL="2514632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6pPr>
            <a:lvl7pPr marL="2971838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7pPr>
            <a:lvl8pPr marL="3429044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8pPr>
            <a:lvl9pPr marL="3886249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9pPr>
          </a:lstStyle>
          <a:p>
            <a:pPr marL="0" marR="0" lvl="0" indent="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</a:rPr>
              <a:t>_o que o</a:t>
            </a:r>
          </a:p>
          <a:p>
            <a:pPr marL="0" marR="0" lvl="0" indent="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</a:rPr>
              <a:t>mercado </a:t>
            </a:r>
          </a:p>
          <a:p>
            <a:pPr marL="0" marR="0" lvl="0" indent="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</a:rPr>
              <a:t>tem feito?</a:t>
            </a:r>
          </a:p>
          <a:p>
            <a:pPr marL="0" marR="0" lvl="0" indent="0" algn="l" defTabSz="914411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_benchmarking</a:t>
            </a:r>
          </a:p>
        </p:txBody>
      </p:sp>
      <p:pic>
        <p:nvPicPr>
          <p:cNvPr id="922" name="Imagem 921" descr="Desenho de um círculo&#10;&#10;Descrição gerada automaticamente com confiança média">
            <a:extLst>
              <a:ext uri="{FF2B5EF4-FFF2-40B4-BE49-F238E27FC236}">
                <a16:creationId xmlns:a16="http://schemas.microsoft.com/office/drawing/2014/main" id="{C463F90D-5172-C1F4-CFEF-9E7538E651B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2399" y="318824"/>
            <a:ext cx="808441" cy="828000"/>
          </a:xfrm>
          <a:prstGeom prst="rect">
            <a:avLst/>
          </a:prstGeom>
        </p:spPr>
      </p:pic>
      <p:pic>
        <p:nvPicPr>
          <p:cNvPr id="4" name="Imagem 3" descr="Uma imagem contendo Ícone&#10;&#10;Descrição gerada automaticamente">
            <a:extLst>
              <a:ext uri="{FF2B5EF4-FFF2-40B4-BE49-F238E27FC236}">
                <a16:creationId xmlns:a16="http://schemas.microsoft.com/office/drawing/2014/main" id="{5AC3877F-BA4B-8457-3173-B6F74BFD3DB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5106" y="4999467"/>
            <a:ext cx="828000" cy="828000"/>
          </a:xfrm>
          <a:prstGeom prst="flowChartAlternateProcess">
            <a:avLst/>
          </a:prstGeom>
        </p:spPr>
      </p:pic>
    </p:spTree>
    <p:extLst>
      <p:ext uri="{BB962C8B-B14F-4D97-AF65-F5344CB8AC3E}">
        <p14:creationId xmlns:p14="http://schemas.microsoft.com/office/powerpoint/2010/main" val="3585660027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Retângulo 267">
            <a:extLst>
              <a:ext uri="{FF2B5EF4-FFF2-40B4-BE49-F238E27FC236}">
                <a16:creationId xmlns:a16="http://schemas.microsoft.com/office/drawing/2014/main" id="{AEF8FF2F-634E-1024-74E0-4CC2AB944AC1}"/>
              </a:ext>
            </a:extLst>
          </p:cNvPr>
          <p:cNvSpPr/>
          <p:nvPr/>
        </p:nvSpPr>
        <p:spPr>
          <a:xfrm>
            <a:off x="0" y="0"/>
            <a:ext cx="4526280" cy="6858000"/>
          </a:xfrm>
          <a:prstGeom prst="rect">
            <a:avLst/>
          </a:prstGeom>
          <a:gradFill flip="none" rotWithShape="1">
            <a:gsLst>
              <a:gs pos="0">
                <a:srgbClr val="FF7500"/>
              </a:gs>
              <a:gs pos="100000">
                <a:srgbClr val="FD9D00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1" b="0" i="0" u="none" strike="noStrike" kern="1200" cap="none" spc="0" normalizeH="0" baseline="0" noProof="0">
              <a:ln>
                <a:noFill/>
              </a:ln>
              <a:solidFill>
                <a:srgbClr val="1D4080"/>
              </a:solidFill>
              <a:effectLst/>
              <a:uLnTx/>
              <a:uFillTx/>
              <a:latin typeface="Itau Display"/>
              <a:ea typeface="+mn-ea"/>
              <a:cs typeface="+mn-cs"/>
            </a:endParaRPr>
          </a:p>
        </p:txBody>
      </p:sp>
      <p:grpSp>
        <p:nvGrpSpPr>
          <p:cNvPr id="5" name="Agrupar 4">
            <a:extLst>
              <a:ext uri="{FF2B5EF4-FFF2-40B4-BE49-F238E27FC236}">
                <a16:creationId xmlns:a16="http://schemas.microsoft.com/office/drawing/2014/main" id="{499CBABD-496F-EAC7-44CD-B29534779D93}"/>
              </a:ext>
            </a:extLst>
          </p:cNvPr>
          <p:cNvGrpSpPr/>
          <p:nvPr/>
        </p:nvGrpSpPr>
        <p:grpSpPr>
          <a:xfrm>
            <a:off x="5464729" y="4672903"/>
            <a:ext cx="5706836" cy="1077474"/>
            <a:chOff x="5464729" y="4672903"/>
            <a:chExt cx="5706836" cy="1077474"/>
          </a:xfrm>
        </p:grpSpPr>
        <p:sp>
          <p:nvSpPr>
            <p:cNvPr id="271" name="Retângulo 270">
              <a:extLst>
                <a:ext uri="{FF2B5EF4-FFF2-40B4-BE49-F238E27FC236}">
                  <a16:creationId xmlns:a16="http://schemas.microsoft.com/office/drawing/2014/main" id="{3818E901-46D5-4501-C1D1-E6EC06254C6E}"/>
                </a:ext>
              </a:extLst>
            </p:cNvPr>
            <p:cNvSpPr/>
            <p:nvPr/>
          </p:nvSpPr>
          <p:spPr>
            <a:xfrm>
              <a:off x="6671565" y="4672903"/>
              <a:ext cx="4500000" cy="107747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800" b="0" i="0" u="none" strike="noStrike" kern="1200" cap="none" spc="30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 Black" panose="020B0903020204020204" pitchFamily="34" charset="0"/>
                  <a:ea typeface="+mn-ea"/>
                  <a:cs typeface="Itau Display Black" panose="020B0903020204020204" pitchFamily="34" charset="0"/>
                </a:rPr>
                <a:t>risco</a:t>
              </a:r>
            </a:p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801" b="0" i="0" u="none" strike="noStrike" kern="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 Light" panose="020B0403020204020204" pitchFamily="34" charset="0"/>
                  <a:ea typeface="+mn-ea"/>
                  <a:cs typeface="Itau Display Light" panose="020B0403020204020204" pitchFamily="34" charset="0"/>
                </a:rPr>
                <a:t>Mitigar os riscos associados à </a:t>
              </a:r>
              <a:r>
                <a:rPr kumimoji="0" lang="pt-BR" sz="1801" b="0" i="0" u="none" strike="noStrike" kern="0" cap="none" spc="0" normalizeH="0" baseline="0" noProof="0">
                  <a:ln>
                    <a:noFill/>
                  </a:ln>
                  <a:solidFill>
                    <a:srgbClr val="FF8D00"/>
                  </a:solidFill>
                  <a:effectLst/>
                  <a:uLnTx/>
                  <a:uFillTx/>
                  <a:latin typeface="Itau Display XBold" panose="020B0803020204020204" pitchFamily="34" charset="0"/>
                  <a:ea typeface="+mn-ea"/>
                  <a:cs typeface="Itau Display XBold" panose="020B0803020204020204" pitchFamily="34" charset="0"/>
                </a:rPr>
                <a:t>dependência da </a:t>
              </a:r>
              <a:r>
                <a:rPr kumimoji="0" lang="pt-BR" sz="1801" b="0" i="0" u="none" strike="noStrike" kern="0" cap="none" spc="0" normalizeH="0" baseline="0" noProof="0" err="1">
                  <a:ln>
                    <a:noFill/>
                  </a:ln>
                  <a:solidFill>
                    <a:srgbClr val="FF8D00"/>
                  </a:solidFill>
                  <a:effectLst/>
                  <a:uLnTx/>
                  <a:uFillTx/>
                  <a:latin typeface="Itau Display XBold" panose="020B0803020204020204" pitchFamily="34" charset="0"/>
                  <a:ea typeface="+mn-ea"/>
                  <a:cs typeface="Itau Display XBold" panose="020B0803020204020204" pitchFamily="34" charset="0"/>
                </a:rPr>
                <a:t>Valid</a:t>
              </a:r>
              <a:r>
                <a:rPr kumimoji="0" lang="pt-BR" sz="1801" b="0" i="0" u="none" strike="noStrike" kern="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 Light" panose="020B0403020204020204" pitchFamily="34" charset="0"/>
                  <a:ea typeface="+mn-ea"/>
                  <a:cs typeface="Itau Display Light" panose="020B0403020204020204" pitchFamily="34" charset="0"/>
                </a:rPr>
                <a:t> na entrega de correspondências digitais. </a:t>
              </a:r>
              <a:endParaRPr kumimoji="0" lang="pt-BR" sz="1801" b="0" i="0" u="none" strike="noStrike" kern="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endParaRPr>
            </a:p>
          </p:txBody>
        </p:sp>
        <p:grpSp>
          <p:nvGrpSpPr>
            <p:cNvPr id="405" name="Agrupar 404">
              <a:extLst>
                <a:ext uri="{FF2B5EF4-FFF2-40B4-BE49-F238E27FC236}">
                  <a16:creationId xmlns:a16="http://schemas.microsoft.com/office/drawing/2014/main" id="{D2B335E1-B0AD-D297-76A4-14936A634692}"/>
                </a:ext>
              </a:extLst>
            </p:cNvPr>
            <p:cNvGrpSpPr/>
            <p:nvPr/>
          </p:nvGrpSpPr>
          <p:grpSpPr>
            <a:xfrm>
              <a:off x="5464729" y="4804966"/>
              <a:ext cx="913348" cy="813349"/>
              <a:chOff x="14269214" y="2013243"/>
              <a:chExt cx="419100" cy="373214"/>
            </a:xfrm>
          </p:grpSpPr>
          <p:sp>
            <p:nvSpPr>
              <p:cNvPr id="406" name="Forma Livre: Forma 405">
                <a:extLst>
                  <a:ext uri="{FF2B5EF4-FFF2-40B4-BE49-F238E27FC236}">
                    <a16:creationId xmlns:a16="http://schemas.microsoft.com/office/drawing/2014/main" id="{35D824D7-BBA0-E6C1-0BB2-3E2B9949A233}"/>
                  </a:ext>
                </a:extLst>
              </p:cNvPr>
              <p:cNvSpPr/>
              <p:nvPr/>
            </p:nvSpPr>
            <p:spPr>
              <a:xfrm>
                <a:off x="14269214" y="2013243"/>
                <a:ext cx="419100" cy="352425"/>
              </a:xfrm>
              <a:custGeom>
                <a:avLst/>
                <a:gdLst>
                  <a:gd name="connsiteX0" fmla="*/ 146873 w 419100"/>
                  <a:gd name="connsiteY0" fmla="*/ 354163 h 352425"/>
                  <a:gd name="connsiteX1" fmla="*/ 19047 w 419100"/>
                  <a:gd name="connsiteY1" fmla="*/ 354163 h 352425"/>
                  <a:gd name="connsiteX2" fmla="*/ 2855 w 419100"/>
                  <a:gd name="connsiteY2" fmla="*/ 325112 h 352425"/>
                  <a:gd name="connsiteX3" fmla="*/ 197355 w 419100"/>
                  <a:gd name="connsiteY3" fmla="*/ 9073 h 352425"/>
                  <a:gd name="connsiteX4" fmla="*/ 229835 w 419100"/>
                  <a:gd name="connsiteY4" fmla="*/ 9073 h 352425"/>
                  <a:gd name="connsiteX5" fmla="*/ 424336 w 419100"/>
                  <a:gd name="connsiteY5" fmla="*/ 325112 h 352425"/>
                  <a:gd name="connsiteX6" fmla="*/ 408143 w 419100"/>
                  <a:gd name="connsiteY6" fmla="*/ 354163 h 352425"/>
                  <a:gd name="connsiteX7" fmla="*/ 280223 w 419100"/>
                  <a:gd name="connsiteY7" fmla="*/ 354163 h 352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9100" h="352425">
                    <a:moveTo>
                      <a:pt x="146873" y="354163"/>
                    </a:moveTo>
                    <a:lnTo>
                      <a:pt x="19047" y="354163"/>
                    </a:lnTo>
                    <a:cubicBezTo>
                      <a:pt x="4188" y="354163"/>
                      <a:pt x="-4956" y="337780"/>
                      <a:pt x="2855" y="325112"/>
                    </a:cubicBezTo>
                    <a:lnTo>
                      <a:pt x="197355" y="9073"/>
                    </a:lnTo>
                    <a:cubicBezTo>
                      <a:pt x="204785" y="-3024"/>
                      <a:pt x="222406" y="-3024"/>
                      <a:pt x="229835" y="9073"/>
                    </a:cubicBezTo>
                    <a:lnTo>
                      <a:pt x="424336" y="325112"/>
                    </a:lnTo>
                    <a:cubicBezTo>
                      <a:pt x="432146" y="337780"/>
                      <a:pt x="423002" y="354163"/>
                      <a:pt x="408143" y="354163"/>
                    </a:cubicBezTo>
                    <a:lnTo>
                      <a:pt x="280223" y="354163"/>
                    </a:lnTo>
                  </a:path>
                </a:pathLst>
              </a:custGeom>
              <a:noFill/>
              <a:ln w="19050" cap="rnd">
                <a:solidFill>
                  <a:srgbClr val="7F7F7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3174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2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7" name="Forma Livre: Forma 406">
                <a:extLst>
                  <a:ext uri="{FF2B5EF4-FFF2-40B4-BE49-F238E27FC236}">
                    <a16:creationId xmlns:a16="http://schemas.microsoft.com/office/drawing/2014/main" id="{E1E75F94-B715-9F4E-8C13-950630ADEED4}"/>
                  </a:ext>
                </a:extLst>
              </p:cNvPr>
              <p:cNvSpPr/>
              <p:nvPr/>
            </p:nvSpPr>
            <p:spPr>
              <a:xfrm>
                <a:off x="14454187" y="2329307"/>
                <a:ext cx="57150" cy="57150"/>
              </a:xfrm>
              <a:custGeom>
                <a:avLst/>
                <a:gdLst>
                  <a:gd name="connsiteX0" fmla="*/ 28575 w 57150"/>
                  <a:gd name="connsiteY0" fmla="*/ 0 h 57150"/>
                  <a:gd name="connsiteX1" fmla="*/ 0 w 57150"/>
                  <a:gd name="connsiteY1" fmla="*/ 28575 h 57150"/>
                  <a:gd name="connsiteX2" fmla="*/ 28575 w 57150"/>
                  <a:gd name="connsiteY2" fmla="*/ 57150 h 57150"/>
                  <a:gd name="connsiteX3" fmla="*/ 57150 w 57150"/>
                  <a:gd name="connsiteY3" fmla="*/ 28575 h 57150"/>
                  <a:gd name="connsiteX4" fmla="*/ 28575 w 57150"/>
                  <a:gd name="connsiteY4" fmla="*/ 0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150" h="57150">
                    <a:moveTo>
                      <a:pt x="28575" y="0"/>
                    </a:moveTo>
                    <a:cubicBezTo>
                      <a:pt x="12763" y="0"/>
                      <a:pt x="0" y="12763"/>
                      <a:pt x="0" y="28575"/>
                    </a:cubicBezTo>
                    <a:cubicBezTo>
                      <a:pt x="0" y="44386"/>
                      <a:pt x="12763" y="57150"/>
                      <a:pt x="28575" y="57150"/>
                    </a:cubicBezTo>
                    <a:cubicBezTo>
                      <a:pt x="44387" y="57150"/>
                      <a:pt x="57150" y="44386"/>
                      <a:pt x="57150" y="28575"/>
                    </a:cubicBezTo>
                    <a:cubicBezTo>
                      <a:pt x="57150" y="12859"/>
                      <a:pt x="44387" y="0"/>
                      <a:pt x="28575" y="0"/>
                    </a:cubicBezTo>
                    <a:close/>
                  </a:path>
                </a:pathLst>
              </a:custGeom>
              <a:noFill/>
              <a:ln w="19050" cap="rnd">
                <a:solidFill>
                  <a:srgbClr val="7F7F7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3174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2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8" name="Forma Livre: Forma 407">
                <a:extLst>
                  <a:ext uri="{FF2B5EF4-FFF2-40B4-BE49-F238E27FC236}">
                    <a16:creationId xmlns:a16="http://schemas.microsoft.com/office/drawing/2014/main" id="{99C27B32-2D47-1335-5297-251EC6CF0BF0}"/>
                  </a:ext>
                </a:extLst>
              </p:cNvPr>
              <p:cNvSpPr/>
              <p:nvPr/>
            </p:nvSpPr>
            <p:spPr>
              <a:xfrm>
                <a:off x="14454187" y="2119757"/>
                <a:ext cx="57150" cy="171450"/>
              </a:xfrm>
              <a:custGeom>
                <a:avLst/>
                <a:gdLst>
                  <a:gd name="connsiteX0" fmla="*/ 28575 w 57150"/>
                  <a:gd name="connsiteY0" fmla="*/ 0 h 171450"/>
                  <a:gd name="connsiteX1" fmla="*/ 0 w 57150"/>
                  <a:gd name="connsiteY1" fmla="*/ 29623 h 171450"/>
                  <a:gd name="connsiteX2" fmla="*/ 9525 w 57150"/>
                  <a:gd name="connsiteY2" fmla="*/ 152400 h 171450"/>
                  <a:gd name="connsiteX3" fmla="*/ 28575 w 57150"/>
                  <a:gd name="connsiteY3" fmla="*/ 171450 h 171450"/>
                  <a:gd name="connsiteX4" fmla="*/ 47625 w 57150"/>
                  <a:gd name="connsiteY4" fmla="*/ 152400 h 171450"/>
                  <a:gd name="connsiteX5" fmla="*/ 57150 w 57150"/>
                  <a:gd name="connsiteY5" fmla="*/ 29623 h 171450"/>
                  <a:gd name="connsiteX6" fmla="*/ 28575 w 57150"/>
                  <a:gd name="connsiteY6" fmla="*/ 0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150" h="171450">
                    <a:moveTo>
                      <a:pt x="28575" y="0"/>
                    </a:moveTo>
                    <a:cubicBezTo>
                      <a:pt x="12763" y="0"/>
                      <a:pt x="0" y="12287"/>
                      <a:pt x="0" y="29623"/>
                    </a:cubicBezTo>
                    <a:cubicBezTo>
                      <a:pt x="0" y="59531"/>
                      <a:pt x="7144" y="143732"/>
                      <a:pt x="9525" y="152400"/>
                    </a:cubicBezTo>
                    <a:cubicBezTo>
                      <a:pt x="11906" y="161068"/>
                      <a:pt x="18193" y="171450"/>
                      <a:pt x="28575" y="171450"/>
                    </a:cubicBezTo>
                    <a:cubicBezTo>
                      <a:pt x="38957" y="171450"/>
                      <a:pt x="45244" y="161068"/>
                      <a:pt x="47625" y="152400"/>
                    </a:cubicBezTo>
                    <a:cubicBezTo>
                      <a:pt x="50006" y="143732"/>
                      <a:pt x="57150" y="59531"/>
                      <a:pt x="57150" y="29623"/>
                    </a:cubicBezTo>
                    <a:cubicBezTo>
                      <a:pt x="57150" y="12287"/>
                      <a:pt x="44387" y="0"/>
                      <a:pt x="28575" y="0"/>
                    </a:cubicBezTo>
                    <a:close/>
                  </a:path>
                </a:pathLst>
              </a:custGeom>
              <a:noFill/>
              <a:ln w="19050" cap="rnd">
                <a:solidFill>
                  <a:srgbClr val="7F7F7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3174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2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4" name="Agrupar 3">
            <a:extLst>
              <a:ext uri="{FF2B5EF4-FFF2-40B4-BE49-F238E27FC236}">
                <a16:creationId xmlns:a16="http://schemas.microsoft.com/office/drawing/2014/main" id="{004F09D6-02AD-83C4-303A-113B26EDD389}"/>
              </a:ext>
            </a:extLst>
          </p:cNvPr>
          <p:cNvGrpSpPr/>
          <p:nvPr/>
        </p:nvGrpSpPr>
        <p:grpSpPr>
          <a:xfrm>
            <a:off x="5476147" y="2862891"/>
            <a:ext cx="4632920" cy="1077474"/>
            <a:chOff x="5476147" y="2895692"/>
            <a:chExt cx="4632920" cy="1077474"/>
          </a:xfrm>
        </p:grpSpPr>
        <p:sp>
          <p:nvSpPr>
            <p:cNvPr id="273" name="Retângulo 272">
              <a:extLst>
                <a:ext uri="{FF2B5EF4-FFF2-40B4-BE49-F238E27FC236}">
                  <a16:creationId xmlns:a16="http://schemas.microsoft.com/office/drawing/2014/main" id="{C251EB52-A2E3-BB38-4A02-04C561FF4408}"/>
                </a:ext>
              </a:extLst>
            </p:cNvPr>
            <p:cNvSpPr/>
            <p:nvPr/>
          </p:nvSpPr>
          <p:spPr>
            <a:xfrm>
              <a:off x="6671565" y="2895692"/>
              <a:ext cx="3437502" cy="107747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800" b="0" i="0" u="none" strike="noStrike" kern="0" cap="none" spc="30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 Black" panose="020B0903020204020204" pitchFamily="34" charset="0"/>
                  <a:ea typeface="+mn-ea"/>
                  <a:cs typeface="Itau Display Black" panose="020B0903020204020204" pitchFamily="34" charset="0"/>
                </a:rPr>
                <a:t>eficiência</a:t>
              </a:r>
              <a:endParaRPr kumimoji="0" lang="pt-BR" sz="2800" b="0" i="0" u="none" strike="noStrike" kern="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endParaRPr>
            </a:p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801" b="0" i="0" u="none" strike="noStrike" kern="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 Light" panose="020B0403020204020204" pitchFamily="34" charset="0"/>
                  <a:ea typeface="+mn-ea"/>
                  <a:cs typeface="Itau Display Light" panose="020B0403020204020204" pitchFamily="34" charset="0"/>
                </a:rPr>
                <a:t>Reduzir </a:t>
              </a:r>
              <a:r>
                <a:rPr kumimoji="0" lang="pt-BR" sz="1801" b="0" i="0" u="none" strike="noStrike" kern="0" cap="none" spc="0" normalizeH="0" baseline="0" noProof="0">
                  <a:ln>
                    <a:noFill/>
                  </a:ln>
                  <a:solidFill>
                    <a:srgbClr val="FF8D00"/>
                  </a:solidFill>
                  <a:effectLst/>
                  <a:uLnTx/>
                  <a:uFillTx/>
                  <a:latin typeface="Itau Display XBold" panose="020B0803020204020204" pitchFamily="34" charset="0"/>
                  <a:ea typeface="+mn-ea"/>
                  <a:cs typeface="Itau Display XBold" panose="020B0803020204020204" pitchFamily="34" charset="0"/>
                </a:rPr>
                <a:t>custo operacional </a:t>
              </a:r>
              <a:r>
                <a:rPr kumimoji="0" lang="pt-BR" sz="1801" b="0" i="0" u="none" strike="noStrike" kern="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 Light" panose="020B0403020204020204" pitchFamily="34" charset="0"/>
                  <a:ea typeface="+mn-ea"/>
                  <a:cs typeface="Itau Display Light" panose="020B0403020204020204" pitchFamily="34" charset="0"/>
                </a:rPr>
                <a:t>e simplificar a plataforma.</a:t>
              </a:r>
            </a:p>
          </p:txBody>
        </p:sp>
        <p:grpSp>
          <p:nvGrpSpPr>
            <p:cNvPr id="409" name="Agrupar 408">
              <a:extLst>
                <a:ext uri="{FF2B5EF4-FFF2-40B4-BE49-F238E27FC236}">
                  <a16:creationId xmlns:a16="http://schemas.microsoft.com/office/drawing/2014/main" id="{82D37BB7-2616-7881-5503-7AB14FBF21C7}"/>
                </a:ext>
              </a:extLst>
            </p:cNvPr>
            <p:cNvGrpSpPr/>
            <p:nvPr/>
          </p:nvGrpSpPr>
          <p:grpSpPr>
            <a:xfrm>
              <a:off x="5476147" y="2942175"/>
              <a:ext cx="890516" cy="984527"/>
              <a:chOff x="7056841" y="2789117"/>
              <a:chExt cx="371475" cy="410692"/>
            </a:xfrm>
          </p:grpSpPr>
          <p:sp>
            <p:nvSpPr>
              <p:cNvPr id="410" name="Forma Livre: Forma 409">
                <a:extLst>
                  <a:ext uri="{FF2B5EF4-FFF2-40B4-BE49-F238E27FC236}">
                    <a16:creationId xmlns:a16="http://schemas.microsoft.com/office/drawing/2014/main" id="{2648F75E-B91F-9387-56D2-B3DB6ADE3D66}"/>
                  </a:ext>
                </a:extLst>
              </p:cNvPr>
              <p:cNvSpPr/>
              <p:nvPr/>
            </p:nvSpPr>
            <p:spPr>
              <a:xfrm>
                <a:off x="7215146" y="2885484"/>
                <a:ext cx="95250" cy="123825"/>
              </a:xfrm>
              <a:custGeom>
                <a:avLst/>
                <a:gdLst>
                  <a:gd name="connsiteX0" fmla="*/ 98870 w 95250"/>
                  <a:gd name="connsiteY0" fmla="*/ 123920 h 123825"/>
                  <a:gd name="connsiteX1" fmla="*/ 0 w 95250"/>
                  <a:gd name="connsiteY1" fmla="*/ 0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0" h="123825">
                    <a:moveTo>
                      <a:pt x="98870" y="123920"/>
                    </a:moveTo>
                    <a:cubicBezTo>
                      <a:pt x="79820" y="76295"/>
                      <a:pt x="36957" y="36671"/>
                      <a:pt x="0" y="0"/>
                    </a:cubicBezTo>
                  </a:path>
                </a:pathLst>
              </a:custGeom>
              <a:noFill/>
              <a:ln w="19050" cap="rnd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3174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2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1" name="Forma Livre: Forma 410">
                <a:extLst>
                  <a:ext uri="{FF2B5EF4-FFF2-40B4-BE49-F238E27FC236}">
                    <a16:creationId xmlns:a16="http://schemas.microsoft.com/office/drawing/2014/main" id="{9A08E257-4B4A-BCFD-1979-B4A23EB81FF7}"/>
                  </a:ext>
                </a:extLst>
              </p:cNvPr>
              <p:cNvSpPr/>
              <p:nvPr/>
            </p:nvSpPr>
            <p:spPr>
              <a:xfrm>
                <a:off x="7161615" y="2980734"/>
                <a:ext cx="57150" cy="114300"/>
              </a:xfrm>
              <a:custGeom>
                <a:avLst/>
                <a:gdLst>
                  <a:gd name="connsiteX0" fmla="*/ 0 w 57150"/>
                  <a:gd name="connsiteY0" fmla="*/ 85820 h 114300"/>
                  <a:gd name="connsiteX1" fmla="*/ 0 w 57150"/>
                  <a:gd name="connsiteY1" fmla="*/ 95345 h 114300"/>
                  <a:gd name="connsiteX2" fmla="*/ 19050 w 57150"/>
                  <a:gd name="connsiteY2" fmla="*/ 114395 h 114300"/>
                  <a:gd name="connsiteX3" fmla="*/ 38100 w 57150"/>
                  <a:gd name="connsiteY3" fmla="*/ 114395 h 114300"/>
                  <a:gd name="connsiteX4" fmla="*/ 57150 w 57150"/>
                  <a:gd name="connsiteY4" fmla="*/ 95345 h 114300"/>
                  <a:gd name="connsiteX5" fmla="*/ 57150 w 57150"/>
                  <a:gd name="connsiteY5" fmla="*/ 80486 h 114300"/>
                  <a:gd name="connsiteX6" fmla="*/ 44101 w 57150"/>
                  <a:gd name="connsiteY6" fmla="*/ 62389 h 114300"/>
                  <a:gd name="connsiteX7" fmla="*/ 13049 w 57150"/>
                  <a:gd name="connsiteY7" fmla="*/ 52007 h 114300"/>
                  <a:gd name="connsiteX8" fmla="*/ 0 w 57150"/>
                  <a:gd name="connsiteY8" fmla="*/ 33909 h 114300"/>
                  <a:gd name="connsiteX9" fmla="*/ 0 w 57150"/>
                  <a:gd name="connsiteY9" fmla="*/ 19050 h 114300"/>
                  <a:gd name="connsiteX10" fmla="*/ 19050 w 57150"/>
                  <a:gd name="connsiteY10" fmla="*/ 0 h 114300"/>
                  <a:gd name="connsiteX11" fmla="*/ 38100 w 57150"/>
                  <a:gd name="connsiteY11" fmla="*/ 0 h 114300"/>
                  <a:gd name="connsiteX12" fmla="*/ 57150 w 57150"/>
                  <a:gd name="connsiteY12" fmla="*/ 19050 h 114300"/>
                  <a:gd name="connsiteX13" fmla="*/ 57150 w 57150"/>
                  <a:gd name="connsiteY13" fmla="*/ 28575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7150" h="114300">
                    <a:moveTo>
                      <a:pt x="0" y="85820"/>
                    </a:moveTo>
                    <a:lnTo>
                      <a:pt x="0" y="95345"/>
                    </a:lnTo>
                    <a:cubicBezTo>
                      <a:pt x="0" y="105823"/>
                      <a:pt x="8573" y="114395"/>
                      <a:pt x="19050" y="114395"/>
                    </a:cubicBezTo>
                    <a:lnTo>
                      <a:pt x="38100" y="114395"/>
                    </a:lnTo>
                    <a:cubicBezTo>
                      <a:pt x="48578" y="114395"/>
                      <a:pt x="57150" y="105823"/>
                      <a:pt x="57150" y="95345"/>
                    </a:cubicBezTo>
                    <a:lnTo>
                      <a:pt x="57150" y="80486"/>
                    </a:lnTo>
                    <a:cubicBezTo>
                      <a:pt x="57150" y="72295"/>
                      <a:pt x="51911" y="64961"/>
                      <a:pt x="44101" y="62389"/>
                    </a:cubicBezTo>
                    <a:lnTo>
                      <a:pt x="13049" y="52007"/>
                    </a:lnTo>
                    <a:cubicBezTo>
                      <a:pt x="5239" y="49435"/>
                      <a:pt x="0" y="42100"/>
                      <a:pt x="0" y="33909"/>
                    </a:cubicBezTo>
                    <a:lnTo>
                      <a:pt x="0" y="19050"/>
                    </a:lnTo>
                    <a:cubicBezTo>
                      <a:pt x="0" y="8572"/>
                      <a:pt x="8573" y="0"/>
                      <a:pt x="19050" y="0"/>
                    </a:cubicBezTo>
                    <a:lnTo>
                      <a:pt x="38100" y="0"/>
                    </a:lnTo>
                    <a:cubicBezTo>
                      <a:pt x="48578" y="0"/>
                      <a:pt x="57150" y="8572"/>
                      <a:pt x="57150" y="19050"/>
                    </a:cubicBezTo>
                    <a:lnTo>
                      <a:pt x="57150" y="28575"/>
                    </a:lnTo>
                  </a:path>
                </a:pathLst>
              </a:custGeom>
              <a:noFill/>
              <a:ln w="19050" cap="rnd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3174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2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2" name="Forma Livre: Forma 411">
                <a:extLst>
                  <a:ext uri="{FF2B5EF4-FFF2-40B4-BE49-F238E27FC236}">
                    <a16:creationId xmlns:a16="http://schemas.microsoft.com/office/drawing/2014/main" id="{D9001C1E-3505-69ED-BAA6-9A9EF0EDF035}"/>
                  </a:ext>
                </a:extLst>
              </p:cNvPr>
              <p:cNvSpPr/>
              <p:nvPr/>
            </p:nvSpPr>
            <p:spPr>
              <a:xfrm>
                <a:off x="7190191" y="2952254"/>
                <a:ext cx="9525" cy="28575"/>
              </a:xfrm>
              <a:custGeom>
                <a:avLst/>
                <a:gdLst>
                  <a:gd name="connsiteX0" fmla="*/ 0 w 0"/>
                  <a:gd name="connsiteY0" fmla="*/ 28575 h 28575"/>
                  <a:gd name="connsiteX1" fmla="*/ 0 w 0"/>
                  <a:gd name="connsiteY1" fmla="*/ 0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8575">
                    <a:moveTo>
                      <a:pt x="0" y="28575"/>
                    </a:moveTo>
                    <a:lnTo>
                      <a:pt x="0" y="0"/>
                    </a:lnTo>
                  </a:path>
                </a:pathLst>
              </a:custGeom>
              <a:ln w="19050" cap="rnd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3174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2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3" name="Forma Livre: Forma 412">
                <a:extLst>
                  <a:ext uri="{FF2B5EF4-FFF2-40B4-BE49-F238E27FC236}">
                    <a16:creationId xmlns:a16="http://schemas.microsoft.com/office/drawing/2014/main" id="{EEDAA76A-1D6B-804C-B983-7E75537008A2}"/>
                  </a:ext>
                </a:extLst>
              </p:cNvPr>
              <p:cNvSpPr/>
              <p:nvPr/>
            </p:nvSpPr>
            <p:spPr>
              <a:xfrm>
                <a:off x="7190191" y="3095129"/>
                <a:ext cx="9525" cy="28575"/>
              </a:xfrm>
              <a:custGeom>
                <a:avLst/>
                <a:gdLst>
                  <a:gd name="connsiteX0" fmla="*/ 0 w 0"/>
                  <a:gd name="connsiteY0" fmla="*/ 0 h 28575"/>
                  <a:gd name="connsiteX1" fmla="*/ 0 w 0"/>
                  <a:gd name="connsiteY1" fmla="*/ 28575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8575">
                    <a:moveTo>
                      <a:pt x="0" y="0"/>
                    </a:moveTo>
                    <a:lnTo>
                      <a:pt x="0" y="28575"/>
                    </a:lnTo>
                  </a:path>
                </a:pathLst>
              </a:custGeom>
              <a:ln w="19050" cap="rnd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3174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2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4" name="Forma Livre: Forma 413">
                <a:extLst>
                  <a:ext uri="{FF2B5EF4-FFF2-40B4-BE49-F238E27FC236}">
                    <a16:creationId xmlns:a16="http://schemas.microsoft.com/office/drawing/2014/main" id="{8FA6CC35-DEB1-7602-6159-6F3C3D39E181}"/>
                  </a:ext>
                </a:extLst>
              </p:cNvPr>
              <p:cNvSpPr/>
              <p:nvPr/>
            </p:nvSpPr>
            <p:spPr>
              <a:xfrm>
                <a:off x="7128910" y="2789117"/>
                <a:ext cx="114300" cy="104775"/>
              </a:xfrm>
              <a:custGeom>
                <a:avLst/>
                <a:gdLst>
                  <a:gd name="connsiteX0" fmla="*/ 86331 w 114300"/>
                  <a:gd name="connsiteY0" fmla="*/ 97224 h 104775"/>
                  <a:gd name="connsiteX1" fmla="*/ 61280 w 114300"/>
                  <a:gd name="connsiteY1" fmla="*/ 105987 h 104775"/>
                  <a:gd name="connsiteX2" fmla="*/ 36230 w 114300"/>
                  <a:gd name="connsiteY2" fmla="*/ 97224 h 104775"/>
                  <a:gd name="connsiteX3" fmla="*/ 35 w 114300"/>
                  <a:gd name="connsiteY3" fmla="*/ 18548 h 104775"/>
                  <a:gd name="connsiteX4" fmla="*/ 61280 w 114300"/>
                  <a:gd name="connsiteY4" fmla="*/ 5403 h 104775"/>
                  <a:gd name="connsiteX5" fmla="*/ 115001 w 114300"/>
                  <a:gd name="connsiteY5" fmla="*/ 13023 h 104775"/>
                  <a:gd name="connsiteX6" fmla="*/ 86331 w 114300"/>
                  <a:gd name="connsiteY6" fmla="*/ 97224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4300" h="104775">
                    <a:moveTo>
                      <a:pt x="86331" y="97224"/>
                    </a:moveTo>
                    <a:cubicBezTo>
                      <a:pt x="83378" y="102368"/>
                      <a:pt x="69186" y="105987"/>
                      <a:pt x="61280" y="105987"/>
                    </a:cubicBezTo>
                    <a:cubicBezTo>
                      <a:pt x="53470" y="105987"/>
                      <a:pt x="39373" y="101987"/>
                      <a:pt x="36230" y="97224"/>
                    </a:cubicBezTo>
                    <a:cubicBezTo>
                      <a:pt x="36230" y="97224"/>
                      <a:pt x="-1299" y="21310"/>
                      <a:pt x="35" y="18548"/>
                    </a:cubicBezTo>
                    <a:cubicBezTo>
                      <a:pt x="12227" y="-6027"/>
                      <a:pt x="37563" y="-1359"/>
                      <a:pt x="61280" y="5403"/>
                    </a:cubicBezTo>
                    <a:cubicBezTo>
                      <a:pt x="95094" y="15024"/>
                      <a:pt x="108524" y="13214"/>
                      <a:pt x="115001" y="13023"/>
                    </a:cubicBezTo>
                    <a:cubicBezTo>
                      <a:pt x="115668" y="23025"/>
                      <a:pt x="86331" y="97224"/>
                      <a:pt x="86331" y="97224"/>
                    </a:cubicBezTo>
                    <a:close/>
                  </a:path>
                </a:pathLst>
              </a:custGeom>
              <a:noFill/>
              <a:ln w="19050" cap="rnd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3174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2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5" name="Forma Livre: Forma 414">
                <a:extLst>
                  <a:ext uri="{FF2B5EF4-FFF2-40B4-BE49-F238E27FC236}">
                    <a16:creationId xmlns:a16="http://schemas.microsoft.com/office/drawing/2014/main" id="{070D079B-9FE8-0CE5-D923-CF625F359F84}"/>
                  </a:ext>
                </a:extLst>
              </p:cNvPr>
              <p:cNvSpPr/>
              <p:nvPr/>
            </p:nvSpPr>
            <p:spPr>
              <a:xfrm>
                <a:off x="7056841" y="2885484"/>
                <a:ext cx="371475" cy="314325"/>
              </a:xfrm>
              <a:custGeom>
                <a:avLst/>
                <a:gdLst>
                  <a:gd name="connsiteX0" fmla="*/ 108395 w 371475"/>
                  <a:gd name="connsiteY0" fmla="*/ 0 h 314325"/>
                  <a:gd name="connsiteX1" fmla="*/ 0 w 371475"/>
                  <a:gd name="connsiteY1" fmla="*/ 181928 h 314325"/>
                  <a:gd name="connsiteX2" fmla="*/ 133350 w 371475"/>
                  <a:gd name="connsiteY2" fmla="*/ 285845 h 314325"/>
                  <a:gd name="connsiteX3" fmla="*/ 278035 w 371475"/>
                  <a:gd name="connsiteY3" fmla="*/ 197929 h 314325"/>
                  <a:gd name="connsiteX4" fmla="*/ 244221 w 371475"/>
                  <a:gd name="connsiteY4" fmla="*/ 164116 h 314325"/>
                  <a:gd name="connsiteX5" fmla="*/ 373952 w 371475"/>
                  <a:gd name="connsiteY5" fmla="*/ 135922 h 314325"/>
                  <a:gd name="connsiteX6" fmla="*/ 345758 w 371475"/>
                  <a:gd name="connsiteY6" fmla="*/ 265652 h 314325"/>
                  <a:gd name="connsiteX7" fmla="*/ 317564 w 371475"/>
                  <a:gd name="connsiteY7" fmla="*/ 237458 h 314325"/>
                  <a:gd name="connsiteX8" fmla="*/ 300609 w 371475"/>
                  <a:gd name="connsiteY8" fmla="*/ 254413 h 314325"/>
                  <a:gd name="connsiteX9" fmla="*/ 200025 w 371475"/>
                  <a:gd name="connsiteY9" fmla="*/ 314516 h 314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1475" h="314325">
                    <a:moveTo>
                      <a:pt x="108395" y="0"/>
                    </a:moveTo>
                    <a:cubicBezTo>
                      <a:pt x="49816" y="58007"/>
                      <a:pt x="95" y="128778"/>
                      <a:pt x="0" y="181928"/>
                    </a:cubicBezTo>
                    <a:cubicBezTo>
                      <a:pt x="0" y="255365"/>
                      <a:pt x="59626" y="285845"/>
                      <a:pt x="133350" y="285845"/>
                    </a:cubicBezTo>
                    <a:cubicBezTo>
                      <a:pt x="228600" y="285845"/>
                      <a:pt x="278035" y="197929"/>
                      <a:pt x="278035" y="197929"/>
                    </a:cubicBezTo>
                    <a:lnTo>
                      <a:pt x="244221" y="164116"/>
                    </a:lnTo>
                    <a:lnTo>
                      <a:pt x="373952" y="135922"/>
                    </a:lnTo>
                    <a:lnTo>
                      <a:pt x="345758" y="265652"/>
                    </a:lnTo>
                    <a:lnTo>
                      <a:pt x="317564" y="237458"/>
                    </a:lnTo>
                    <a:lnTo>
                      <a:pt x="300609" y="254413"/>
                    </a:lnTo>
                    <a:cubicBezTo>
                      <a:pt x="275368" y="281273"/>
                      <a:pt x="238125" y="295466"/>
                      <a:pt x="200025" y="314516"/>
                    </a:cubicBezTo>
                  </a:path>
                </a:pathLst>
              </a:custGeom>
              <a:noFill/>
              <a:ln w="19050" cap="rnd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3174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2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" name="Agrupar 2">
            <a:extLst>
              <a:ext uri="{FF2B5EF4-FFF2-40B4-BE49-F238E27FC236}">
                <a16:creationId xmlns:a16="http://schemas.microsoft.com/office/drawing/2014/main" id="{0F8FB881-B9FF-8C26-1FC3-5BF7F3A2F66A}"/>
              </a:ext>
            </a:extLst>
          </p:cNvPr>
          <p:cNvGrpSpPr/>
          <p:nvPr/>
        </p:nvGrpSpPr>
        <p:grpSpPr>
          <a:xfrm>
            <a:off x="5464705" y="775751"/>
            <a:ext cx="5994860" cy="1354602"/>
            <a:chOff x="5464705" y="775751"/>
            <a:chExt cx="5994860" cy="1354602"/>
          </a:xfrm>
        </p:grpSpPr>
        <p:sp>
          <p:nvSpPr>
            <p:cNvPr id="272" name="Retângulo 271">
              <a:extLst>
                <a:ext uri="{FF2B5EF4-FFF2-40B4-BE49-F238E27FC236}">
                  <a16:creationId xmlns:a16="http://schemas.microsoft.com/office/drawing/2014/main" id="{4799F20A-C0F0-5391-04D0-A816BDBD351D}"/>
                </a:ext>
              </a:extLst>
            </p:cNvPr>
            <p:cNvSpPr/>
            <p:nvPr/>
          </p:nvSpPr>
          <p:spPr>
            <a:xfrm>
              <a:off x="6671565" y="775751"/>
              <a:ext cx="4788000" cy="135460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800" b="0" i="0" u="none" strike="noStrike" kern="0" cap="none" spc="30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 Black" panose="020B0903020204020204" pitchFamily="34" charset="0"/>
                  <a:ea typeface="+mn-ea"/>
                  <a:cs typeface="Itau Display Black" panose="020B0903020204020204" pitchFamily="34" charset="0"/>
                </a:rPr>
                <a:t>cliente</a:t>
              </a:r>
              <a:endParaRPr kumimoji="0" lang="pt-BR" sz="2800" b="0" i="0" u="none" strike="noStrike" kern="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endParaRPr>
            </a:p>
            <a:p>
              <a:pPr marL="0" marR="0" lvl="0" indent="0" algn="l" defTabSz="9144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801" b="0" i="0" u="none" strike="noStrike" kern="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 Light" panose="020B0403020204020204" pitchFamily="34" charset="0"/>
                  <a:ea typeface="+mn-ea"/>
                  <a:cs typeface="Itau Display Light" panose="020B0403020204020204" pitchFamily="34" charset="0"/>
                </a:rPr>
                <a:t>Simplificar a </a:t>
              </a:r>
              <a:r>
                <a:rPr kumimoji="0" lang="pt-BR" sz="1801" b="0" i="0" u="none" strike="noStrike" kern="0" cap="none" spc="0" normalizeH="0" baseline="0" noProof="0">
                  <a:ln>
                    <a:noFill/>
                  </a:ln>
                  <a:solidFill>
                    <a:srgbClr val="FF8D00"/>
                  </a:solidFill>
                  <a:effectLst/>
                  <a:uLnTx/>
                  <a:uFillTx/>
                  <a:latin typeface="Itau Display XBold" panose="020B0803020204020204" pitchFamily="34" charset="0"/>
                  <a:ea typeface="+mn-ea"/>
                  <a:cs typeface="Itau Display XBold" panose="020B0803020204020204" pitchFamily="34" charset="0"/>
                </a:rPr>
                <a:t>experiência do cliente </a:t>
              </a:r>
              <a:r>
                <a:rPr kumimoji="0" lang="pt-BR" sz="1801" b="0" i="0" u="none" strike="noStrike" kern="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 Light" panose="020B0403020204020204" pitchFamily="34" charset="0"/>
                  <a:ea typeface="+mn-ea"/>
                  <a:cs typeface="Itau Display Light" panose="020B0403020204020204" pitchFamily="34" charset="0"/>
                </a:rPr>
                <a:t>para entregar, consultar, reutilizar e receber conteúdos.</a:t>
              </a:r>
            </a:p>
          </p:txBody>
        </p:sp>
        <p:grpSp>
          <p:nvGrpSpPr>
            <p:cNvPr id="416" name="Agrupar 415">
              <a:extLst>
                <a:ext uri="{FF2B5EF4-FFF2-40B4-BE49-F238E27FC236}">
                  <a16:creationId xmlns:a16="http://schemas.microsoft.com/office/drawing/2014/main" id="{2DD665AE-BABA-E575-2A7E-AB335BBBBA34}"/>
                </a:ext>
              </a:extLst>
            </p:cNvPr>
            <p:cNvGrpSpPr/>
            <p:nvPr/>
          </p:nvGrpSpPr>
          <p:grpSpPr>
            <a:xfrm>
              <a:off x="5464705" y="965259"/>
              <a:ext cx="913347" cy="975622"/>
              <a:chOff x="9295032" y="7450360"/>
              <a:chExt cx="419100" cy="447675"/>
            </a:xfrm>
          </p:grpSpPr>
          <p:sp>
            <p:nvSpPr>
              <p:cNvPr id="417" name="Forma Livre: Forma 416">
                <a:extLst>
                  <a:ext uri="{FF2B5EF4-FFF2-40B4-BE49-F238E27FC236}">
                    <a16:creationId xmlns:a16="http://schemas.microsoft.com/office/drawing/2014/main" id="{CF3D7BF2-C019-A368-CFF3-4A62EF1FCC10}"/>
                  </a:ext>
                </a:extLst>
              </p:cNvPr>
              <p:cNvSpPr/>
              <p:nvPr/>
            </p:nvSpPr>
            <p:spPr>
              <a:xfrm>
                <a:off x="9342657" y="7650290"/>
                <a:ext cx="76200" cy="95250"/>
              </a:xfrm>
              <a:custGeom>
                <a:avLst/>
                <a:gdLst>
                  <a:gd name="connsiteX0" fmla="*/ 38100 w 76200"/>
                  <a:gd name="connsiteY0" fmla="*/ 95345 h 95250"/>
                  <a:gd name="connsiteX1" fmla="*/ 0 w 76200"/>
                  <a:gd name="connsiteY1" fmla="*/ 54483 h 95250"/>
                  <a:gd name="connsiteX2" fmla="*/ 0 w 76200"/>
                  <a:gd name="connsiteY2" fmla="*/ 40862 h 95250"/>
                  <a:gd name="connsiteX3" fmla="*/ 38100 w 76200"/>
                  <a:gd name="connsiteY3" fmla="*/ 0 h 95250"/>
                  <a:gd name="connsiteX4" fmla="*/ 76200 w 76200"/>
                  <a:gd name="connsiteY4" fmla="*/ 40862 h 95250"/>
                  <a:gd name="connsiteX5" fmla="*/ 76200 w 76200"/>
                  <a:gd name="connsiteY5" fmla="*/ 54483 h 95250"/>
                  <a:gd name="connsiteX6" fmla="*/ 38100 w 76200"/>
                  <a:gd name="connsiteY6" fmla="*/ 95345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6200" h="95250">
                    <a:moveTo>
                      <a:pt x="38100" y="95345"/>
                    </a:moveTo>
                    <a:cubicBezTo>
                      <a:pt x="15621" y="95345"/>
                      <a:pt x="0" y="77057"/>
                      <a:pt x="0" y="54483"/>
                    </a:cubicBezTo>
                    <a:lnTo>
                      <a:pt x="0" y="40862"/>
                    </a:lnTo>
                    <a:cubicBezTo>
                      <a:pt x="0" y="18288"/>
                      <a:pt x="15621" y="0"/>
                      <a:pt x="38100" y="0"/>
                    </a:cubicBezTo>
                    <a:cubicBezTo>
                      <a:pt x="60579" y="0"/>
                      <a:pt x="76200" y="18288"/>
                      <a:pt x="76200" y="40862"/>
                    </a:cubicBezTo>
                    <a:lnTo>
                      <a:pt x="76200" y="54483"/>
                    </a:lnTo>
                    <a:cubicBezTo>
                      <a:pt x="76200" y="77057"/>
                      <a:pt x="60579" y="95345"/>
                      <a:pt x="38100" y="95345"/>
                    </a:cubicBezTo>
                    <a:close/>
                  </a:path>
                </a:pathLst>
              </a:custGeom>
              <a:noFill/>
              <a:ln w="19050" cap="rnd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3174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2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8" name="Forma Livre: Forma 417">
                <a:extLst>
                  <a:ext uri="{FF2B5EF4-FFF2-40B4-BE49-F238E27FC236}">
                    <a16:creationId xmlns:a16="http://schemas.microsoft.com/office/drawing/2014/main" id="{BBB8D19E-DFDF-0154-AD9D-4F2702FCECC0}"/>
                  </a:ext>
                </a:extLst>
              </p:cNvPr>
              <p:cNvSpPr/>
              <p:nvPr/>
            </p:nvSpPr>
            <p:spPr>
              <a:xfrm>
                <a:off x="9295032" y="7774210"/>
                <a:ext cx="180975" cy="114300"/>
              </a:xfrm>
              <a:custGeom>
                <a:avLst/>
                <a:gdLst>
                  <a:gd name="connsiteX0" fmla="*/ 0 w 180975"/>
                  <a:gd name="connsiteY0" fmla="*/ 114300 h 114300"/>
                  <a:gd name="connsiteX1" fmla="*/ 9525 w 180975"/>
                  <a:gd name="connsiteY1" fmla="*/ 38100 h 114300"/>
                  <a:gd name="connsiteX2" fmla="*/ 47625 w 180975"/>
                  <a:gd name="connsiteY2" fmla="*/ 0 h 114300"/>
                  <a:gd name="connsiteX3" fmla="*/ 66675 w 180975"/>
                  <a:gd name="connsiteY3" fmla="*/ 0 h 114300"/>
                  <a:gd name="connsiteX4" fmla="*/ 133159 w 180975"/>
                  <a:gd name="connsiteY4" fmla="*/ 76200 h 114300"/>
                  <a:gd name="connsiteX5" fmla="*/ 190310 w 180975"/>
                  <a:gd name="connsiteY5" fmla="*/ 76200 h 114300"/>
                  <a:gd name="connsiteX6" fmla="*/ 161735 w 180975"/>
                  <a:gd name="connsiteY6" fmla="*/ 114300 h 114300"/>
                  <a:gd name="connsiteX7" fmla="*/ 104775 w 180975"/>
                  <a:gd name="connsiteY7" fmla="*/ 114300 h 114300"/>
                  <a:gd name="connsiteX8" fmla="*/ 57150 w 180975"/>
                  <a:gd name="connsiteY8" fmla="*/ 57150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0975" h="114300">
                    <a:moveTo>
                      <a:pt x="0" y="114300"/>
                    </a:moveTo>
                    <a:cubicBezTo>
                      <a:pt x="0" y="114300"/>
                      <a:pt x="6287" y="61341"/>
                      <a:pt x="9525" y="38100"/>
                    </a:cubicBezTo>
                    <a:cubicBezTo>
                      <a:pt x="12763" y="14859"/>
                      <a:pt x="26670" y="0"/>
                      <a:pt x="47625" y="0"/>
                    </a:cubicBezTo>
                    <a:lnTo>
                      <a:pt x="66675" y="0"/>
                    </a:lnTo>
                    <a:lnTo>
                      <a:pt x="133159" y="76200"/>
                    </a:lnTo>
                    <a:lnTo>
                      <a:pt x="190310" y="76200"/>
                    </a:lnTo>
                    <a:cubicBezTo>
                      <a:pt x="190310" y="76200"/>
                      <a:pt x="194596" y="114300"/>
                      <a:pt x="161735" y="114300"/>
                    </a:cubicBezTo>
                    <a:cubicBezTo>
                      <a:pt x="142589" y="114300"/>
                      <a:pt x="104775" y="114300"/>
                      <a:pt x="104775" y="114300"/>
                    </a:cubicBezTo>
                    <a:lnTo>
                      <a:pt x="57150" y="57150"/>
                    </a:lnTo>
                  </a:path>
                </a:pathLst>
              </a:custGeom>
              <a:noFill/>
              <a:ln w="19050" cap="rnd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3174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2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9" name="Forma Livre: Forma 418">
                <a:extLst>
                  <a:ext uri="{FF2B5EF4-FFF2-40B4-BE49-F238E27FC236}">
                    <a16:creationId xmlns:a16="http://schemas.microsoft.com/office/drawing/2014/main" id="{083F62C6-75A0-8B15-587A-FE8BF1DDE994}"/>
                  </a:ext>
                </a:extLst>
              </p:cNvPr>
              <p:cNvSpPr/>
              <p:nvPr/>
            </p:nvSpPr>
            <p:spPr>
              <a:xfrm>
                <a:off x="9437907" y="7764685"/>
                <a:ext cx="209550" cy="95250"/>
              </a:xfrm>
              <a:custGeom>
                <a:avLst/>
                <a:gdLst>
                  <a:gd name="connsiteX0" fmla="*/ 0 w 209550"/>
                  <a:gd name="connsiteY0" fmla="*/ 57150 h 95250"/>
                  <a:gd name="connsiteX1" fmla="*/ 38100 w 209550"/>
                  <a:gd name="connsiteY1" fmla="*/ 0 h 95250"/>
                  <a:gd name="connsiteX2" fmla="*/ 209550 w 209550"/>
                  <a:gd name="connsiteY2" fmla="*/ 0 h 95250"/>
                  <a:gd name="connsiteX3" fmla="*/ 152400 w 209550"/>
                  <a:gd name="connsiteY3" fmla="*/ 95250 h 95250"/>
                  <a:gd name="connsiteX4" fmla="*/ 66675 w 209550"/>
                  <a:gd name="connsiteY4" fmla="*/ 9525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9550" h="95250">
                    <a:moveTo>
                      <a:pt x="0" y="57150"/>
                    </a:moveTo>
                    <a:lnTo>
                      <a:pt x="38100" y="0"/>
                    </a:lnTo>
                    <a:lnTo>
                      <a:pt x="209550" y="0"/>
                    </a:lnTo>
                    <a:lnTo>
                      <a:pt x="152400" y="95250"/>
                    </a:lnTo>
                    <a:lnTo>
                      <a:pt x="66675" y="95250"/>
                    </a:lnTo>
                  </a:path>
                </a:pathLst>
              </a:custGeom>
              <a:noFill/>
              <a:ln w="19050" cap="rnd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3174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2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20" name="Forma Livre: Forma 419">
                <a:extLst>
                  <a:ext uri="{FF2B5EF4-FFF2-40B4-BE49-F238E27FC236}">
                    <a16:creationId xmlns:a16="http://schemas.microsoft.com/office/drawing/2014/main" id="{B61A4199-6232-34E7-8932-6FA2DA61950B}"/>
                  </a:ext>
                </a:extLst>
              </p:cNvPr>
              <p:cNvSpPr/>
              <p:nvPr/>
            </p:nvSpPr>
            <p:spPr>
              <a:xfrm>
                <a:off x="9361707" y="7888510"/>
                <a:ext cx="304800" cy="9525"/>
              </a:xfrm>
              <a:custGeom>
                <a:avLst/>
                <a:gdLst>
                  <a:gd name="connsiteX0" fmla="*/ 0 w 304800"/>
                  <a:gd name="connsiteY0" fmla="*/ 0 h 0"/>
                  <a:gd name="connsiteX1" fmla="*/ 304800 w 304800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4800">
                    <a:moveTo>
                      <a:pt x="0" y="0"/>
                    </a:moveTo>
                    <a:lnTo>
                      <a:pt x="304800" y="0"/>
                    </a:lnTo>
                  </a:path>
                </a:pathLst>
              </a:custGeom>
              <a:ln w="19050" cap="rnd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3174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2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21" name="Forma Livre: Forma 420">
                <a:extLst>
                  <a:ext uri="{FF2B5EF4-FFF2-40B4-BE49-F238E27FC236}">
                    <a16:creationId xmlns:a16="http://schemas.microsoft.com/office/drawing/2014/main" id="{C7DF06EE-67AE-04B9-34DD-5B0B2DBAC402}"/>
                  </a:ext>
                </a:extLst>
              </p:cNvPr>
              <p:cNvSpPr/>
              <p:nvPr/>
            </p:nvSpPr>
            <p:spPr>
              <a:xfrm>
                <a:off x="9447432" y="7450360"/>
                <a:ext cx="266700" cy="276225"/>
              </a:xfrm>
              <a:custGeom>
                <a:avLst/>
                <a:gdLst>
                  <a:gd name="connsiteX0" fmla="*/ 28575 w 266700"/>
                  <a:gd name="connsiteY0" fmla="*/ 0 h 276225"/>
                  <a:gd name="connsiteX1" fmla="*/ 238125 w 266700"/>
                  <a:gd name="connsiteY1" fmla="*/ 0 h 276225"/>
                  <a:gd name="connsiteX2" fmla="*/ 266700 w 266700"/>
                  <a:gd name="connsiteY2" fmla="*/ 28575 h 276225"/>
                  <a:gd name="connsiteX3" fmla="*/ 266700 w 266700"/>
                  <a:gd name="connsiteY3" fmla="*/ 180975 h 276225"/>
                  <a:gd name="connsiteX4" fmla="*/ 228600 w 266700"/>
                  <a:gd name="connsiteY4" fmla="*/ 219075 h 276225"/>
                  <a:gd name="connsiteX5" fmla="*/ 104775 w 266700"/>
                  <a:gd name="connsiteY5" fmla="*/ 219075 h 276225"/>
                  <a:gd name="connsiteX6" fmla="*/ 64770 w 266700"/>
                  <a:gd name="connsiteY6" fmla="*/ 272415 h 276225"/>
                  <a:gd name="connsiteX7" fmla="*/ 47625 w 266700"/>
                  <a:gd name="connsiteY7" fmla="*/ 266700 h 276225"/>
                  <a:gd name="connsiteX8" fmla="*/ 47625 w 266700"/>
                  <a:gd name="connsiteY8" fmla="*/ 219075 h 276225"/>
                  <a:gd name="connsiteX9" fmla="*/ 28575 w 266700"/>
                  <a:gd name="connsiteY9" fmla="*/ 219075 h 276225"/>
                  <a:gd name="connsiteX10" fmla="*/ 0 w 266700"/>
                  <a:gd name="connsiteY10" fmla="*/ 190500 h 276225"/>
                  <a:gd name="connsiteX11" fmla="*/ 0 w 266700"/>
                  <a:gd name="connsiteY11" fmla="*/ 28575 h 276225"/>
                  <a:gd name="connsiteX12" fmla="*/ 28575 w 266700"/>
                  <a:gd name="connsiteY12" fmla="*/ 0 h 276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66700" h="276225">
                    <a:moveTo>
                      <a:pt x="28575" y="0"/>
                    </a:moveTo>
                    <a:lnTo>
                      <a:pt x="238125" y="0"/>
                    </a:lnTo>
                    <a:cubicBezTo>
                      <a:pt x="253937" y="0"/>
                      <a:pt x="266700" y="12763"/>
                      <a:pt x="266700" y="28575"/>
                    </a:cubicBezTo>
                    <a:lnTo>
                      <a:pt x="266700" y="180975"/>
                    </a:lnTo>
                    <a:cubicBezTo>
                      <a:pt x="266700" y="202025"/>
                      <a:pt x="249650" y="219075"/>
                      <a:pt x="228600" y="219075"/>
                    </a:cubicBezTo>
                    <a:lnTo>
                      <a:pt x="104775" y="219075"/>
                    </a:lnTo>
                    <a:lnTo>
                      <a:pt x="64770" y="272415"/>
                    </a:lnTo>
                    <a:cubicBezTo>
                      <a:pt x="59246" y="279749"/>
                      <a:pt x="47625" y="275844"/>
                      <a:pt x="47625" y="266700"/>
                    </a:cubicBezTo>
                    <a:lnTo>
                      <a:pt x="47625" y="219075"/>
                    </a:lnTo>
                    <a:lnTo>
                      <a:pt x="28575" y="219075"/>
                    </a:lnTo>
                    <a:cubicBezTo>
                      <a:pt x="12763" y="219075"/>
                      <a:pt x="0" y="206312"/>
                      <a:pt x="0" y="190500"/>
                    </a:cubicBezTo>
                    <a:lnTo>
                      <a:pt x="0" y="28575"/>
                    </a:lnTo>
                    <a:cubicBezTo>
                      <a:pt x="0" y="12763"/>
                      <a:pt x="12763" y="0"/>
                      <a:pt x="28575" y="0"/>
                    </a:cubicBezTo>
                    <a:close/>
                  </a:path>
                </a:pathLst>
              </a:custGeom>
              <a:noFill/>
              <a:ln w="19050" cap="rnd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3174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2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22" name="Forma Livre: Forma 421">
                <a:extLst>
                  <a:ext uri="{FF2B5EF4-FFF2-40B4-BE49-F238E27FC236}">
                    <a16:creationId xmlns:a16="http://schemas.microsoft.com/office/drawing/2014/main" id="{8A6E0F78-0FE2-28F4-09E4-37366ED792CE}"/>
                  </a:ext>
                </a:extLst>
              </p:cNvPr>
              <p:cNvSpPr/>
              <p:nvPr/>
            </p:nvSpPr>
            <p:spPr>
              <a:xfrm>
                <a:off x="9514107" y="7510903"/>
                <a:ext cx="133350" cy="104775"/>
              </a:xfrm>
              <a:custGeom>
                <a:avLst/>
                <a:gdLst>
                  <a:gd name="connsiteX0" fmla="*/ 66675 w 133350"/>
                  <a:gd name="connsiteY0" fmla="*/ 110907 h 104775"/>
                  <a:gd name="connsiteX1" fmla="*/ 133350 w 133350"/>
                  <a:gd name="connsiteY1" fmla="*/ 34707 h 104775"/>
                  <a:gd name="connsiteX2" fmla="*/ 66675 w 133350"/>
                  <a:gd name="connsiteY2" fmla="*/ 15657 h 104775"/>
                  <a:gd name="connsiteX3" fmla="*/ 0 w 133350"/>
                  <a:gd name="connsiteY3" fmla="*/ 34707 h 104775"/>
                  <a:gd name="connsiteX4" fmla="*/ 66675 w 133350"/>
                  <a:gd name="connsiteY4" fmla="*/ 110907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3350" h="104775">
                    <a:moveTo>
                      <a:pt x="66675" y="110907"/>
                    </a:moveTo>
                    <a:cubicBezTo>
                      <a:pt x="95250" y="82332"/>
                      <a:pt x="133350" y="72807"/>
                      <a:pt x="133350" y="34707"/>
                    </a:cubicBezTo>
                    <a:cubicBezTo>
                      <a:pt x="133350" y="6132"/>
                      <a:pt x="98679" y="-16347"/>
                      <a:pt x="66675" y="15657"/>
                    </a:cubicBezTo>
                    <a:cubicBezTo>
                      <a:pt x="34671" y="-16347"/>
                      <a:pt x="0" y="6132"/>
                      <a:pt x="0" y="34707"/>
                    </a:cubicBezTo>
                    <a:cubicBezTo>
                      <a:pt x="0" y="72807"/>
                      <a:pt x="38100" y="82332"/>
                      <a:pt x="66675" y="110907"/>
                    </a:cubicBezTo>
                    <a:close/>
                  </a:path>
                </a:pathLst>
              </a:custGeom>
              <a:noFill/>
              <a:ln w="19050" cap="rnd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3174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2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25DCCA82-A5B9-6974-FB30-A5997D179331}"/>
              </a:ext>
            </a:extLst>
          </p:cNvPr>
          <p:cNvSpPr txBox="1">
            <a:spLocks/>
          </p:cNvSpPr>
          <p:nvPr/>
        </p:nvSpPr>
        <p:spPr>
          <a:xfrm>
            <a:off x="424744" y="1959150"/>
            <a:ext cx="3927031" cy="1222183"/>
          </a:xfrm>
          <a:prstGeom prst="rect">
            <a:avLst/>
          </a:prstGeom>
        </p:spPr>
        <p:txBody>
          <a:bodyPr vert="horz" lIns="91440" tIns="0" rIns="91440" bIns="45721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 Bold" panose="020B0703020204020204" pitchFamily="34" charset="0"/>
                <a:ea typeface="+mn-ea"/>
                <a:cs typeface="Itau Display Bold" panose="020B0703020204020204" pitchFamily="34" charset="0"/>
              </a:rPr>
              <a:t>Simplificar</a:t>
            </a:r>
            <a:r>
              <a: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 a vida do cliente na </a:t>
            </a:r>
            <a:r>
              <a: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 Bold" panose="020B0703020204020204" pitchFamily="34" charset="0"/>
                <a:ea typeface="+mn-ea"/>
                <a:cs typeface="Itau Display Bold" panose="020B0703020204020204" pitchFamily="34" charset="0"/>
              </a:rPr>
              <a:t>busca</a:t>
            </a:r>
            <a:r>
              <a: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 e </a:t>
            </a:r>
            <a:r>
              <a: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 Bold" panose="020B0703020204020204" pitchFamily="34" charset="0"/>
                <a:ea typeface="+mn-ea"/>
                <a:cs typeface="Itau Display Bold" panose="020B0703020204020204" pitchFamily="34" charset="0"/>
              </a:rPr>
              <a:t>organização</a:t>
            </a:r>
            <a:r>
              <a: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 de seus </a:t>
            </a:r>
            <a:r>
              <a: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 Bold" panose="020B0703020204020204" pitchFamily="34" charset="0"/>
                <a:ea typeface="+mn-ea"/>
                <a:cs typeface="Itau Display Bold" panose="020B0703020204020204" pitchFamily="34" charset="0"/>
              </a:rPr>
              <a:t>documentos</a:t>
            </a:r>
            <a:r>
              <a: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 de forma </a:t>
            </a:r>
            <a:r>
              <a: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 Bold" panose="020B0703020204020204" pitchFamily="34" charset="0"/>
                <a:ea typeface="+mn-ea"/>
                <a:cs typeface="Itau Display Bold" panose="020B0703020204020204" pitchFamily="34" charset="0"/>
              </a:rPr>
              <a:t>digital</a:t>
            </a:r>
            <a:r>
              <a: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 e </a:t>
            </a:r>
            <a:r>
              <a: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 Bold" panose="020B0703020204020204" pitchFamily="34" charset="0"/>
                <a:ea typeface="+mn-ea"/>
                <a:cs typeface="Itau Display Bold" panose="020B0703020204020204" pitchFamily="34" charset="0"/>
              </a:rPr>
              <a:t>segura.</a:t>
            </a:r>
          </a:p>
        </p:txBody>
      </p:sp>
      <p:grpSp>
        <p:nvGrpSpPr>
          <p:cNvPr id="536" name="Agrupar 535">
            <a:extLst>
              <a:ext uri="{FF2B5EF4-FFF2-40B4-BE49-F238E27FC236}">
                <a16:creationId xmlns:a16="http://schemas.microsoft.com/office/drawing/2014/main" id="{865FE133-08CD-80E3-4CE9-99ED3254A36D}"/>
              </a:ext>
            </a:extLst>
          </p:cNvPr>
          <p:cNvGrpSpPr/>
          <p:nvPr/>
        </p:nvGrpSpPr>
        <p:grpSpPr>
          <a:xfrm>
            <a:off x="167560" y="3757900"/>
            <a:ext cx="4047724" cy="2766207"/>
            <a:chOff x="7212124" y="1441333"/>
            <a:chExt cx="2162588" cy="1611486"/>
          </a:xfrm>
        </p:grpSpPr>
        <p:sp>
          <p:nvSpPr>
            <p:cNvPr id="537" name="Forma Livre: Forma 536">
              <a:extLst>
                <a:ext uri="{FF2B5EF4-FFF2-40B4-BE49-F238E27FC236}">
                  <a16:creationId xmlns:a16="http://schemas.microsoft.com/office/drawing/2014/main" id="{7BAD8FD0-EB6E-250C-EF67-52CFB776EB1D}"/>
                </a:ext>
              </a:extLst>
            </p:cNvPr>
            <p:cNvSpPr/>
            <p:nvPr/>
          </p:nvSpPr>
          <p:spPr>
            <a:xfrm>
              <a:off x="8821084" y="1754297"/>
              <a:ext cx="542124" cy="170397"/>
            </a:xfrm>
            <a:custGeom>
              <a:avLst/>
              <a:gdLst>
                <a:gd name="connsiteX0" fmla="*/ 0 w 542124"/>
                <a:gd name="connsiteY0" fmla="*/ 170398 h 170397"/>
                <a:gd name="connsiteX1" fmla="*/ 529357 w 542124"/>
                <a:gd name="connsiteY1" fmla="*/ 170398 h 170397"/>
                <a:gd name="connsiteX2" fmla="*/ 529357 w 542124"/>
                <a:gd name="connsiteY2" fmla="*/ 109649 h 170397"/>
                <a:gd name="connsiteX3" fmla="*/ 481239 w 542124"/>
                <a:gd name="connsiteY3" fmla="*/ 101546 h 170397"/>
                <a:gd name="connsiteX4" fmla="*/ 461623 w 542124"/>
                <a:gd name="connsiteY4" fmla="*/ 89139 h 170397"/>
                <a:gd name="connsiteX5" fmla="*/ 419987 w 542124"/>
                <a:gd name="connsiteY5" fmla="*/ 43144 h 170397"/>
                <a:gd name="connsiteX6" fmla="*/ 363989 w 542124"/>
                <a:gd name="connsiteY6" fmla="*/ 66952 h 170397"/>
                <a:gd name="connsiteX7" fmla="*/ 349570 w 542124"/>
                <a:gd name="connsiteY7" fmla="*/ 65499 h 170397"/>
                <a:gd name="connsiteX8" fmla="*/ 207898 w 542124"/>
                <a:gd name="connsiteY8" fmla="*/ 0 h 170397"/>
                <a:gd name="connsiteX9" fmla="*/ 104452 w 542124"/>
                <a:gd name="connsiteY9" fmla="*/ 97410 h 170397"/>
                <a:gd name="connsiteX10" fmla="*/ 96963 w 542124"/>
                <a:gd name="connsiteY10" fmla="*/ 106408 h 170397"/>
                <a:gd name="connsiteX11" fmla="*/ 23305 w 542124"/>
                <a:gd name="connsiteY11" fmla="*/ 109649 h 170397"/>
                <a:gd name="connsiteX12" fmla="*/ 0 w 542124"/>
                <a:gd name="connsiteY12" fmla="*/ 170398 h 170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42124" h="170397">
                  <a:moveTo>
                    <a:pt x="0" y="170398"/>
                  </a:moveTo>
                  <a:lnTo>
                    <a:pt x="529357" y="170398"/>
                  </a:lnTo>
                  <a:cubicBezTo>
                    <a:pt x="529357" y="170398"/>
                    <a:pt x="558083" y="134072"/>
                    <a:pt x="529357" y="109649"/>
                  </a:cubicBezTo>
                  <a:cubicBezTo>
                    <a:pt x="513541" y="96181"/>
                    <a:pt x="494819" y="97578"/>
                    <a:pt x="481239" y="101546"/>
                  </a:cubicBezTo>
                  <a:cubicBezTo>
                    <a:pt x="472409" y="104117"/>
                    <a:pt x="463579" y="98137"/>
                    <a:pt x="461623" y="89139"/>
                  </a:cubicBezTo>
                  <a:cubicBezTo>
                    <a:pt x="458381" y="74217"/>
                    <a:pt x="448489" y="54657"/>
                    <a:pt x="419987" y="43144"/>
                  </a:cubicBezTo>
                  <a:cubicBezTo>
                    <a:pt x="391932" y="31799"/>
                    <a:pt x="374216" y="49124"/>
                    <a:pt x="363989" y="66952"/>
                  </a:cubicBezTo>
                  <a:cubicBezTo>
                    <a:pt x="360636" y="72820"/>
                    <a:pt x="351638" y="71926"/>
                    <a:pt x="349570" y="65499"/>
                  </a:cubicBezTo>
                  <a:cubicBezTo>
                    <a:pt x="340628" y="37276"/>
                    <a:pt x="309667" y="0"/>
                    <a:pt x="207898" y="0"/>
                  </a:cubicBezTo>
                  <a:cubicBezTo>
                    <a:pt x="78465" y="0"/>
                    <a:pt x="92884" y="68796"/>
                    <a:pt x="104452" y="97410"/>
                  </a:cubicBezTo>
                  <a:cubicBezTo>
                    <a:pt x="106464" y="102384"/>
                    <a:pt x="102217" y="107526"/>
                    <a:pt x="96963" y="106408"/>
                  </a:cubicBezTo>
                  <a:cubicBezTo>
                    <a:pt x="77012" y="102161"/>
                    <a:pt x="39959" y="96628"/>
                    <a:pt x="23305" y="109649"/>
                  </a:cubicBezTo>
                  <a:cubicBezTo>
                    <a:pt x="0" y="127924"/>
                    <a:pt x="0" y="170398"/>
                    <a:pt x="0" y="170398"/>
                  </a:cubicBezTo>
                  <a:close/>
                </a:path>
              </a:pathLst>
            </a:custGeom>
            <a:solidFill>
              <a:srgbClr val="E6E6E6"/>
            </a:solidFill>
            <a:ln w="558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8" name="Forma Livre: Forma 537">
              <a:extLst>
                <a:ext uri="{FF2B5EF4-FFF2-40B4-BE49-F238E27FC236}">
                  <a16:creationId xmlns:a16="http://schemas.microsoft.com/office/drawing/2014/main" id="{160D9347-5D17-288B-0F3A-EDA94382AA8D}"/>
                </a:ext>
              </a:extLst>
            </p:cNvPr>
            <p:cNvSpPr/>
            <p:nvPr/>
          </p:nvSpPr>
          <p:spPr>
            <a:xfrm>
              <a:off x="8047645" y="1805990"/>
              <a:ext cx="786404" cy="1023339"/>
            </a:xfrm>
            <a:custGeom>
              <a:avLst/>
              <a:gdLst>
                <a:gd name="connsiteX0" fmla="*/ 768130 w 786404"/>
                <a:gd name="connsiteY0" fmla="*/ 673490 h 1023339"/>
                <a:gd name="connsiteX1" fmla="*/ 745273 w 786404"/>
                <a:gd name="connsiteY1" fmla="*/ 645882 h 1023339"/>
                <a:gd name="connsiteX2" fmla="*/ 726886 w 786404"/>
                <a:gd name="connsiteY2" fmla="*/ 561829 h 1023339"/>
                <a:gd name="connsiteX3" fmla="*/ 600694 w 786404"/>
                <a:gd name="connsiteY3" fmla="*/ 220083 h 1023339"/>
                <a:gd name="connsiteX4" fmla="*/ 36464 w 786404"/>
                <a:gd name="connsiteY4" fmla="*/ 3858 h 1023339"/>
                <a:gd name="connsiteX5" fmla="*/ 642330 w 786404"/>
                <a:gd name="connsiteY5" fmla="*/ 1023340 h 1023339"/>
                <a:gd name="connsiteX6" fmla="*/ 786405 w 786404"/>
                <a:gd name="connsiteY6" fmla="*/ 723006 h 1023339"/>
                <a:gd name="connsiteX7" fmla="*/ 768130 w 786404"/>
                <a:gd name="connsiteY7" fmla="*/ 673490 h 1023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6404" h="1023339">
                  <a:moveTo>
                    <a:pt x="768130" y="673490"/>
                  </a:moveTo>
                  <a:lnTo>
                    <a:pt x="745273" y="645882"/>
                  </a:lnTo>
                  <a:cubicBezTo>
                    <a:pt x="726495" y="623192"/>
                    <a:pt x="723086" y="590108"/>
                    <a:pt x="726886" y="561829"/>
                  </a:cubicBezTo>
                  <a:lnTo>
                    <a:pt x="600694" y="220083"/>
                  </a:lnTo>
                  <a:cubicBezTo>
                    <a:pt x="458910" y="90371"/>
                    <a:pt x="265766" y="-22520"/>
                    <a:pt x="36464" y="3858"/>
                  </a:cubicBezTo>
                  <a:cubicBezTo>
                    <a:pt x="-180599" y="840032"/>
                    <a:pt x="642330" y="1023340"/>
                    <a:pt x="642330" y="1023340"/>
                  </a:cubicBezTo>
                  <a:lnTo>
                    <a:pt x="786405" y="723006"/>
                  </a:lnTo>
                  <a:lnTo>
                    <a:pt x="768130" y="673490"/>
                  </a:lnTo>
                  <a:close/>
                </a:path>
              </a:pathLst>
            </a:custGeom>
            <a:solidFill>
              <a:srgbClr val="FFC000"/>
            </a:solidFill>
            <a:ln w="558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9" name="Forma Livre: Forma 538">
              <a:extLst>
                <a:ext uri="{FF2B5EF4-FFF2-40B4-BE49-F238E27FC236}">
                  <a16:creationId xmlns:a16="http://schemas.microsoft.com/office/drawing/2014/main" id="{FD3A1776-7F42-2C1B-AC76-4735578457ED}"/>
                </a:ext>
              </a:extLst>
            </p:cNvPr>
            <p:cNvSpPr/>
            <p:nvPr/>
          </p:nvSpPr>
          <p:spPr>
            <a:xfrm>
              <a:off x="8081873" y="1808954"/>
              <a:ext cx="730492" cy="784422"/>
            </a:xfrm>
            <a:custGeom>
              <a:avLst/>
              <a:gdLst>
                <a:gd name="connsiteX0" fmla="*/ 2179 w 730492"/>
                <a:gd name="connsiteY0" fmla="*/ 894 h 784422"/>
                <a:gd name="connsiteX1" fmla="*/ 0 w 730492"/>
                <a:gd name="connsiteY1" fmla="*/ 9557 h 784422"/>
                <a:gd name="connsiteX2" fmla="*/ 551208 w 730492"/>
                <a:gd name="connsiteY2" fmla="*/ 599606 h 784422"/>
                <a:gd name="connsiteX3" fmla="*/ 47951 w 730492"/>
                <a:gd name="connsiteY3" fmla="*/ 616987 h 784422"/>
                <a:gd name="connsiteX4" fmla="*/ 55887 w 730492"/>
                <a:gd name="connsiteY4" fmla="*/ 631741 h 784422"/>
                <a:gd name="connsiteX5" fmla="*/ 564845 w 730492"/>
                <a:gd name="connsiteY5" fmla="*/ 614137 h 784422"/>
                <a:gd name="connsiteX6" fmla="*/ 723898 w 730492"/>
                <a:gd name="connsiteY6" fmla="*/ 784423 h 784422"/>
                <a:gd name="connsiteX7" fmla="*/ 730492 w 730492"/>
                <a:gd name="connsiteY7" fmla="*/ 769445 h 784422"/>
                <a:gd name="connsiteX8" fmla="*/ 413392 w 730492"/>
                <a:gd name="connsiteY8" fmla="*/ 430047 h 784422"/>
                <a:gd name="connsiteX9" fmla="*/ 413392 w 730492"/>
                <a:gd name="connsiteY9" fmla="*/ 430047 h 784422"/>
                <a:gd name="connsiteX10" fmla="*/ 480065 w 730492"/>
                <a:gd name="connsiteY10" fmla="*/ 145864 h 784422"/>
                <a:gd name="connsiteX11" fmla="*/ 466876 w 730492"/>
                <a:gd name="connsiteY11" fmla="*/ 136251 h 784422"/>
                <a:gd name="connsiteX12" fmla="*/ 401041 w 730492"/>
                <a:gd name="connsiteY12" fmla="*/ 416857 h 784422"/>
                <a:gd name="connsiteX13" fmla="*/ 11624 w 730492"/>
                <a:gd name="connsiteY13" fmla="*/ 0 h 784422"/>
                <a:gd name="connsiteX14" fmla="*/ 2179 w 730492"/>
                <a:gd name="connsiteY14" fmla="*/ 894 h 784422"/>
                <a:gd name="connsiteX15" fmla="*/ 2179 w 730492"/>
                <a:gd name="connsiteY15" fmla="*/ 894 h 784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30492" h="784422">
                  <a:moveTo>
                    <a:pt x="2179" y="894"/>
                  </a:moveTo>
                  <a:cubicBezTo>
                    <a:pt x="1397" y="3800"/>
                    <a:pt x="726" y="6706"/>
                    <a:pt x="0" y="9557"/>
                  </a:cubicBezTo>
                  <a:lnTo>
                    <a:pt x="551208" y="599606"/>
                  </a:lnTo>
                  <a:lnTo>
                    <a:pt x="47951" y="616987"/>
                  </a:lnTo>
                  <a:cubicBezTo>
                    <a:pt x="50521" y="621961"/>
                    <a:pt x="53204" y="626879"/>
                    <a:pt x="55887" y="631741"/>
                  </a:cubicBezTo>
                  <a:lnTo>
                    <a:pt x="564845" y="614137"/>
                  </a:lnTo>
                  <a:lnTo>
                    <a:pt x="723898" y="784423"/>
                  </a:lnTo>
                  <a:lnTo>
                    <a:pt x="730492" y="769445"/>
                  </a:lnTo>
                  <a:lnTo>
                    <a:pt x="413392" y="430047"/>
                  </a:lnTo>
                  <a:lnTo>
                    <a:pt x="413392" y="430047"/>
                  </a:lnTo>
                  <a:lnTo>
                    <a:pt x="480065" y="145864"/>
                  </a:lnTo>
                  <a:cubicBezTo>
                    <a:pt x="475706" y="142622"/>
                    <a:pt x="471291" y="139437"/>
                    <a:pt x="466876" y="136251"/>
                  </a:cubicBezTo>
                  <a:lnTo>
                    <a:pt x="401041" y="416857"/>
                  </a:lnTo>
                  <a:lnTo>
                    <a:pt x="11624" y="0"/>
                  </a:lnTo>
                  <a:cubicBezTo>
                    <a:pt x="8495" y="335"/>
                    <a:pt x="5365" y="559"/>
                    <a:pt x="2179" y="894"/>
                  </a:cubicBezTo>
                  <a:lnTo>
                    <a:pt x="2179" y="894"/>
                  </a:lnTo>
                  <a:close/>
                </a:path>
              </a:pathLst>
            </a:custGeom>
            <a:solidFill>
              <a:srgbClr val="E6E6E6"/>
            </a:solidFill>
            <a:ln w="558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0" name="Forma Livre: Forma 539">
              <a:extLst>
                <a:ext uri="{FF2B5EF4-FFF2-40B4-BE49-F238E27FC236}">
                  <a16:creationId xmlns:a16="http://schemas.microsoft.com/office/drawing/2014/main" id="{3F3198DA-F866-3D93-CAC9-AE0E45F33E11}"/>
                </a:ext>
              </a:extLst>
            </p:cNvPr>
            <p:cNvSpPr/>
            <p:nvPr/>
          </p:nvSpPr>
          <p:spPr>
            <a:xfrm>
              <a:off x="8269317" y="1676447"/>
              <a:ext cx="839044" cy="1156123"/>
            </a:xfrm>
            <a:custGeom>
              <a:avLst/>
              <a:gdLst>
                <a:gd name="connsiteX0" fmla="*/ 44597 w 839044"/>
                <a:gd name="connsiteY0" fmla="*/ 1007578 h 1156123"/>
                <a:gd name="connsiteX1" fmla="*/ 0 w 839044"/>
                <a:gd name="connsiteY1" fmla="*/ 723842 h 1156123"/>
                <a:gd name="connsiteX2" fmla="*/ 697799 w 839044"/>
                <a:gd name="connsiteY2" fmla="*/ 0 h 1156123"/>
                <a:gd name="connsiteX3" fmla="*/ 615031 w 839044"/>
                <a:gd name="connsiteY3" fmla="*/ 930845 h 1156123"/>
                <a:gd name="connsiteX4" fmla="*/ 123397 w 839044"/>
                <a:gd name="connsiteY4" fmla="*/ 1156124 h 1156123"/>
                <a:gd name="connsiteX5" fmla="*/ 44597 w 839044"/>
                <a:gd name="connsiteY5" fmla="*/ 1007578 h 1156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9044" h="1156123">
                  <a:moveTo>
                    <a:pt x="44597" y="1007578"/>
                  </a:moveTo>
                  <a:lnTo>
                    <a:pt x="0" y="723842"/>
                  </a:lnTo>
                  <a:cubicBezTo>
                    <a:pt x="0" y="723842"/>
                    <a:pt x="223267" y="77962"/>
                    <a:pt x="697799" y="0"/>
                  </a:cubicBezTo>
                  <a:cubicBezTo>
                    <a:pt x="1058267" y="452178"/>
                    <a:pt x="615031" y="930845"/>
                    <a:pt x="615031" y="930845"/>
                  </a:cubicBezTo>
                  <a:lnTo>
                    <a:pt x="123397" y="1156124"/>
                  </a:lnTo>
                  <a:lnTo>
                    <a:pt x="44597" y="1007578"/>
                  </a:lnTo>
                  <a:close/>
                </a:path>
              </a:pathLst>
            </a:custGeom>
            <a:solidFill>
              <a:srgbClr val="114585"/>
            </a:solidFill>
            <a:ln w="558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1" name="Forma Livre: Forma 540">
              <a:extLst>
                <a:ext uri="{FF2B5EF4-FFF2-40B4-BE49-F238E27FC236}">
                  <a16:creationId xmlns:a16="http://schemas.microsoft.com/office/drawing/2014/main" id="{17B645EE-4CCC-C7A5-3C15-3756B91BF5D0}"/>
                </a:ext>
              </a:extLst>
            </p:cNvPr>
            <p:cNvSpPr/>
            <p:nvPr/>
          </p:nvSpPr>
          <p:spPr>
            <a:xfrm>
              <a:off x="8368068" y="1676503"/>
              <a:ext cx="724009" cy="1125777"/>
            </a:xfrm>
            <a:custGeom>
              <a:avLst/>
              <a:gdLst>
                <a:gd name="connsiteX0" fmla="*/ 8495 w 724009"/>
                <a:gd name="connsiteY0" fmla="*/ 1125778 h 1125777"/>
                <a:gd name="connsiteX1" fmla="*/ 0 w 724009"/>
                <a:gd name="connsiteY1" fmla="*/ 1109738 h 1125777"/>
                <a:gd name="connsiteX2" fmla="*/ 287201 w 724009"/>
                <a:gd name="connsiteY2" fmla="*/ 568533 h 1125777"/>
                <a:gd name="connsiteX3" fmla="*/ 139269 w 724009"/>
                <a:gd name="connsiteY3" fmla="*/ 299719 h 1125777"/>
                <a:gd name="connsiteX4" fmla="*/ 149496 w 724009"/>
                <a:gd name="connsiteY4" fmla="*/ 287145 h 1125777"/>
                <a:gd name="connsiteX5" fmla="*/ 295584 w 724009"/>
                <a:gd name="connsiteY5" fmla="*/ 552662 h 1125777"/>
                <a:gd name="connsiteX6" fmla="*/ 587758 w 724009"/>
                <a:gd name="connsiteY6" fmla="*/ 2068 h 1125777"/>
                <a:gd name="connsiteX7" fmla="*/ 598936 w 724009"/>
                <a:gd name="connsiteY7" fmla="*/ 0 h 1125777"/>
                <a:gd name="connsiteX8" fmla="*/ 603071 w 724009"/>
                <a:gd name="connsiteY8" fmla="*/ 5365 h 1125777"/>
                <a:gd name="connsiteX9" fmla="*/ 446589 w 724009"/>
                <a:gd name="connsiteY9" fmla="*/ 300278 h 1125777"/>
                <a:gd name="connsiteX10" fmla="*/ 720433 w 724009"/>
                <a:gd name="connsiteY10" fmla="*/ 235003 h 1125777"/>
                <a:gd name="connsiteX11" fmla="*/ 722389 w 724009"/>
                <a:gd name="connsiteY11" fmla="*/ 242715 h 1125777"/>
                <a:gd name="connsiteX12" fmla="*/ 724010 w 724009"/>
                <a:gd name="connsiteY12" fmla="*/ 249589 h 1125777"/>
                <a:gd name="connsiteX13" fmla="*/ 437200 w 724009"/>
                <a:gd name="connsiteY13" fmla="*/ 317994 h 1125777"/>
                <a:gd name="connsiteX14" fmla="*/ 176434 w 724009"/>
                <a:gd name="connsiteY14" fmla="*/ 809460 h 1125777"/>
                <a:gd name="connsiteX15" fmla="*/ 660746 w 724009"/>
                <a:gd name="connsiteY15" fmla="*/ 710206 h 1125777"/>
                <a:gd name="connsiteX16" fmla="*/ 652363 w 724009"/>
                <a:gd name="connsiteY16" fmla="*/ 727307 h 1125777"/>
                <a:gd name="connsiteX17" fmla="*/ 167324 w 724009"/>
                <a:gd name="connsiteY17" fmla="*/ 826729 h 1125777"/>
                <a:gd name="connsiteX18" fmla="*/ 8495 w 724009"/>
                <a:gd name="connsiteY18" fmla="*/ 1125778 h 1125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24009" h="1125777">
                  <a:moveTo>
                    <a:pt x="8495" y="1125778"/>
                  </a:moveTo>
                  <a:lnTo>
                    <a:pt x="0" y="1109738"/>
                  </a:lnTo>
                  <a:lnTo>
                    <a:pt x="287201" y="568533"/>
                  </a:lnTo>
                  <a:lnTo>
                    <a:pt x="139269" y="299719"/>
                  </a:lnTo>
                  <a:cubicBezTo>
                    <a:pt x="142622" y="295528"/>
                    <a:pt x="146087" y="291336"/>
                    <a:pt x="149496" y="287145"/>
                  </a:cubicBezTo>
                  <a:lnTo>
                    <a:pt x="295584" y="552662"/>
                  </a:lnTo>
                  <a:lnTo>
                    <a:pt x="587758" y="2068"/>
                  </a:lnTo>
                  <a:cubicBezTo>
                    <a:pt x="591503" y="1397"/>
                    <a:pt x="595191" y="615"/>
                    <a:pt x="598936" y="0"/>
                  </a:cubicBezTo>
                  <a:cubicBezTo>
                    <a:pt x="600333" y="1788"/>
                    <a:pt x="601674" y="3577"/>
                    <a:pt x="603071" y="5365"/>
                  </a:cubicBezTo>
                  <a:lnTo>
                    <a:pt x="446589" y="300278"/>
                  </a:lnTo>
                  <a:lnTo>
                    <a:pt x="720433" y="235003"/>
                  </a:lnTo>
                  <a:cubicBezTo>
                    <a:pt x="721104" y="237573"/>
                    <a:pt x="721718" y="240144"/>
                    <a:pt x="722389" y="242715"/>
                  </a:cubicBezTo>
                  <a:lnTo>
                    <a:pt x="724010" y="249589"/>
                  </a:lnTo>
                  <a:lnTo>
                    <a:pt x="437200" y="317994"/>
                  </a:lnTo>
                  <a:lnTo>
                    <a:pt x="176434" y="809460"/>
                  </a:lnTo>
                  <a:lnTo>
                    <a:pt x="660746" y="710206"/>
                  </a:lnTo>
                  <a:cubicBezTo>
                    <a:pt x="657952" y="715962"/>
                    <a:pt x="655213" y="721662"/>
                    <a:pt x="652363" y="727307"/>
                  </a:cubicBezTo>
                  <a:lnTo>
                    <a:pt x="167324" y="826729"/>
                  </a:lnTo>
                  <a:lnTo>
                    <a:pt x="8495" y="1125778"/>
                  </a:lnTo>
                  <a:close/>
                </a:path>
              </a:pathLst>
            </a:custGeom>
            <a:solidFill>
              <a:srgbClr val="E6E6E6"/>
            </a:solidFill>
            <a:ln w="558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2" name="Forma Livre: Forma 541">
              <a:extLst>
                <a:ext uri="{FF2B5EF4-FFF2-40B4-BE49-F238E27FC236}">
                  <a16:creationId xmlns:a16="http://schemas.microsoft.com/office/drawing/2014/main" id="{EA9040AE-0C3F-07FD-DC3F-59493BE6A77C}"/>
                </a:ext>
              </a:extLst>
            </p:cNvPr>
            <p:cNvSpPr/>
            <p:nvPr/>
          </p:nvSpPr>
          <p:spPr>
            <a:xfrm>
              <a:off x="8285580" y="2109932"/>
              <a:ext cx="1089132" cy="747843"/>
            </a:xfrm>
            <a:custGeom>
              <a:avLst/>
              <a:gdLst>
                <a:gd name="connsiteX0" fmla="*/ 700593 w 1089132"/>
                <a:gd name="connsiteY0" fmla="*/ 643056 h 747843"/>
                <a:gd name="connsiteX1" fmla="*/ 700593 w 1089132"/>
                <a:gd name="connsiteY1" fmla="*/ 643056 h 747843"/>
                <a:gd name="connsiteX2" fmla="*/ 959180 w 1089132"/>
                <a:gd name="connsiteY2" fmla="*/ 460866 h 747843"/>
                <a:gd name="connsiteX3" fmla="*/ 1088613 w 1089132"/>
                <a:gd name="connsiteY3" fmla="*/ 58036 h 747843"/>
                <a:gd name="connsiteX4" fmla="*/ 0 w 1089132"/>
                <a:gd name="connsiteY4" fmla="*/ 586331 h 747843"/>
                <a:gd name="connsiteX5" fmla="*/ 97634 w 1089132"/>
                <a:gd name="connsiteY5" fmla="*/ 747843 h 747843"/>
                <a:gd name="connsiteX6" fmla="*/ 314138 w 1089132"/>
                <a:gd name="connsiteY6" fmla="*/ 720683 h 747843"/>
                <a:gd name="connsiteX7" fmla="*/ 700593 w 1089132"/>
                <a:gd name="connsiteY7" fmla="*/ 643056 h 747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89132" h="747843">
                  <a:moveTo>
                    <a:pt x="700593" y="643056"/>
                  </a:moveTo>
                  <a:lnTo>
                    <a:pt x="700593" y="643056"/>
                  </a:lnTo>
                  <a:cubicBezTo>
                    <a:pt x="804766" y="612989"/>
                    <a:pt x="896028" y="548999"/>
                    <a:pt x="959180" y="460866"/>
                  </a:cubicBezTo>
                  <a:cubicBezTo>
                    <a:pt x="1039265" y="349037"/>
                    <a:pt x="1095152" y="214072"/>
                    <a:pt x="1088613" y="58036"/>
                  </a:cubicBezTo>
                  <a:cubicBezTo>
                    <a:pt x="270379" y="-219105"/>
                    <a:pt x="0" y="586331"/>
                    <a:pt x="0" y="586331"/>
                  </a:cubicBezTo>
                  <a:lnTo>
                    <a:pt x="97634" y="747843"/>
                  </a:lnTo>
                  <a:cubicBezTo>
                    <a:pt x="97634" y="747843"/>
                    <a:pt x="210469" y="732810"/>
                    <a:pt x="314138" y="720683"/>
                  </a:cubicBezTo>
                  <a:cubicBezTo>
                    <a:pt x="444857" y="705426"/>
                    <a:pt x="574122" y="679606"/>
                    <a:pt x="700593" y="643056"/>
                  </a:cubicBezTo>
                  <a:close/>
                </a:path>
              </a:pathLst>
            </a:custGeom>
            <a:solidFill>
              <a:srgbClr val="EEA004"/>
            </a:solidFill>
            <a:ln w="558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3" name="Forma Livre: Forma 542">
              <a:extLst>
                <a:ext uri="{FF2B5EF4-FFF2-40B4-BE49-F238E27FC236}">
                  <a16:creationId xmlns:a16="http://schemas.microsoft.com/office/drawing/2014/main" id="{3D8F7452-788D-DAB1-78B6-AD42FD70BA0B}"/>
                </a:ext>
              </a:extLst>
            </p:cNvPr>
            <p:cNvSpPr/>
            <p:nvPr/>
          </p:nvSpPr>
          <p:spPr>
            <a:xfrm>
              <a:off x="8530363" y="2165174"/>
              <a:ext cx="844053" cy="673823"/>
            </a:xfrm>
            <a:custGeom>
              <a:avLst/>
              <a:gdLst>
                <a:gd name="connsiteX0" fmla="*/ 843830 w 844053"/>
                <a:gd name="connsiteY0" fmla="*/ 2794 h 673823"/>
                <a:gd name="connsiteX1" fmla="*/ 835335 w 844053"/>
                <a:gd name="connsiteY1" fmla="*/ 0 h 673823"/>
                <a:gd name="connsiteX2" fmla="*/ 206836 w 844053"/>
                <a:gd name="connsiteY2" fmla="*/ 506946 h 673823"/>
                <a:gd name="connsiteX3" fmla="*/ 226005 w 844053"/>
                <a:gd name="connsiteY3" fmla="*/ 3744 h 673823"/>
                <a:gd name="connsiteX4" fmla="*/ 210692 w 844053"/>
                <a:gd name="connsiteY4" fmla="*/ 10618 h 673823"/>
                <a:gd name="connsiteX5" fmla="*/ 191299 w 844053"/>
                <a:gd name="connsiteY5" fmla="*/ 519521 h 673823"/>
                <a:gd name="connsiteX6" fmla="*/ 0 w 844053"/>
                <a:gd name="connsiteY6" fmla="*/ 673823 h 673823"/>
                <a:gd name="connsiteX7" fmla="*/ 28223 w 844053"/>
                <a:gd name="connsiteY7" fmla="*/ 670358 h 673823"/>
                <a:gd name="connsiteX8" fmla="*/ 385952 w 844053"/>
                <a:gd name="connsiteY8" fmla="*/ 381816 h 673823"/>
                <a:gd name="connsiteX9" fmla="*/ 385952 w 844053"/>
                <a:gd name="connsiteY9" fmla="*/ 381816 h 673823"/>
                <a:gd name="connsiteX10" fmla="*/ 664546 w 844053"/>
                <a:gd name="connsiteY10" fmla="*/ 468944 h 673823"/>
                <a:gd name="connsiteX11" fmla="*/ 675109 w 844053"/>
                <a:gd name="connsiteY11" fmla="*/ 456481 h 673823"/>
                <a:gd name="connsiteX12" fmla="*/ 400035 w 844053"/>
                <a:gd name="connsiteY12" fmla="*/ 370472 h 673823"/>
                <a:gd name="connsiteX13" fmla="*/ 844054 w 844053"/>
                <a:gd name="connsiteY13" fmla="*/ 12351 h 673823"/>
                <a:gd name="connsiteX14" fmla="*/ 843830 w 844053"/>
                <a:gd name="connsiteY14" fmla="*/ 2794 h 673823"/>
                <a:gd name="connsiteX15" fmla="*/ 843830 w 844053"/>
                <a:gd name="connsiteY15" fmla="*/ 2794 h 673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44053" h="673823">
                  <a:moveTo>
                    <a:pt x="843830" y="2794"/>
                  </a:moveTo>
                  <a:cubicBezTo>
                    <a:pt x="840980" y="1844"/>
                    <a:pt x="838186" y="950"/>
                    <a:pt x="835335" y="0"/>
                  </a:cubicBezTo>
                  <a:lnTo>
                    <a:pt x="206836" y="506946"/>
                  </a:lnTo>
                  <a:lnTo>
                    <a:pt x="226005" y="3744"/>
                  </a:lnTo>
                  <a:cubicBezTo>
                    <a:pt x="220863" y="5980"/>
                    <a:pt x="215778" y="8271"/>
                    <a:pt x="210692" y="10618"/>
                  </a:cubicBezTo>
                  <a:lnTo>
                    <a:pt x="191299" y="519521"/>
                  </a:lnTo>
                  <a:lnTo>
                    <a:pt x="0" y="673823"/>
                  </a:lnTo>
                  <a:lnTo>
                    <a:pt x="28223" y="670358"/>
                  </a:lnTo>
                  <a:lnTo>
                    <a:pt x="385952" y="381816"/>
                  </a:lnTo>
                  <a:lnTo>
                    <a:pt x="385952" y="381816"/>
                  </a:lnTo>
                  <a:lnTo>
                    <a:pt x="664546" y="468944"/>
                  </a:lnTo>
                  <a:cubicBezTo>
                    <a:pt x="668067" y="464808"/>
                    <a:pt x="671588" y="460672"/>
                    <a:pt x="675109" y="456481"/>
                  </a:cubicBezTo>
                  <a:lnTo>
                    <a:pt x="400035" y="370472"/>
                  </a:lnTo>
                  <a:lnTo>
                    <a:pt x="844054" y="12351"/>
                  </a:lnTo>
                  <a:cubicBezTo>
                    <a:pt x="843942" y="9109"/>
                    <a:pt x="843998" y="5980"/>
                    <a:pt x="843830" y="2794"/>
                  </a:cubicBezTo>
                  <a:lnTo>
                    <a:pt x="843830" y="2794"/>
                  </a:lnTo>
                  <a:close/>
                </a:path>
              </a:pathLst>
            </a:custGeom>
            <a:solidFill>
              <a:srgbClr val="E6E6E6"/>
            </a:solidFill>
            <a:ln w="558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4" name="Forma Livre: Forma 543">
              <a:extLst>
                <a:ext uri="{FF2B5EF4-FFF2-40B4-BE49-F238E27FC236}">
                  <a16:creationId xmlns:a16="http://schemas.microsoft.com/office/drawing/2014/main" id="{652C69BB-EFF4-1AA2-6F71-813225D31B89}"/>
                </a:ext>
              </a:extLst>
            </p:cNvPr>
            <p:cNvSpPr/>
            <p:nvPr/>
          </p:nvSpPr>
          <p:spPr>
            <a:xfrm>
              <a:off x="7259224" y="2301258"/>
              <a:ext cx="640850" cy="609498"/>
            </a:xfrm>
            <a:custGeom>
              <a:avLst/>
              <a:gdLst>
                <a:gd name="connsiteX0" fmla="*/ 320397 w 640850"/>
                <a:gd name="connsiteY0" fmla="*/ 0 h 609498"/>
                <a:gd name="connsiteX1" fmla="*/ 419428 w 640850"/>
                <a:gd name="connsiteY1" fmla="*/ 200633 h 609498"/>
                <a:gd name="connsiteX2" fmla="*/ 640850 w 640850"/>
                <a:gd name="connsiteY2" fmla="*/ 232823 h 609498"/>
                <a:gd name="connsiteX3" fmla="*/ 480624 w 640850"/>
                <a:gd name="connsiteY3" fmla="*/ 388970 h 609498"/>
                <a:gd name="connsiteX4" fmla="*/ 518459 w 640850"/>
                <a:gd name="connsiteY4" fmla="*/ 609498 h 609498"/>
                <a:gd name="connsiteX5" fmla="*/ 320397 w 640850"/>
                <a:gd name="connsiteY5" fmla="*/ 505382 h 609498"/>
                <a:gd name="connsiteX6" fmla="*/ 122391 w 640850"/>
                <a:gd name="connsiteY6" fmla="*/ 609498 h 609498"/>
                <a:gd name="connsiteX7" fmla="*/ 160227 w 640850"/>
                <a:gd name="connsiteY7" fmla="*/ 388970 h 609498"/>
                <a:gd name="connsiteX8" fmla="*/ 0 w 640850"/>
                <a:gd name="connsiteY8" fmla="*/ 232823 h 609498"/>
                <a:gd name="connsiteX9" fmla="*/ 221422 w 640850"/>
                <a:gd name="connsiteY9" fmla="*/ 200633 h 609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40850" h="609498">
                  <a:moveTo>
                    <a:pt x="320397" y="0"/>
                  </a:moveTo>
                  <a:lnTo>
                    <a:pt x="419428" y="200633"/>
                  </a:lnTo>
                  <a:lnTo>
                    <a:pt x="640850" y="232823"/>
                  </a:lnTo>
                  <a:lnTo>
                    <a:pt x="480624" y="388970"/>
                  </a:lnTo>
                  <a:lnTo>
                    <a:pt x="518459" y="609498"/>
                  </a:lnTo>
                  <a:lnTo>
                    <a:pt x="320397" y="505382"/>
                  </a:lnTo>
                  <a:lnTo>
                    <a:pt x="122391" y="609498"/>
                  </a:lnTo>
                  <a:lnTo>
                    <a:pt x="160227" y="388970"/>
                  </a:lnTo>
                  <a:lnTo>
                    <a:pt x="0" y="232823"/>
                  </a:lnTo>
                  <a:lnTo>
                    <a:pt x="221422" y="200633"/>
                  </a:lnTo>
                  <a:close/>
                </a:path>
              </a:pathLst>
            </a:custGeom>
            <a:solidFill>
              <a:srgbClr val="EEA004"/>
            </a:solidFill>
            <a:ln w="558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5" name="Forma Livre: Forma 544">
              <a:extLst>
                <a:ext uri="{FF2B5EF4-FFF2-40B4-BE49-F238E27FC236}">
                  <a16:creationId xmlns:a16="http://schemas.microsoft.com/office/drawing/2014/main" id="{44C36192-8D90-AC1E-D0E2-86DCA17E5779}"/>
                </a:ext>
              </a:extLst>
            </p:cNvPr>
            <p:cNvSpPr/>
            <p:nvPr/>
          </p:nvSpPr>
          <p:spPr>
            <a:xfrm>
              <a:off x="7581745" y="2305505"/>
              <a:ext cx="318329" cy="605250"/>
            </a:xfrm>
            <a:custGeom>
              <a:avLst/>
              <a:gdLst>
                <a:gd name="connsiteX0" fmla="*/ 318329 w 318329"/>
                <a:gd name="connsiteY0" fmla="*/ 228576 h 605250"/>
                <a:gd name="connsiteX1" fmla="*/ 96907 w 318329"/>
                <a:gd name="connsiteY1" fmla="*/ 196385 h 605250"/>
                <a:gd name="connsiteX2" fmla="*/ 0 w 318329"/>
                <a:gd name="connsiteY2" fmla="*/ 0 h 605250"/>
                <a:gd name="connsiteX3" fmla="*/ 0 w 318329"/>
                <a:gd name="connsiteY3" fmla="*/ 502196 h 605250"/>
                <a:gd name="connsiteX4" fmla="*/ 195938 w 318329"/>
                <a:gd name="connsiteY4" fmla="*/ 605251 h 605250"/>
                <a:gd name="connsiteX5" fmla="*/ 158103 w 318329"/>
                <a:gd name="connsiteY5" fmla="*/ 384723 h 60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8329" h="605250">
                  <a:moveTo>
                    <a:pt x="318329" y="228576"/>
                  </a:moveTo>
                  <a:lnTo>
                    <a:pt x="96907" y="196385"/>
                  </a:lnTo>
                  <a:lnTo>
                    <a:pt x="0" y="0"/>
                  </a:lnTo>
                  <a:lnTo>
                    <a:pt x="0" y="502196"/>
                  </a:lnTo>
                  <a:lnTo>
                    <a:pt x="195938" y="605251"/>
                  </a:lnTo>
                  <a:lnTo>
                    <a:pt x="158103" y="384723"/>
                  </a:lnTo>
                  <a:close/>
                </a:path>
              </a:pathLst>
            </a:custGeom>
            <a:solidFill>
              <a:srgbClr val="EE730D"/>
            </a:solidFill>
            <a:ln w="558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6" name="Forma Livre: Forma 545">
              <a:extLst>
                <a:ext uri="{FF2B5EF4-FFF2-40B4-BE49-F238E27FC236}">
                  <a16:creationId xmlns:a16="http://schemas.microsoft.com/office/drawing/2014/main" id="{01EA78A7-17B7-18DB-4CC6-7ABAC81C70CB}"/>
                </a:ext>
              </a:extLst>
            </p:cNvPr>
            <p:cNvSpPr/>
            <p:nvPr/>
          </p:nvSpPr>
          <p:spPr>
            <a:xfrm>
              <a:off x="7901528" y="2301258"/>
              <a:ext cx="640794" cy="609498"/>
            </a:xfrm>
            <a:custGeom>
              <a:avLst/>
              <a:gdLst>
                <a:gd name="connsiteX0" fmla="*/ 320397 w 640794"/>
                <a:gd name="connsiteY0" fmla="*/ 0 h 609498"/>
                <a:gd name="connsiteX1" fmla="*/ 419428 w 640794"/>
                <a:gd name="connsiteY1" fmla="*/ 200633 h 609498"/>
                <a:gd name="connsiteX2" fmla="*/ 640795 w 640794"/>
                <a:gd name="connsiteY2" fmla="*/ 232823 h 609498"/>
                <a:gd name="connsiteX3" fmla="*/ 480624 w 640794"/>
                <a:gd name="connsiteY3" fmla="*/ 388970 h 609498"/>
                <a:gd name="connsiteX4" fmla="*/ 518403 w 640794"/>
                <a:gd name="connsiteY4" fmla="*/ 609498 h 609498"/>
                <a:gd name="connsiteX5" fmla="*/ 320397 w 640794"/>
                <a:gd name="connsiteY5" fmla="*/ 505382 h 609498"/>
                <a:gd name="connsiteX6" fmla="*/ 122391 w 640794"/>
                <a:gd name="connsiteY6" fmla="*/ 609498 h 609498"/>
                <a:gd name="connsiteX7" fmla="*/ 160171 w 640794"/>
                <a:gd name="connsiteY7" fmla="*/ 388970 h 609498"/>
                <a:gd name="connsiteX8" fmla="*/ 0 w 640794"/>
                <a:gd name="connsiteY8" fmla="*/ 232823 h 609498"/>
                <a:gd name="connsiteX9" fmla="*/ 221367 w 640794"/>
                <a:gd name="connsiteY9" fmla="*/ 200633 h 609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40794" h="609498">
                  <a:moveTo>
                    <a:pt x="320397" y="0"/>
                  </a:moveTo>
                  <a:lnTo>
                    <a:pt x="419428" y="200633"/>
                  </a:lnTo>
                  <a:lnTo>
                    <a:pt x="640795" y="232823"/>
                  </a:lnTo>
                  <a:lnTo>
                    <a:pt x="480624" y="388970"/>
                  </a:lnTo>
                  <a:lnTo>
                    <a:pt x="518403" y="609498"/>
                  </a:lnTo>
                  <a:lnTo>
                    <a:pt x="320397" y="505382"/>
                  </a:lnTo>
                  <a:lnTo>
                    <a:pt x="122391" y="609498"/>
                  </a:lnTo>
                  <a:lnTo>
                    <a:pt x="160171" y="388970"/>
                  </a:lnTo>
                  <a:lnTo>
                    <a:pt x="0" y="232823"/>
                  </a:lnTo>
                  <a:lnTo>
                    <a:pt x="221367" y="200633"/>
                  </a:lnTo>
                  <a:close/>
                </a:path>
              </a:pathLst>
            </a:custGeom>
            <a:solidFill>
              <a:srgbClr val="EEA004"/>
            </a:solidFill>
            <a:ln w="558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7" name="Forma Livre: Forma 546">
              <a:extLst>
                <a:ext uri="{FF2B5EF4-FFF2-40B4-BE49-F238E27FC236}">
                  <a16:creationId xmlns:a16="http://schemas.microsoft.com/office/drawing/2014/main" id="{4A81E123-DD0F-48A2-B41F-E28F9C6230BE}"/>
                </a:ext>
              </a:extLst>
            </p:cNvPr>
            <p:cNvSpPr/>
            <p:nvPr/>
          </p:nvSpPr>
          <p:spPr>
            <a:xfrm>
              <a:off x="8224049" y="2305505"/>
              <a:ext cx="318273" cy="605250"/>
            </a:xfrm>
            <a:custGeom>
              <a:avLst/>
              <a:gdLst>
                <a:gd name="connsiteX0" fmla="*/ 318274 w 318273"/>
                <a:gd name="connsiteY0" fmla="*/ 228576 h 605250"/>
                <a:gd name="connsiteX1" fmla="*/ 96907 w 318273"/>
                <a:gd name="connsiteY1" fmla="*/ 196385 h 605250"/>
                <a:gd name="connsiteX2" fmla="*/ 0 w 318273"/>
                <a:gd name="connsiteY2" fmla="*/ 0 h 605250"/>
                <a:gd name="connsiteX3" fmla="*/ 0 w 318273"/>
                <a:gd name="connsiteY3" fmla="*/ 502196 h 605250"/>
                <a:gd name="connsiteX4" fmla="*/ 195882 w 318273"/>
                <a:gd name="connsiteY4" fmla="*/ 605251 h 605250"/>
                <a:gd name="connsiteX5" fmla="*/ 158103 w 318273"/>
                <a:gd name="connsiteY5" fmla="*/ 384723 h 60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8273" h="605250">
                  <a:moveTo>
                    <a:pt x="318274" y="228576"/>
                  </a:moveTo>
                  <a:lnTo>
                    <a:pt x="96907" y="196385"/>
                  </a:lnTo>
                  <a:lnTo>
                    <a:pt x="0" y="0"/>
                  </a:lnTo>
                  <a:lnTo>
                    <a:pt x="0" y="502196"/>
                  </a:lnTo>
                  <a:lnTo>
                    <a:pt x="195882" y="605251"/>
                  </a:lnTo>
                  <a:lnTo>
                    <a:pt x="158103" y="384723"/>
                  </a:lnTo>
                  <a:close/>
                </a:path>
              </a:pathLst>
            </a:custGeom>
            <a:solidFill>
              <a:srgbClr val="EE730D"/>
            </a:solidFill>
            <a:ln w="558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48" name="Gráfico 7">
              <a:extLst>
                <a:ext uri="{FF2B5EF4-FFF2-40B4-BE49-F238E27FC236}">
                  <a16:creationId xmlns:a16="http://schemas.microsoft.com/office/drawing/2014/main" id="{B2EBEEA2-955F-2C7D-C3FC-DCB92A7C8BA2}"/>
                </a:ext>
              </a:extLst>
            </p:cNvPr>
            <p:cNvGrpSpPr/>
            <p:nvPr/>
          </p:nvGrpSpPr>
          <p:grpSpPr>
            <a:xfrm>
              <a:off x="8084556" y="2991624"/>
              <a:ext cx="121776" cy="61195"/>
              <a:chOff x="6188469" y="3043188"/>
              <a:chExt cx="121776" cy="61195"/>
            </a:xfrm>
          </p:grpSpPr>
          <p:sp>
            <p:nvSpPr>
              <p:cNvPr id="625" name="Forma Livre: Forma 624">
                <a:extLst>
                  <a:ext uri="{FF2B5EF4-FFF2-40B4-BE49-F238E27FC236}">
                    <a16:creationId xmlns:a16="http://schemas.microsoft.com/office/drawing/2014/main" id="{75B10343-B0A1-27C9-D89F-A2E28EB22120}"/>
                  </a:ext>
                </a:extLst>
              </p:cNvPr>
              <p:cNvSpPr/>
              <p:nvPr/>
            </p:nvSpPr>
            <p:spPr>
              <a:xfrm>
                <a:off x="6192199" y="3061758"/>
                <a:ext cx="117320" cy="38489"/>
              </a:xfrm>
              <a:custGeom>
                <a:avLst/>
                <a:gdLst>
                  <a:gd name="connsiteX0" fmla="*/ 5994 w 117320"/>
                  <a:gd name="connsiteY0" fmla="*/ 12558 h 38489"/>
                  <a:gd name="connsiteX1" fmla="*/ 87309 w 117320"/>
                  <a:gd name="connsiteY1" fmla="*/ 96 h 38489"/>
                  <a:gd name="connsiteX2" fmla="*/ 114247 w 117320"/>
                  <a:gd name="connsiteY2" fmla="*/ 9876 h 38489"/>
                  <a:gd name="connsiteX3" fmla="*/ 117320 w 117320"/>
                  <a:gd name="connsiteY3" fmla="*/ 22115 h 38489"/>
                  <a:gd name="connsiteX4" fmla="*/ 6553 w 117320"/>
                  <a:gd name="connsiteY4" fmla="*/ 38490 h 38489"/>
                  <a:gd name="connsiteX5" fmla="*/ 6050 w 117320"/>
                  <a:gd name="connsiteY5" fmla="*/ 38154 h 38489"/>
                  <a:gd name="connsiteX6" fmla="*/ 5994 w 117320"/>
                  <a:gd name="connsiteY6" fmla="*/ 12558 h 384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7320" h="38489">
                    <a:moveTo>
                      <a:pt x="5994" y="12558"/>
                    </a:moveTo>
                    <a:lnTo>
                      <a:pt x="87309" y="96"/>
                    </a:lnTo>
                    <a:cubicBezTo>
                      <a:pt x="98263" y="-407"/>
                      <a:pt x="110837" y="822"/>
                      <a:pt x="114247" y="9876"/>
                    </a:cubicBezTo>
                    <a:cubicBezTo>
                      <a:pt x="114247" y="9876"/>
                      <a:pt x="116594" y="15856"/>
                      <a:pt x="117320" y="22115"/>
                    </a:cubicBezTo>
                    <a:cubicBezTo>
                      <a:pt x="114973" y="25915"/>
                      <a:pt x="6553" y="38490"/>
                      <a:pt x="6553" y="38490"/>
                    </a:cubicBezTo>
                    <a:lnTo>
                      <a:pt x="6050" y="38154"/>
                    </a:lnTo>
                    <a:cubicBezTo>
                      <a:pt x="-7530" y="26139"/>
                      <a:pt x="5994" y="12558"/>
                      <a:pt x="5994" y="12558"/>
                    </a:cubicBezTo>
                    <a:close/>
                  </a:path>
                </a:pathLst>
              </a:custGeom>
              <a:solidFill>
                <a:srgbClr val="043C5E"/>
              </a:solidFill>
              <a:ln w="5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26" name="Forma Livre: Forma 625">
                <a:extLst>
                  <a:ext uri="{FF2B5EF4-FFF2-40B4-BE49-F238E27FC236}">
                    <a16:creationId xmlns:a16="http://schemas.microsoft.com/office/drawing/2014/main" id="{2364CA44-6753-FE28-F9DE-AB5EB9D5E6E8}"/>
                  </a:ext>
                </a:extLst>
              </p:cNvPr>
              <p:cNvSpPr/>
              <p:nvPr/>
            </p:nvSpPr>
            <p:spPr>
              <a:xfrm>
                <a:off x="6198696" y="3083873"/>
                <a:ext cx="111549" cy="20510"/>
              </a:xfrm>
              <a:custGeom>
                <a:avLst/>
                <a:gdLst>
                  <a:gd name="connsiteX0" fmla="*/ 110823 w 111549"/>
                  <a:gd name="connsiteY0" fmla="*/ 0 h 20510"/>
                  <a:gd name="connsiteX1" fmla="*/ 0 w 111549"/>
                  <a:gd name="connsiteY1" fmla="*/ 16375 h 20510"/>
                  <a:gd name="connsiteX2" fmla="*/ 1621 w 111549"/>
                  <a:gd name="connsiteY2" fmla="*/ 20510 h 20510"/>
                  <a:gd name="connsiteX3" fmla="*/ 111549 w 111549"/>
                  <a:gd name="connsiteY3" fmla="*/ 3800 h 20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1549" h="20510">
                    <a:moveTo>
                      <a:pt x="110823" y="0"/>
                    </a:moveTo>
                    <a:lnTo>
                      <a:pt x="0" y="16375"/>
                    </a:lnTo>
                    <a:lnTo>
                      <a:pt x="1621" y="20510"/>
                    </a:lnTo>
                    <a:lnTo>
                      <a:pt x="111549" y="3800"/>
                    </a:lnTo>
                    <a:close/>
                  </a:path>
                </a:pathLst>
              </a:custGeom>
              <a:solidFill>
                <a:srgbClr val="FFFFFF"/>
              </a:solidFill>
              <a:ln w="5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27" name="Forma Livre: Forma 626">
                <a:extLst>
                  <a:ext uri="{FF2B5EF4-FFF2-40B4-BE49-F238E27FC236}">
                    <a16:creationId xmlns:a16="http://schemas.microsoft.com/office/drawing/2014/main" id="{D78A076B-6C71-789F-C997-CB73C2F6C589}"/>
                  </a:ext>
                </a:extLst>
              </p:cNvPr>
              <p:cNvSpPr/>
              <p:nvPr/>
            </p:nvSpPr>
            <p:spPr>
              <a:xfrm>
                <a:off x="6229825" y="3068281"/>
                <a:ext cx="7880" cy="11400"/>
              </a:xfrm>
              <a:custGeom>
                <a:avLst/>
                <a:gdLst>
                  <a:gd name="connsiteX0" fmla="*/ 503 w 7880"/>
                  <a:gd name="connsiteY0" fmla="*/ 1062 h 11400"/>
                  <a:gd name="connsiteX1" fmla="*/ 7880 w 7880"/>
                  <a:gd name="connsiteY1" fmla="*/ 0 h 11400"/>
                  <a:gd name="connsiteX2" fmla="*/ 7098 w 7880"/>
                  <a:gd name="connsiteY2" fmla="*/ 10283 h 11400"/>
                  <a:gd name="connsiteX3" fmla="*/ 0 w 7880"/>
                  <a:gd name="connsiteY3" fmla="*/ 11401 h 11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80" h="11400">
                    <a:moveTo>
                      <a:pt x="503" y="1062"/>
                    </a:moveTo>
                    <a:lnTo>
                      <a:pt x="7880" y="0"/>
                    </a:lnTo>
                    <a:lnTo>
                      <a:pt x="7098" y="10283"/>
                    </a:lnTo>
                    <a:lnTo>
                      <a:pt x="0" y="11401"/>
                    </a:lnTo>
                    <a:close/>
                  </a:path>
                </a:pathLst>
              </a:custGeom>
              <a:solidFill>
                <a:srgbClr val="FFFFFF"/>
              </a:solidFill>
              <a:ln w="5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28" name="Forma Livre: Forma 627">
                <a:extLst>
                  <a:ext uri="{FF2B5EF4-FFF2-40B4-BE49-F238E27FC236}">
                    <a16:creationId xmlns:a16="http://schemas.microsoft.com/office/drawing/2014/main" id="{766B595A-ED9C-5361-F674-1BFACA01B71C}"/>
                  </a:ext>
                </a:extLst>
              </p:cNvPr>
              <p:cNvSpPr/>
              <p:nvPr/>
            </p:nvSpPr>
            <p:spPr>
              <a:xfrm>
                <a:off x="6245529" y="3065878"/>
                <a:ext cx="7880" cy="11400"/>
              </a:xfrm>
              <a:custGeom>
                <a:avLst/>
                <a:gdLst>
                  <a:gd name="connsiteX0" fmla="*/ 503 w 7880"/>
                  <a:gd name="connsiteY0" fmla="*/ 1062 h 11400"/>
                  <a:gd name="connsiteX1" fmla="*/ 7880 w 7880"/>
                  <a:gd name="connsiteY1" fmla="*/ 0 h 11400"/>
                  <a:gd name="connsiteX2" fmla="*/ 7098 w 7880"/>
                  <a:gd name="connsiteY2" fmla="*/ 10339 h 11400"/>
                  <a:gd name="connsiteX3" fmla="*/ 0 w 7880"/>
                  <a:gd name="connsiteY3" fmla="*/ 11401 h 11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80" h="11400">
                    <a:moveTo>
                      <a:pt x="503" y="1062"/>
                    </a:moveTo>
                    <a:lnTo>
                      <a:pt x="7880" y="0"/>
                    </a:lnTo>
                    <a:lnTo>
                      <a:pt x="7098" y="10339"/>
                    </a:lnTo>
                    <a:lnTo>
                      <a:pt x="0" y="11401"/>
                    </a:lnTo>
                    <a:close/>
                  </a:path>
                </a:pathLst>
              </a:custGeom>
              <a:solidFill>
                <a:srgbClr val="FFFFFF"/>
              </a:solidFill>
              <a:ln w="5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29" name="Forma Livre: Forma 628">
                <a:extLst>
                  <a:ext uri="{FF2B5EF4-FFF2-40B4-BE49-F238E27FC236}">
                    <a16:creationId xmlns:a16="http://schemas.microsoft.com/office/drawing/2014/main" id="{B74DC1D3-3DF7-93E7-BFBF-0C8FC2D09804}"/>
                  </a:ext>
                </a:extLst>
              </p:cNvPr>
              <p:cNvSpPr/>
              <p:nvPr/>
            </p:nvSpPr>
            <p:spPr>
              <a:xfrm>
                <a:off x="6188469" y="3043188"/>
                <a:ext cx="32749" cy="32375"/>
              </a:xfrm>
              <a:custGeom>
                <a:avLst/>
                <a:gdLst>
                  <a:gd name="connsiteX0" fmla="*/ 0 w 32749"/>
                  <a:gd name="connsiteY0" fmla="*/ 4918 h 32375"/>
                  <a:gd name="connsiteX1" fmla="*/ 9668 w 32749"/>
                  <a:gd name="connsiteY1" fmla="*/ 31185 h 32375"/>
                  <a:gd name="connsiteX2" fmla="*/ 9668 w 32749"/>
                  <a:gd name="connsiteY2" fmla="*/ 31185 h 32375"/>
                  <a:gd name="connsiteX3" fmla="*/ 31576 w 32749"/>
                  <a:gd name="connsiteY3" fmla="*/ 28390 h 32375"/>
                  <a:gd name="connsiteX4" fmla="*/ 32750 w 32749"/>
                  <a:gd name="connsiteY4" fmla="*/ 27664 h 32375"/>
                  <a:gd name="connsiteX5" fmla="*/ 32582 w 32749"/>
                  <a:gd name="connsiteY5" fmla="*/ 0 h 32375"/>
                  <a:gd name="connsiteX6" fmla="*/ 0 w 32749"/>
                  <a:gd name="connsiteY6" fmla="*/ 4918 h 32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749" h="32375">
                    <a:moveTo>
                      <a:pt x="0" y="4918"/>
                    </a:moveTo>
                    <a:lnTo>
                      <a:pt x="9668" y="31185"/>
                    </a:lnTo>
                    <a:lnTo>
                      <a:pt x="9668" y="31185"/>
                    </a:lnTo>
                    <a:cubicBezTo>
                      <a:pt x="16710" y="33476"/>
                      <a:pt x="25205" y="32414"/>
                      <a:pt x="31576" y="28390"/>
                    </a:cubicBezTo>
                    <a:lnTo>
                      <a:pt x="32750" y="27664"/>
                    </a:lnTo>
                    <a:lnTo>
                      <a:pt x="32582" y="0"/>
                    </a:lnTo>
                    <a:lnTo>
                      <a:pt x="0" y="4918"/>
                    </a:lnTo>
                    <a:close/>
                  </a:path>
                </a:pathLst>
              </a:custGeom>
              <a:solidFill>
                <a:srgbClr val="F8B68F"/>
              </a:solidFill>
              <a:ln w="5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549" name="Gráfico 7">
              <a:extLst>
                <a:ext uri="{FF2B5EF4-FFF2-40B4-BE49-F238E27FC236}">
                  <a16:creationId xmlns:a16="http://schemas.microsoft.com/office/drawing/2014/main" id="{AECE2418-89A8-4AC9-44BE-D482AFD10237}"/>
                </a:ext>
              </a:extLst>
            </p:cNvPr>
            <p:cNvGrpSpPr/>
            <p:nvPr/>
          </p:nvGrpSpPr>
          <p:grpSpPr>
            <a:xfrm>
              <a:off x="8324365" y="2877211"/>
              <a:ext cx="77849" cy="113971"/>
              <a:chOff x="6428278" y="2928775"/>
              <a:chExt cx="77849" cy="113971"/>
            </a:xfrm>
          </p:grpSpPr>
          <p:sp>
            <p:nvSpPr>
              <p:cNvPr id="620" name="Forma Livre: Forma 619">
                <a:extLst>
                  <a:ext uri="{FF2B5EF4-FFF2-40B4-BE49-F238E27FC236}">
                    <a16:creationId xmlns:a16="http://schemas.microsoft.com/office/drawing/2014/main" id="{5311A34F-3FB8-23AF-1C68-7B2D3E77D6D4}"/>
                  </a:ext>
                </a:extLst>
              </p:cNvPr>
              <p:cNvSpPr/>
              <p:nvPr/>
            </p:nvSpPr>
            <p:spPr>
              <a:xfrm>
                <a:off x="6456277" y="2928775"/>
                <a:ext cx="46219" cy="113971"/>
              </a:xfrm>
              <a:custGeom>
                <a:avLst/>
                <a:gdLst>
                  <a:gd name="connsiteX0" fmla="*/ 0 w 46219"/>
                  <a:gd name="connsiteY0" fmla="*/ 103012 h 113971"/>
                  <a:gd name="connsiteX1" fmla="*/ 15313 w 46219"/>
                  <a:gd name="connsiteY1" fmla="*/ 22200 h 113971"/>
                  <a:gd name="connsiteX2" fmla="*/ 33476 w 46219"/>
                  <a:gd name="connsiteY2" fmla="*/ 13 h 113971"/>
                  <a:gd name="connsiteX3" fmla="*/ 45994 w 46219"/>
                  <a:gd name="connsiteY3" fmla="*/ 1187 h 113971"/>
                  <a:gd name="connsiteX4" fmla="*/ 24590 w 46219"/>
                  <a:gd name="connsiteY4" fmla="*/ 111115 h 113971"/>
                  <a:gd name="connsiteX5" fmla="*/ 24143 w 46219"/>
                  <a:gd name="connsiteY5" fmla="*/ 111507 h 113971"/>
                  <a:gd name="connsiteX6" fmla="*/ 0 w 46219"/>
                  <a:gd name="connsiteY6" fmla="*/ 103012 h 113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6219" h="113971">
                    <a:moveTo>
                      <a:pt x="0" y="103012"/>
                    </a:moveTo>
                    <a:lnTo>
                      <a:pt x="15313" y="22200"/>
                    </a:lnTo>
                    <a:cubicBezTo>
                      <a:pt x="18498" y="11693"/>
                      <a:pt x="23808" y="293"/>
                      <a:pt x="33476" y="13"/>
                    </a:cubicBezTo>
                    <a:cubicBezTo>
                      <a:pt x="33476" y="13"/>
                      <a:pt x="39903" y="-210"/>
                      <a:pt x="45994" y="1187"/>
                    </a:cubicBezTo>
                    <a:cubicBezTo>
                      <a:pt x="48789" y="4708"/>
                      <a:pt x="24590" y="111115"/>
                      <a:pt x="24590" y="111115"/>
                    </a:cubicBezTo>
                    <a:lnTo>
                      <a:pt x="24143" y="111507"/>
                    </a:lnTo>
                    <a:cubicBezTo>
                      <a:pt x="8327" y="120225"/>
                      <a:pt x="0" y="103012"/>
                      <a:pt x="0" y="103012"/>
                    </a:cubicBezTo>
                    <a:close/>
                  </a:path>
                </a:pathLst>
              </a:custGeom>
              <a:solidFill>
                <a:srgbClr val="043C5E"/>
              </a:solidFill>
              <a:ln w="5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21" name="Forma Livre: Forma 620">
                <a:extLst>
                  <a:ext uri="{FF2B5EF4-FFF2-40B4-BE49-F238E27FC236}">
                    <a16:creationId xmlns:a16="http://schemas.microsoft.com/office/drawing/2014/main" id="{F3B5F75B-2715-440B-7EB2-5E2C3D7E95F4}"/>
                  </a:ext>
                </a:extLst>
              </p:cNvPr>
              <p:cNvSpPr/>
              <p:nvPr/>
            </p:nvSpPr>
            <p:spPr>
              <a:xfrm>
                <a:off x="6480867" y="2929962"/>
                <a:ext cx="25260" cy="109928"/>
              </a:xfrm>
              <a:custGeom>
                <a:avLst/>
                <a:gdLst>
                  <a:gd name="connsiteX0" fmla="*/ 21404 w 25260"/>
                  <a:gd name="connsiteY0" fmla="*/ 0 h 109928"/>
                  <a:gd name="connsiteX1" fmla="*/ 0 w 25260"/>
                  <a:gd name="connsiteY1" fmla="*/ 109929 h 109928"/>
                  <a:gd name="connsiteX2" fmla="*/ 4471 w 25260"/>
                  <a:gd name="connsiteY2" fmla="*/ 109761 h 109928"/>
                  <a:gd name="connsiteX3" fmla="*/ 25261 w 25260"/>
                  <a:gd name="connsiteY3" fmla="*/ 559 h 109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260" h="109928">
                    <a:moveTo>
                      <a:pt x="21404" y="0"/>
                    </a:moveTo>
                    <a:lnTo>
                      <a:pt x="0" y="109929"/>
                    </a:lnTo>
                    <a:lnTo>
                      <a:pt x="4471" y="109761"/>
                    </a:lnTo>
                    <a:lnTo>
                      <a:pt x="25261" y="559"/>
                    </a:lnTo>
                    <a:close/>
                  </a:path>
                </a:pathLst>
              </a:custGeom>
              <a:solidFill>
                <a:srgbClr val="FFFFFF"/>
              </a:solidFill>
              <a:ln w="5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22" name="Forma Livre: Forma 621">
                <a:extLst>
                  <a:ext uri="{FF2B5EF4-FFF2-40B4-BE49-F238E27FC236}">
                    <a16:creationId xmlns:a16="http://schemas.microsoft.com/office/drawing/2014/main" id="{FAB29524-96A3-7D55-289D-9D89D23768C9}"/>
                  </a:ext>
                </a:extLst>
              </p:cNvPr>
              <p:cNvSpPr/>
              <p:nvPr/>
            </p:nvSpPr>
            <p:spPr>
              <a:xfrm>
                <a:off x="6462257" y="2992499"/>
                <a:ext cx="10897" cy="11177"/>
              </a:xfrm>
              <a:custGeom>
                <a:avLst/>
                <a:gdLst>
                  <a:gd name="connsiteX0" fmla="*/ 0 w 10897"/>
                  <a:gd name="connsiteY0" fmla="*/ 7265 h 11177"/>
                  <a:gd name="connsiteX1" fmla="*/ 1453 w 10897"/>
                  <a:gd name="connsiteY1" fmla="*/ 0 h 11177"/>
                  <a:gd name="connsiteX2" fmla="*/ 10898 w 10897"/>
                  <a:gd name="connsiteY2" fmla="*/ 4136 h 11177"/>
                  <a:gd name="connsiteX3" fmla="*/ 9557 w 10897"/>
                  <a:gd name="connsiteY3" fmla="*/ 11177 h 11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897" h="11177">
                    <a:moveTo>
                      <a:pt x="0" y="7265"/>
                    </a:moveTo>
                    <a:lnTo>
                      <a:pt x="1453" y="0"/>
                    </a:lnTo>
                    <a:lnTo>
                      <a:pt x="10898" y="4136"/>
                    </a:lnTo>
                    <a:lnTo>
                      <a:pt x="9557" y="11177"/>
                    </a:lnTo>
                    <a:close/>
                  </a:path>
                </a:pathLst>
              </a:custGeom>
              <a:solidFill>
                <a:srgbClr val="FFFFFF"/>
              </a:solidFill>
              <a:ln w="5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23" name="Forma Livre: Forma 622">
                <a:extLst>
                  <a:ext uri="{FF2B5EF4-FFF2-40B4-BE49-F238E27FC236}">
                    <a16:creationId xmlns:a16="http://schemas.microsoft.com/office/drawing/2014/main" id="{934B4071-60E5-4495-CD17-E4C61EAFAA0A}"/>
                  </a:ext>
                </a:extLst>
              </p:cNvPr>
              <p:cNvSpPr/>
              <p:nvPr/>
            </p:nvSpPr>
            <p:spPr>
              <a:xfrm>
                <a:off x="6465219" y="2976906"/>
                <a:ext cx="10953" cy="11177"/>
              </a:xfrm>
              <a:custGeom>
                <a:avLst/>
                <a:gdLst>
                  <a:gd name="connsiteX0" fmla="*/ 0 w 10953"/>
                  <a:gd name="connsiteY0" fmla="*/ 7265 h 11177"/>
                  <a:gd name="connsiteX1" fmla="*/ 1453 w 10953"/>
                  <a:gd name="connsiteY1" fmla="*/ 0 h 11177"/>
                  <a:gd name="connsiteX2" fmla="*/ 10954 w 10953"/>
                  <a:gd name="connsiteY2" fmla="*/ 4136 h 11177"/>
                  <a:gd name="connsiteX3" fmla="*/ 9557 w 10953"/>
                  <a:gd name="connsiteY3" fmla="*/ 11177 h 11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53" h="11177">
                    <a:moveTo>
                      <a:pt x="0" y="7265"/>
                    </a:moveTo>
                    <a:lnTo>
                      <a:pt x="1453" y="0"/>
                    </a:lnTo>
                    <a:lnTo>
                      <a:pt x="10954" y="4136"/>
                    </a:lnTo>
                    <a:lnTo>
                      <a:pt x="9557" y="11177"/>
                    </a:lnTo>
                    <a:close/>
                  </a:path>
                </a:pathLst>
              </a:custGeom>
              <a:solidFill>
                <a:srgbClr val="FFFFFF"/>
              </a:solidFill>
              <a:ln w="5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24" name="Forma Livre: Forma 623">
                <a:extLst>
                  <a:ext uri="{FF2B5EF4-FFF2-40B4-BE49-F238E27FC236}">
                    <a16:creationId xmlns:a16="http://schemas.microsoft.com/office/drawing/2014/main" id="{2599F8F8-8C2A-517C-D99F-E306EF444FBF}"/>
                  </a:ext>
                </a:extLst>
              </p:cNvPr>
              <p:cNvSpPr/>
              <p:nvPr/>
            </p:nvSpPr>
            <p:spPr>
              <a:xfrm>
                <a:off x="6428278" y="2999820"/>
                <a:ext cx="33256" cy="32358"/>
              </a:xfrm>
              <a:custGeom>
                <a:avLst/>
                <a:gdLst>
                  <a:gd name="connsiteX0" fmla="*/ 0 w 33256"/>
                  <a:gd name="connsiteY0" fmla="*/ 32358 h 32358"/>
                  <a:gd name="connsiteX1" fmla="*/ 27999 w 33256"/>
                  <a:gd name="connsiteY1" fmla="*/ 31911 h 32358"/>
                  <a:gd name="connsiteX2" fmla="*/ 27999 w 33256"/>
                  <a:gd name="connsiteY2" fmla="*/ 31911 h 32358"/>
                  <a:gd name="connsiteX3" fmla="*/ 32638 w 33256"/>
                  <a:gd name="connsiteY3" fmla="*/ 10339 h 32358"/>
                  <a:gd name="connsiteX4" fmla="*/ 32358 w 33256"/>
                  <a:gd name="connsiteY4" fmla="*/ 8998 h 32358"/>
                  <a:gd name="connsiteX5" fmla="*/ 6203 w 33256"/>
                  <a:gd name="connsiteY5" fmla="*/ 0 h 32358"/>
                  <a:gd name="connsiteX6" fmla="*/ 0 w 33256"/>
                  <a:gd name="connsiteY6" fmla="*/ 32358 h 323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256" h="32358">
                    <a:moveTo>
                      <a:pt x="0" y="32358"/>
                    </a:moveTo>
                    <a:lnTo>
                      <a:pt x="27999" y="31911"/>
                    </a:lnTo>
                    <a:lnTo>
                      <a:pt x="27999" y="31911"/>
                    </a:lnTo>
                    <a:cubicBezTo>
                      <a:pt x="32526" y="26043"/>
                      <a:pt x="34314" y="17660"/>
                      <a:pt x="32638" y="10339"/>
                    </a:cubicBezTo>
                    <a:lnTo>
                      <a:pt x="32358" y="8998"/>
                    </a:lnTo>
                    <a:lnTo>
                      <a:pt x="6203" y="0"/>
                    </a:lnTo>
                    <a:lnTo>
                      <a:pt x="0" y="32358"/>
                    </a:lnTo>
                    <a:close/>
                  </a:path>
                </a:pathLst>
              </a:custGeom>
              <a:solidFill>
                <a:srgbClr val="F8B68F"/>
              </a:solidFill>
              <a:ln w="5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550" name="Forma Livre: Forma 549">
              <a:extLst>
                <a:ext uri="{FF2B5EF4-FFF2-40B4-BE49-F238E27FC236}">
                  <a16:creationId xmlns:a16="http://schemas.microsoft.com/office/drawing/2014/main" id="{7F80C31B-7CC9-7B00-9BD1-411DE03BFA0D}"/>
                </a:ext>
              </a:extLst>
            </p:cNvPr>
            <p:cNvSpPr/>
            <p:nvPr/>
          </p:nvSpPr>
          <p:spPr>
            <a:xfrm>
              <a:off x="7852739" y="2845872"/>
              <a:ext cx="484535" cy="141774"/>
            </a:xfrm>
            <a:custGeom>
              <a:avLst/>
              <a:gdLst>
                <a:gd name="connsiteX0" fmla="*/ 0 w 484535"/>
                <a:gd name="connsiteY0" fmla="*/ 94448 h 141774"/>
                <a:gd name="connsiteX1" fmla="*/ 218125 w 484535"/>
                <a:gd name="connsiteY1" fmla="*/ 116356 h 141774"/>
                <a:gd name="connsiteX2" fmla="*/ 281221 w 484535"/>
                <a:gd name="connsiteY2" fmla="*/ 125074 h 141774"/>
                <a:gd name="connsiteX3" fmla="*/ 476209 w 484535"/>
                <a:gd name="connsiteY3" fmla="*/ 137872 h 141774"/>
                <a:gd name="connsiteX4" fmla="*/ 484536 w 484535"/>
                <a:gd name="connsiteY4" fmla="*/ 101378 h 141774"/>
                <a:gd name="connsiteX5" fmla="*/ 96292 w 484535"/>
                <a:gd name="connsiteY5" fmla="*/ 0 h 141774"/>
                <a:gd name="connsiteX6" fmla="*/ 0 w 484535"/>
                <a:gd name="connsiteY6" fmla="*/ 94448 h 141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4535" h="141774">
                  <a:moveTo>
                    <a:pt x="0" y="94448"/>
                  </a:moveTo>
                  <a:cubicBezTo>
                    <a:pt x="0" y="94448"/>
                    <a:pt x="88468" y="124515"/>
                    <a:pt x="218125" y="116356"/>
                  </a:cubicBezTo>
                  <a:cubicBezTo>
                    <a:pt x="239529" y="115014"/>
                    <a:pt x="260990" y="118032"/>
                    <a:pt x="281221" y="125074"/>
                  </a:cubicBezTo>
                  <a:cubicBezTo>
                    <a:pt x="359741" y="152514"/>
                    <a:pt x="476209" y="137872"/>
                    <a:pt x="476209" y="137872"/>
                  </a:cubicBezTo>
                  <a:lnTo>
                    <a:pt x="484536" y="101378"/>
                  </a:lnTo>
                  <a:lnTo>
                    <a:pt x="96292" y="0"/>
                  </a:lnTo>
                  <a:lnTo>
                    <a:pt x="0" y="94448"/>
                  </a:lnTo>
                  <a:close/>
                </a:path>
              </a:pathLst>
            </a:custGeom>
            <a:solidFill>
              <a:srgbClr val="132237"/>
            </a:solidFill>
            <a:ln w="558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51" name="Gráfico 7">
              <a:extLst>
                <a:ext uri="{FF2B5EF4-FFF2-40B4-BE49-F238E27FC236}">
                  <a16:creationId xmlns:a16="http://schemas.microsoft.com/office/drawing/2014/main" id="{A44650FC-5113-CECB-4E43-ECEE6444F43A}"/>
                </a:ext>
              </a:extLst>
            </p:cNvPr>
            <p:cNvGrpSpPr/>
            <p:nvPr/>
          </p:nvGrpSpPr>
          <p:grpSpPr>
            <a:xfrm>
              <a:off x="7775284" y="2441608"/>
              <a:ext cx="127273" cy="146123"/>
              <a:chOff x="5879197" y="2493172"/>
              <a:chExt cx="127273" cy="146123"/>
            </a:xfrm>
          </p:grpSpPr>
          <p:sp>
            <p:nvSpPr>
              <p:cNvPr id="616" name="Forma Livre: Forma 615">
                <a:extLst>
                  <a:ext uri="{FF2B5EF4-FFF2-40B4-BE49-F238E27FC236}">
                    <a16:creationId xmlns:a16="http://schemas.microsoft.com/office/drawing/2014/main" id="{BEB9BA46-96F3-08F1-B337-AEEC5DA4427C}"/>
                  </a:ext>
                </a:extLst>
              </p:cNvPr>
              <p:cNvSpPr/>
              <p:nvPr/>
            </p:nvSpPr>
            <p:spPr>
              <a:xfrm>
                <a:off x="5894115" y="2591960"/>
                <a:ext cx="44653" cy="47335"/>
              </a:xfrm>
              <a:custGeom>
                <a:avLst/>
                <a:gdLst>
                  <a:gd name="connsiteX0" fmla="*/ 15872 w 44653"/>
                  <a:gd name="connsiteY0" fmla="*/ 0 h 47335"/>
                  <a:gd name="connsiteX1" fmla="*/ 0 w 44653"/>
                  <a:gd name="connsiteY1" fmla="*/ 37723 h 47335"/>
                  <a:gd name="connsiteX2" fmla="*/ 32246 w 44653"/>
                  <a:gd name="connsiteY2" fmla="*/ 47336 h 47335"/>
                  <a:gd name="connsiteX3" fmla="*/ 44653 w 44653"/>
                  <a:gd name="connsiteY3" fmla="*/ 16766 h 47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653" h="47335">
                    <a:moveTo>
                      <a:pt x="15872" y="0"/>
                    </a:moveTo>
                    <a:lnTo>
                      <a:pt x="0" y="37723"/>
                    </a:lnTo>
                    <a:lnTo>
                      <a:pt x="32246" y="47336"/>
                    </a:lnTo>
                    <a:lnTo>
                      <a:pt x="44653" y="16766"/>
                    </a:lnTo>
                    <a:close/>
                  </a:path>
                </a:pathLst>
              </a:custGeom>
              <a:solidFill>
                <a:srgbClr val="F4A086"/>
              </a:solidFill>
              <a:ln w="5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17" name="Forma Livre: Forma 616">
                <a:extLst>
                  <a:ext uri="{FF2B5EF4-FFF2-40B4-BE49-F238E27FC236}">
                    <a16:creationId xmlns:a16="http://schemas.microsoft.com/office/drawing/2014/main" id="{206A5500-9661-60E0-4C73-8F006B8574E3}"/>
                  </a:ext>
                </a:extLst>
              </p:cNvPr>
              <p:cNvSpPr/>
              <p:nvPr/>
            </p:nvSpPr>
            <p:spPr>
              <a:xfrm>
                <a:off x="5904621" y="2525623"/>
                <a:ext cx="76130" cy="87882"/>
              </a:xfrm>
              <a:custGeom>
                <a:avLst/>
                <a:gdLst>
                  <a:gd name="connsiteX0" fmla="*/ 9668 w 76130"/>
                  <a:gd name="connsiteY0" fmla="*/ 0 h 87882"/>
                  <a:gd name="connsiteX1" fmla="*/ 0 w 76130"/>
                  <a:gd name="connsiteY1" fmla="*/ 51024 h 87882"/>
                  <a:gd name="connsiteX2" fmla="*/ 4583 w 76130"/>
                  <a:gd name="connsiteY2" fmla="*/ 62593 h 87882"/>
                  <a:gd name="connsiteX3" fmla="*/ 4527 w 76130"/>
                  <a:gd name="connsiteY3" fmla="*/ 66505 h 87882"/>
                  <a:gd name="connsiteX4" fmla="*/ 46889 w 76130"/>
                  <a:gd name="connsiteY4" fmla="*/ 87854 h 87882"/>
                  <a:gd name="connsiteX5" fmla="*/ 75950 w 76130"/>
                  <a:gd name="connsiteY5" fmla="*/ 23193 h 87882"/>
                  <a:gd name="connsiteX6" fmla="*/ 9668 w 76130"/>
                  <a:gd name="connsiteY6" fmla="*/ 0 h 87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6130" h="87882">
                    <a:moveTo>
                      <a:pt x="9668" y="0"/>
                    </a:moveTo>
                    <a:lnTo>
                      <a:pt x="0" y="51024"/>
                    </a:lnTo>
                    <a:cubicBezTo>
                      <a:pt x="5086" y="52030"/>
                      <a:pt x="6706" y="58122"/>
                      <a:pt x="4583" y="62593"/>
                    </a:cubicBezTo>
                    <a:cubicBezTo>
                      <a:pt x="4806" y="63878"/>
                      <a:pt x="4806" y="65220"/>
                      <a:pt x="4527" y="66505"/>
                    </a:cubicBezTo>
                    <a:cubicBezTo>
                      <a:pt x="11736" y="74832"/>
                      <a:pt x="25540" y="86792"/>
                      <a:pt x="46889" y="87854"/>
                    </a:cubicBezTo>
                    <a:cubicBezTo>
                      <a:pt x="80253" y="89474"/>
                      <a:pt x="75950" y="23193"/>
                      <a:pt x="75950" y="23193"/>
                    </a:cubicBezTo>
                    <a:lnTo>
                      <a:pt x="9668" y="0"/>
                    </a:lnTo>
                    <a:close/>
                  </a:path>
                </a:pathLst>
              </a:custGeom>
              <a:solidFill>
                <a:srgbClr val="F8B68F"/>
              </a:solidFill>
              <a:ln w="5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18" name="Forma Livre: Forma 617">
                <a:extLst>
                  <a:ext uri="{FF2B5EF4-FFF2-40B4-BE49-F238E27FC236}">
                    <a16:creationId xmlns:a16="http://schemas.microsoft.com/office/drawing/2014/main" id="{6F462DE1-F049-55E8-52A8-823730BC6AD9}"/>
                  </a:ext>
                </a:extLst>
              </p:cNvPr>
              <p:cNvSpPr/>
              <p:nvPr/>
            </p:nvSpPr>
            <p:spPr>
              <a:xfrm>
                <a:off x="5879197" y="2493172"/>
                <a:ext cx="127273" cy="99682"/>
              </a:xfrm>
              <a:custGeom>
                <a:avLst/>
                <a:gdLst>
                  <a:gd name="connsiteX0" fmla="*/ 9888 w 127273"/>
                  <a:gd name="connsiteY0" fmla="*/ 66374 h 99682"/>
                  <a:gd name="connsiteX1" fmla="*/ 5194 w 127273"/>
                  <a:gd name="connsiteY1" fmla="*/ 50447 h 99682"/>
                  <a:gd name="connsiteX2" fmla="*/ 16427 w 127273"/>
                  <a:gd name="connsiteY2" fmla="*/ 20715 h 99682"/>
                  <a:gd name="connsiteX3" fmla="*/ 35037 w 127273"/>
                  <a:gd name="connsiteY3" fmla="*/ 1937 h 99682"/>
                  <a:gd name="connsiteX4" fmla="*/ 67954 w 127273"/>
                  <a:gd name="connsiteY4" fmla="*/ 8699 h 99682"/>
                  <a:gd name="connsiteX5" fmla="*/ 94221 w 127273"/>
                  <a:gd name="connsiteY5" fmla="*/ 8197 h 99682"/>
                  <a:gd name="connsiteX6" fmla="*/ 103833 w 127273"/>
                  <a:gd name="connsiteY6" fmla="*/ 30272 h 99682"/>
                  <a:gd name="connsiteX7" fmla="*/ 124511 w 127273"/>
                  <a:gd name="connsiteY7" fmla="*/ 41002 h 99682"/>
                  <a:gd name="connsiteX8" fmla="*/ 101486 w 127273"/>
                  <a:gd name="connsiteY8" fmla="*/ 63468 h 99682"/>
                  <a:gd name="connsiteX9" fmla="*/ 58789 w 127273"/>
                  <a:gd name="connsiteY9" fmla="*/ 51061 h 99682"/>
                  <a:gd name="connsiteX10" fmla="*/ 48729 w 127273"/>
                  <a:gd name="connsiteY10" fmla="*/ 51061 h 99682"/>
                  <a:gd name="connsiteX11" fmla="*/ 30678 w 127273"/>
                  <a:gd name="connsiteY11" fmla="*/ 99683 h 99682"/>
                  <a:gd name="connsiteX12" fmla="*/ 24139 w 127273"/>
                  <a:gd name="connsiteY12" fmla="*/ 90853 h 99682"/>
                  <a:gd name="connsiteX13" fmla="*/ 9888 w 127273"/>
                  <a:gd name="connsiteY13" fmla="*/ 66374 h 99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7273" h="99682">
                    <a:moveTo>
                      <a:pt x="9888" y="66374"/>
                    </a:moveTo>
                    <a:cubicBezTo>
                      <a:pt x="10559" y="62630"/>
                      <a:pt x="7429" y="53576"/>
                      <a:pt x="5194" y="50447"/>
                    </a:cubicBezTo>
                    <a:cubicBezTo>
                      <a:pt x="-9057" y="30439"/>
                      <a:pt x="9832" y="23006"/>
                      <a:pt x="16427" y="20715"/>
                    </a:cubicBezTo>
                    <a:cubicBezTo>
                      <a:pt x="23748" y="18200"/>
                      <a:pt x="25313" y="6408"/>
                      <a:pt x="35037" y="1937"/>
                    </a:cubicBezTo>
                    <a:cubicBezTo>
                      <a:pt x="49959" y="-4825"/>
                      <a:pt x="59571" y="8252"/>
                      <a:pt x="67954" y="8699"/>
                    </a:cubicBezTo>
                    <a:cubicBezTo>
                      <a:pt x="76337" y="9147"/>
                      <a:pt x="83882" y="-298"/>
                      <a:pt x="94221" y="8197"/>
                    </a:cubicBezTo>
                    <a:cubicBezTo>
                      <a:pt x="104504" y="16691"/>
                      <a:pt x="100983" y="25521"/>
                      <a:pt x="103833" y="30272"/>
                    </a:cubicBezTo>
                    <a:cubicBezTo>
                      <a:pt x="106628" y="35022"/>
                      <a:pt x="116073" y="26024"/>
                      <a:pt x="124511" y="41002"/>
                    </a:cubicBezTo>
                    <a:cubicBezTo>
                      <a:pt x="137309" y="63748"/>
                      <a:pt x="101486" y="63468"/>
                      <a:pt x="101486" y="63468"/>
                    </a:cubicBezTo>
                    <a:cubicBezTo>
                      <a:pt x="101486" y="63468"/>
                      <a:pt x="81032" y="66654"/>
                      <a:pt x="58789" y="51061"/>
                    </a:cubicBezTo>
                    <a:cubicBezTo>
                      <a:pt x="55715" y="48938"/>
                      <a:pt x="51580" y="48658"/>
                      <a:pt x="48729" y="51061"/>
                    </a:cubicBezTo>
                    <a:cubicBezTo>
                      <a:pt x="40905" y="57656"/>
                      <a:pt x="30678" y="99683"/>
                      <a:pt x="30678" y="99683"/>
                    </a:cubicBezTo>
                    <a:lnTo>
                      <a:pt x="24139" y="90853"/>
                    </a:lnTo>
                    <a:cubicBezTo>
                      <a:pt x="24027" y="90909"/>
                      <a:pt x="6870" y="83587"/>
                      <a:pt x="9888" y="66374"/>
                    </a:cubicBezTo>
                    <a:close/>
                  </a:path>
                </a:pathLst>
              </a:custGeom>
              <a:solidFill>
                <a:srgbClr val="FFC000"/>
              </a:solidFill>
              <a:ln w="5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19" name="Forma Livre: Forma 618">
                <a:extLst>
                  <a:ext uri="{FF2B5EF4-FFF2-40B4-BE49-F238E27FC236}">
                    <a16:creationId xmlns:a16="http://schemas.microsoft.com/office/drawing/2014/main" id="{4FB13F18-656C-BC9E-5E99-8BA7A47647F2}"/>
                  </a:ext>
                </a:extLst>
              </p:cNvPr>
              <p:cNvSpPr/>
              <p:nvPr/>
            </p:nvSpPr>
            <p:spPr>
              <a:xfrm>
                <a:off x="5907112" y="2559172"/>
                <a:ext cx="15879" cy="15893"/>
              </a:xfrm>
              <a:custGeom>
                <a:avLst/>
                <a:gdLst>
                  <a:gd name="connsiteX0" fmla="*/ 81 w 15879"/>
                  <a:gd name="connsiteY0" fmla="*/ 9148 h 15893"/>
                  <a:gd name="connsiteX1" fmla="*/ 9134 w 15879"/>
                  <a:gd name="connsiteY1" fmla="*/ 15799 h 15893"/>
                  <a:gd name="connsiteX2" fmla="*/ 15785 w 15879"/>
                  <a:gd name="connsiteY2" fmla="*/ 6745 h 15893"/>
                  <a:gd name="connsiteX3" fmla="*/ 6731 w 15879"/>
                  <a:gd name="connsiteY3" fmla="*/ 95 h 15893"/>
                  <a:gd name="connsiteX4" fmla="*/ 81 w 15879"/>
                  <a:gd name="connsiteY4" fmla="*/ 9148 h 15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879" h="15893">
                    <a:moveTo>
                      <a:pt x="81" y="9148"/>
                    </a:moveTo>
                    <a:cubicBezTo>
                      <a:pt x="751" y="13507"/>
                      <a:pt x="4775" y="16469"/>
                      <a:pt x="9134" y="15799"/>
                    </a:cubicBezTo>
                    <a:cubicBezTo>
                      <a:pt x="13493" y="15128"/>
                      <a:pt x="16455" y="11104"/>
                      <a:pt x="15785" y="6745"/>
                    </a:cubicBezTo>
                    <a:cubicBezTo>
                      <a:pt x="15114" y="2386"/>
                      <a:pt x="11090" y="-576"/>
                      <a:pt x="6731" y="95"/>
                    </a:cubicBezTo>
                    <a:cubicBezTo>
                      <a:pt x="2428" y="709"/>
                      <a:pt x="-534" y="4789"/>
                      <a:pt x="81" y="9148"/>
                    </a:cubicBezTo>
                    <a:close/>
                  </a:path>
                </a:pathLst>
              </a:custGeom>
              <a:solidFill>
                <a:srgbClr val="F8B68F"/>
              </a:solidFill>
              <a:ln w="5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552" name="Forma Livre: Forma 551">
              <a:extLst>
                <a:ext uri="{FF2B5EF4-FFF2-40B4-BE49-F238E27FC236}">
                  <a16:creationId xmlns:a16="http://schemas.microsoft.com/office/drawing/2014/main" id="{A81317E5-C5D3-B22C-9108-62AFC34B973A}"/>
                </a:ext>
              </a:extLst>
            </p:cNvPr>
            <p:cNvSpPr/>
            <p:nvPr/>
          </p:nvSpPr>
          <p:spPr>
            <a:xfrm>
              <a:off x="7723417" y="2748072"/>
              <a:ext cx="398553" cy="254393"/>
            </a:xfrm>
            <a:custGeom>
              <a:avLst/>
              <a:gdLst>
                <a:gd name="connsiteX0" fmla="*/ 0 w 398553"/>
                <a:gd name="connsiteY0" fmla="*/ 80642 h 254393"/>
                <a:gd name="connsiteX1" fmla="*/ 103502 w 398553"/>
                <a:gd name="connsiteY1" fmla="*/ 192583 h 254393"/>
                <a:gd name="connsiteX2" fmla="*/ 313188 w 398553"/>
                <a:gd name="connsiteY2" fmla="*/ 96905 h 254393"/>
                <a:gd name="connsiteX3" fmla="*/ 359294 w 398553"/>
                <a:gd name="connsiteY3" fmla="*/ 254394 h 254393"/>
                <a:gd name="connsiteX4" fmla="*/ 395844 w 398553"/>
                <a:gd name="connsiteY4" fmla="*/ 248861 h 254393"/>
                <a:gd name="connsiteX5" fmla="*/ 362480 w 398553"/>
                <a:gd name="connsiteY5" fmla="*/ 1842 h 254393"/>
                <a:gd name="connsiteX6" fmla="*/ 120659 w 398553"/>
                <a:gd name="connsiteY6" fmla="*/ 62368 h 254393"/>
                <a:gd name="connsiteX7" fmla="*/ 0 w 398553"/>
                <a:gd name="connsiteY7" fmla="*/ 80642 h 254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8553" h="254393">
                  <a:moveTo>
                    <a:pt x="0" y="80642"/>
                  </a:moveTo>
                  <a:cubicBezTo>
                    <a:pt x="0" y="80642"/>
                    <a:pt x="9221" y="184759"/>
                    <a:pt x="103502" y="192583"/>
                  </a:cubicBezTo>
                  <a:cubicBezTo>
                    <a:pt x="197782" y="200407"/>
                    <a:pt x="313188" y="96905"/>
                    <a:pt x="313188" y="96905"/>
                  </a:cubicBezTo>
                  <a:lnTo>
                    <a:pt x="359294" y="254394"/>
                  </a:lnTo>
                  <a:lnTo>
                    <a:pt x="395844" y="248861"/>
                  </a:lnTo>
                  <a:cubicBezTo>
                    <a:pt x="395844" y="248861"/>
                    <a:pt x="412666" y="16261"/>
                    <a:pt x="362480" y="1842"/>
                  </a:cubicBezTo>
                  <a:cubicBezTo>
                    <a:pt x="312238" y="-12576"/>
                    <a:pt x="120659" y="62368"/>
                    <a:pt x="120659" y="62368"/>
                  </a:cubicBezTo>
                  <a:lnTo>
                    <a:pt x="0" y="80642"/>
                  </a:lnTo>
                  <a:close/>
                </a:path>
              </a:pathLst>
            </a:custGeom>
            <a:solidFill>
              <a:srgbClr val="114585"/>
            </a:solidFill>
            <a:ln w="558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3" name="Forma Livre: Forma 552">
              <a:extLst>
                <a:ext uri="{FF2B5EF4-FFF2-40B4-BE49-F238E27FC236}">
                  <a16:creationId xmlns:a16="http://schemas.microsoft.com/office/drawing/2014/main" id="{901B2266-F2EC-C20D-8509-2BD4C6CF9B95}"/>
                </a:ext>
              </a:extLst>
            </p:cNvPr>
            <p:cNvSpPr/>
            <p:nvPr/>
          </p:nvSpPr>
          <p:spPr>
            <a:xfrm>
              <a:off x="7721351" y="2574020"/>
              <a:ext cx="157095" cy="254694"/>
            </a:xfrm>
            <a:custGeom>
              <a:avLst/>
              <a:gdLst>
                <a:gd name="connsiteX0" fmla="*/ 2066 w 157095"/>
                <a:gd name="connsiteY0" fmla="*/ 254695 h 254694"/>
                <a:gd name="connsiteX1" fmla="*/ 157095 w 157095"/>
                <a:gd name="connsiteY1" fmla="*/ 231167 h 254694"/>
                <a:gd name="connsiteX2" fmla="*/ 144688 w 157095"/>
                <a:gd name="connsiteY2" fmla="*/ 161867 h 254694"/>
                <a:gd name="connsiteX3" fmla="*/ 153295 w 157095"/>
                <a:gd name="connsiteY3" fmla="*/ 111122 h 254694"/>
                <a:gd name="connsiteX4" fmla="*/ 70862 w 157095"/>
                <a:gd name="connsiteY4" fmla="*/ 467 h 254694"/>
                <a:gd name="connsiteX5" fmla="*/ 2066 w 157095"/>
                <a:gd name="connsiteY5" fmla="*/ 254695 h 254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7095" h="254694">
                  <a:moveTo>
                    <a:pt x="2066" y="254695"/>
                  </a:moveTo>
                  <a:lnTo>
                    <a:pt x="157095" y="231167"/>
                  </a:lnTo>
                  <a:cubicBezTo>
                    <a:pt x="157095" y="231167"/>
                    <a:pt x="146589" y="197299"/>
                    <a:pt x="144688" y="161867"/>
                  </a:cubicBezTo>
                  <a:cubicBezTo>
                    <a:pt x="143236" y="135098"/>
                    <a:pt x="153295" y="111122"/>
                    <a:pt x="153295" y="111122"/>
                  </a:cubicBezTo>
                  <a:cubicBezTo>
                    <a:pt x="144800" y="51883"/>
                    <a:pt x="123284" y="-5792"/>
                    <a:pt x="70862" y="467"/>
                  </a:cubicBezTo>
                  <a:cubicBezTo>
                    <a:pt x="-18612" y="22319"/>
                    <a:pt x="2066" y="254695"/>
                    <a:pt x="2066" y="254695"/>
                  </a:cubicBezTo>
                  <a:close/>
                </a:path>
              </a:pathLst>
            </a:custGeom>
            <a:solidFill>
              <a:srgbClr val="0070C0"/>
            </a:solidFill>
            <a:ln w="558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4" name="Forma Livre: Forma 553">
              <a:extLst>
                <a:ext uri="{FF2B5EF4-FFF2-40B4-BE49-F238E27FC236}">
                  <a16:creationId xmlns:a16="http://schemas.microsoft.com/office/drawing/2014/main" id="{C7622F4F-C223-B0B4-3E5F-CE1249AC32BF}"/>
                </a:ext>
              </a:extLst>
            </p:cNvPr>
            <p:cNvSpPr/>
            <p:nvPr/>
          </p:nvSpPr>
          <p:spPr>
            <a:xfrm>
              <a:off x="7964903" y="2608745"/>
              <a:ext cx="202197" cy="148993"/>
            </a:xfrm>
            <a:custGeom>
              <a:avLst/>
              <a:gdLst>
                <a:gd name="connsiteX0" fmla="*/ 191970 w 202197"/>
                <a:gd name="connsiteY0" fmla="*/ 0 h 148993"/>
                <a:gd name="connsiteX1" fmla="*/ 138096 w 202197"/>
                <a:gd name="connsiteY1" fmla="*/ 137090 h 148993"/>
                <a:gd name="connsiteX2" fmla="*/ 1285 w 202197"/>
                <a:gd name="connsiteY2" fmla="*/ 120883 h 148993"/>
                <a:gd name="connsiteX3" fmla="*/ 0 w 202197"/>
                <a:gd name="connsiteY3" fmla="*/ 131780 h 148993"/>
                <a:gd name="connsiteX4" fmla="*/ 145193 w 202197"/>
                <a:gd name="connsiteY4" fmla="*/ 148993 h 148993"/>
                <a:gd name="connsiteX5" fmla="*/ 202197 w 202197"/>
                <a:gd name="connsiteY5" fmla="*/ 4024 h 148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2197" h="148993">
                  <a:moveTo>
                    <a:pt x="191970" y="0"/>
                  </a:moveTo>
                  <a:lnTo>
                    <a:pt x="138096" y="137090"/>
                  </a:lnTo>
                  <a:lnTo>
                    <a:pt x="1285" y="120883"/>
                  </a:lnTo>
                  <a:lnTo>
                    <a:pt x="0" y="131780"/>
                  </a:lnTo>
                  <a:lnTo>
                    <a:pt x="145193" y="148993"/>
                  </a:lnTo>
                  <a:lnTo>
                    <a:pt x="202197" y="4024"/>
                  </a:lnTo>
                  <a:close/>
                </a:path>
              </a:pathLst>
            </a:custGeom>
            <a:solidFill>
              <a:srgbClr val="132237"/>
            </a:solidFill>
            <a:ln w="558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5" name="Forma Livre: Forma 554">
              <a:extLst>
                <a:ext uri="{FF2B5EF4-FFF2-40B4-BE49-F238E27FC236}">
                  <a16:creationId xmlns:a16="http://schemas.microsoft.com/office/drawing/2014/main" id="{86F305EB-4D8F-994D-BE0E-096055467F6B}"/>
                </a:ext>
              </a:extLst>
            </p:cNvPr>
            <p:cNvSpPr/>
            <p:nvPr/>
          </p:nvSpPr>
          <p:spPr>
            <a:xfrm>
              <a:off x="7813171" y="2683857"/>
              <a:ext cx="267025" cy="127280"/>
            </a:xfrm>
            <a:custGeom>
              <a:avLst/>
              <a:gdLst>
                <a:gd name="connsiteX0" fmla="*/ 0 w 267025"/>
                <a:gd name="connsiteY0" fmla="*/ 9277 h 127280"/>
                <a:gd name="connsiteX1" fmla="*/ 61252 w 267025"/>
                <a:gd name="connsiteY1" fmla="*/ 0 h 127280"/>
                <a:gd name="connsiteX2" fmla="*/ 67734 w 267025"/>
                <a:gd name="connsiteY2" fmla="*/ 68517 h 127280"/>
                <a:gd name="connsiteX3" fmla="*/ 175651 w 267025"/>
                <a:gd name="connsiteY3" fmla="*/ 34594 h 127280"/>
                <a:gd name="connsiteX4" fmla="*/ 199627 w 267025"/>
                <a:gd name="connsiteY4" fmla="*/ 18666 h 127280"/>
                <a:gd name="connsiteX5" fmla="*/ 220640 w 267025"/>
                <a:gd name="connsiteY5" fmla="*/ 13916 h 127280"/>
                <a:gd name="connsiteX6" fmla="*/ 250316 w 267025"/>
                <a:gd name="connsiteY6" fmla="*/ 18219 h 127280"/>
                <a:gd name="connsiteX7" fmla="*/ 256240 w 267025"/>
                <a:gd name="connsiteY7" fmla="*/ 24143 h 127280"/>
                <a:gd name="connsiteX8" fmla="*/ 267026 w 267025"/>
                <a:gd name="connsiteY8" fmla="*/ 55775 h 127280"/>
                <a:gd name="connsiteX9" fmla="*/ 248527 w 267025"/>
                <a:gd name="connsiteY9" fmla="*/ 34370 h 127280"/>
                <a:gd name="connsiteX10" fmla="*/ 198397 w 267025"/>
                <a:gd name="connsiteY10" fmla="*/ 44989 h 127280"/>
                <a:gd name="connsiteX11" fmla="*/ 183364 w 267025"/>
                <a:gd name="connsiteY11" fmla="*/ 55607 h 127280"/>
                <a:gd name="connsiteX12" fmla="*/ 38785 w 267025"/>
                <a:gd name="connsiteY12" fmla="*/ 125353 h 127280"/>
                <a:gd name="connsiteX13" fmla="*/ 0 w 267025"/>
                <a:gd name="connsiteY13" fmla="*/ 9277 h 127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67025" h="127280">
                  <a:moveTo>
                    <a:pt x="0" y="9277"/>
                  </a:moveTo>
                  <a:lnTo>
                    <a:pt x="61252" y="0"/>
                  </a:lnTo>
                  <a:lnTo>
                    <a:pt x="67734" y="68517"/>
                  </a:lnTo>
                  <a:lnTo>
                    <a:pt x="175651" y="34594"/>
                  </a:lnTo>
                  <a:lnTo>
                    <a:pt x="199627" y="18666"/>
                  </a:lnTo>
                  <a:cubicBezTo>
                    <a:pt x="205830" y="14530"/>
                    <a:pt x="213319" y="12854"/>
                    <a:pt x="220640" y="13916"/>
                  </a:cubicBezTo>
                  <a:lnTo>
                    <a:pt x="250316" y="18219"/>
                  </a:lnTo>
                  <a:cubicBezTo>
                    <a:pt x="253389" y="18666"/>
                    <a:pt x="255792" y="21069"/>
                    <a:pt x="256240" y="24143"/>
                  </a:cubicBezTo>
                  <a:lnTo>
                    <a:pt x="267026" y="55775"/>
                  </a:lnTo>
                  <a:cubicBezTo>
                    <a:pt x="267026" y="55775"/>
                    <a:pt x="259984" y="61028"/>
                    <a:pt x="248527" y="34370"/>
                  </a:cubicBezTo>
                  <a:cubicBezTo>
                    <a:pt x="243162" y="65890"/>
                    <a:pt x="198397" y="44989"/>
                    <a:pt x="198397" y="44989"/>
                  </a:cubicBezTo>
                  <a:lnTo>
                    <a:pt x="183364" y="55607"/>
                  </a:lnTo>
                  <a:cubicBezTo>
                    <a:pt x="183364" y="55607"/>
                    <a:pt x="67846" y="141058"/>
                    <a:pt x="38785" y="125353"/>
                  </a:cubicBezTo>
                  <a:cubicBezTo>
                    <a:pt x="9780" y="109649"/>
                    <a:pt x="0" y="9277"/>
                    <a:pt x="0" y="9277"/>
                  </a:cubicBezTo>
                  <a:close/>
                </a:path>
              </a:pathLst>
            </a:custGeom>
            <a:solidFill>
              <a:srgbClr val="F8B68F"/>
            </a:solidFill>
            <a:ln w="558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6" name="Forma Livre: Forma 555">
              <a:extLst>
                <a:ext uri="{FF2B5EF4-FFF2-40B4-BE49-F238E27FC236}">
                  <a16:creationId xmlns:a16="http://schemas.microsoft.com/office/drawing/2014/main" id="{1C9434A5-E5E5-7BF0-E923-A4A3D9A9A2DB}"/>
                </a:ext>
              </a:extLst>
            </p:cNvPr>
            <p:cNvSpPr/>
            <p:nvPr/>
          </p:nvSpPr>
          <p:spPr>
            <a:xfrm>
              <a:off x="7985301" y="2697462"/>
              <a:ext cx="95007" cy="47367"/>
            </a:xfrm>
            <a:custGeom>
              <a:avLst/>
              <a:gdLst>
                <a:gd name="connsiteX0" fmla="*/ 84109 w 95007"/>
                <a:gd name="connsiteY0" fmla="*/ 10538 h 47367"/>
                <a:gd name="connsiteX1" fmla="*/ 78185 w 95007"/>
                <a:gd name="connsiteY1" fmla="*/ 4614 h 47367"/>
                <a:gd name="connsiteX2" fmla="*/ 48510 w 95007"/>
                <a:gd name="connsiteY2" fmla="*/ 311 h 47367"/>
                <a:gd name="connsiteX3" fmla="*/ 27496 w 95007"/>
                <a:gd name="connsiteY3" fmla="*/ 5061 h 47367"/>
                <a:gd name="connsiteX4" fmla="*/ 3521 w 95007"/>
                <a:gd name="connsiteY4" fmla="*/ 20989 h 47367"/>
                <a:gd name="connsiteX5" fmla="*/ 0 w 95007"/>
                <a:gd name="connsiteY5" fmla="*/ 22107 h 47367"/>
                <a:gd name="connsiteX6" fmla="*/ 3856 w 95007"/>
                <a:gd name="connsiteY6" fmla="*/ 47367 h 47367"/>
                <a:gd name="connsiteX7" fmla="*/ 11345 w 95007"/>
                <a:gd name="connsiteY7" fmla="*/ 41946 h 47367"/>
                <a:gd name="connsiteX8" fmla="*/ 26378 w 95007"/>
                <a:gd name="connsiteY8" fmla="*/ 31328 h 47367"/>
                <a:gd name="connsiteX9" fmla="*/ 76509 w 95007"/>
                <a:gd name="connsiteY9" fmla="*/ 20709 h 47367"/>
                <a:gd name="connsiteX10" fmla="*/ 95007 w 95007"/>
                <a:gd name="connsiteY10" fmla="*/ 42114 h 47367"/>
                <a:gd name="connsiteX11" fmla="*/ 84109 w 95007"/>
                <a:gd name="connsiteY11" fmla="*/ 10538 h 47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5007" h="47367">
                  <a:moveTo>
                    <a:pt x="84109" y="10538"/>
                  </a:moveTo>
                  <a:cubicBezTo>
                    <a:pt x="83662" y="7464"/>
                    <a:pt x="81259" y="5061"/>
                    <a:pt x="78185" y="4614"/>
                  </a:cubicBezTo>
                  <a:lnTo>
                    <a:pt x="48510" y="311"/>
                  </a:lnTo>
                  <a:cubicBezTo>
                    <a:pt x="41188" y="-751"/>
                    <a:pt x="33700" y="926"/>
                    <a:pt x="27496" y="5061"/>
                  </a:cubicBezTo>
                  <a:lnTo>
                    <a:pt x="3521" y="20989"/>
                  </a:lnTo>
                  <a:lnTo>
                    <a:pt x="0" y="22107"/>
                  </a:lnTo>
                  <a:lnTo>
                    <a:pt x="3856" y="47367"/>
                  </a:lnTo>
                  <a:cubicBezTo>
                    <a:pt x="8607" y="44014"/>
                    <a:pt x="11345" y="41946"/>
                    <a:pt x="11345" y="41946"/>
                  </a:cubicBezTo>
                  <a:lnTo>
                    <a:pt x="26378" y="31328"/>
                  </a:lnTo>
                  <a:cubicBezTo>
                    <a:pt x="26378" y="31328"/>
                    <a:pt x="71088" y="52229"/>
                    <a:pt x="76509" y="20709"/>
                  </a:cubicBezTo>
                  <a:cubicBezTo>
                    <a:pt x="87965" y="47367"/>
                    <a:pt x="95007" y="42114"/>
                    <a:pt x="95007" y="42114"/>
                  </a:cubicBezTo>
                  <a:lnTo>
                    <a:pt x="84109" y="10538"/>
                  </a:lnTo>
                  <a:close/>
                </a:path>
              </a:pathLst>
            </a:custGeom>
            <a:solidFill>
              <a:srgbClr val="F8B68F"/>
            </a:solidFill>
            <a:ln w="558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7" name="Forma Livre: Forma 556">
              <a:extLst>
                <a:ext uri="{FF2B5EF4-FFF2-40B4-BE49-F238E27FC236}">
                  <a16:creationId xmlns:a16="http://schemas.microsoft.com/office/drawing/2014/main" id="{347079A8-1CD9-C553-17F6-46417293D60E}"/>
                </a:ext>
              </a:extLst>
            </p:cNvPr>
            <p:cNvSpPr/>
            <p:nvPr/>
          </p:nvSpPr>
          <p:spPr>
            <a:xfrm>
              <a:off x="7718233" y="2168549"/>
              <a:ext cx="269024" cy="195112"/>
            </a:xfrm>
            <a:custGeom>
              <a:avLst/>
              <a:gdLst>
                <a:gd name="connsiteX0" fmla="*/ 269025 w 269024"/>
                <a:gd name="connsiteY0" fmla="*/ 191167 h 195112"/>
                <a:gd name="connsiteX1" fmla="*/ 247453 w 269024"/>
                <a:gd name="connsiteY1" fmla="*/ 160205 h 195112"/>
                <a:gd name="connsiteX2" fmla="*/ 240691 w 269024"/>
                <a:gd name="connsiteY2" fmla="*/ 20601 h 195112"/>
                <a:gd name="connsiteX3" fmla="*/ 17536 w 269024"/>
                <a:gd name="connsiteY3" fmla="*/ 20601 h 195112"/>
                <a:gd name="connsiteX4" fmla="*/ 24410 w 269024"/>
                <a:gd name="connsiteY4" fmla="*/ 186975 h 195112"/>
                <a:gd name="connsiteX5" fmla="*/ 219621 w 269024"/>
                <a:gd name="connsiteY5" fmla="*/ 186360 h 195112"/>
                <a:gd name="connsiteX6" fmla="*/ 269025 w 269024"/>
                <a:gd name="connsiteY6" fmla="*/ 191167 h 195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9024" h="195112">
                  <a:moveTo>
                    <a:pt x="269025" y="191167"/>
                  </a:moveTo>
                  <a:cubicBezTo>
                    <a:pt x="269025" y="191167"/>
                    <a:pt x="253097" y="166744"/>
                    <a:pt x="247453" y="160205"/>
                  </a:cubicBezTo>
                  <a:cubicBezTo>
                    <a:pt x="227054" y="139136"/>
                    <a:pt x="265448" y="36976"/>
                    <a:pt x="240691" y="20601"/>
                  </a:cubicBezTo>
                  <a:cubicBezTo>
                    <a:pt x="215933" y="4282"/>
                    <a:pt x="37096" y="-16172"/>
                    <a:pt x="17536" y="20601"/>
                  </a:cubicBezTo>
                  <a:cubicBezTo>
                    <a:pt x="-2025" y="57374"/>
                    <a:pt x="-11917" y="171103"/>
                    <a:pt x="24410" y="186975"/>
                  </a:cubicBezTo>
                  <a:cubicBezTo>
                    <a:pt x="60736" y="202847"/>
                    <a:pt x="203749" y="191502"/>
                    <a:pt x="219621" y="186360"/>
                  </a:cubicBezTo>
                  <a:cubicBezTo>
                    <a:pt x="246279" y="177698"/>
                    <a:pt x="269025" y="191167"/>
                    <a:pt x="269025" y="191167"/>
                  </a:cubicBezTo>
                  <a:close/>
                </a:path>
              </a:pathLst>
            </a:custGeom>
            <a:solidFill>
              <a:srgbClr val="0070C0"/>
            </a:solidFill>
            <a:ln w="558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8" name="Forma Livre: Forma 557">
              <a:extLst>
                <a:ext uri="{FF2B5EF4-FFF2-40B4-BE49-F238E27FC236}">
                  <a16:creationId xmlns:a16="http://schemas.microsoft.com/office/drawing/2014/main" id="{639F9961-BD41-B5E3-3B20-50C6D97FC8CD}"/>
                </a:ext>
              </a:extLst>
            </p:cNvPr>
            <p:cNvSpPr/>
            <p:nvPr/>
          </p:nvSpPr>
          <p:spPr>
            <a:xfrm>
              <a:off x="7786849" y="2194783"/>
              <a:ext cx="115999" cy="138262"/>
            </a:xfrm>
            <a:custGeom>
              <a:avLst/>
              <a:gdLst>
                <a:gd name="connsiteX0" fmla="*/ 0 w 115999"/>
                <a:gd name="connsiteY0" fmla="*/ 73558 h 138262"/>
                <a:gd name="connsiteX1" fmla="*/ 48733 w 115999"/>
                <a:gd name="connsiteY1" fmla="*/ 14821 h 138262"/>
                <a:gd name="connsiteX2" fmla="*/ 66226 w 115999"/>
                <a:gd name="connsiteY2" fmla="*/ 4817 h 138262"/>
                <a:gd name="connsiteX3" fmla="*/ 66226 w 115999"/>
                <a:gd name="connsiteY3" fmla="*/ 53606 h 138262"/>
                <a:gd name="connsiteX4" fmla="*/ 108699 w 115999"/>
                <a:gd name="connsiteY4" fmla="*/ 61095 h 138262"/>
                <a:gd name="connsiteX5" fmla="*/ 95901 w 115999"/>
                <a:gd name="connsiteY5" fmla="*/ 129891 h 138262"/>
                <a:gd name="connsiteX6" fmla="*/ 4136 w 115999"/>
                <a:gd name="connsiteY6" fmla="*/ 127432 h 138262"/>
                <a:gd name="connsiteX7" fmla="*/ 0 w 115999"/>
                <a:gd name="connsiteY7" fmla="*/ 73558 h 138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5999" h="138262">
                  <a:moveTo>
                    <a:pt x="0" y="73558"/>
                  </a:moveTo>
                  <a:cubicBezTo>
                    <a:pt x="0" y="73558"/>
                    <a:pt x="47783" y="54892"/>
                    <a:pt x="48733" y="14821"/>
                  </a:cubicBezTo>
                  <a:cubicBezTo>
                    <a:pt x="54992" y="-11054"/>
                    <a:pt x="66226" y="4817"/>
                    <a:pt x="66226" y="4817"/>
                  </a:cubicBezTo>
                  <a:cubicBezTo>
                    <a:pt x="66226" y="4817"/>
                    <a:pt x="76061" y="32872"/>
                    <a:pt x="66226" y="53606"/>
                  </a:cubicBezTo>
                  <a:cubicBezTo>
                    <a:pt x="83830" y="57015"/>
                    <a:pt x="95678" y="55227"/>
                    <a:pt x="108699" y="61095"/>
                  </a:cubicBezTo>
                  <a:cubicBezTo>
                    <a:pt x="121274" y="66795"/>
                    <a:pt x="117976" y="101557"/>
                    <a:pt x="95901" y="129891"/>
                  </a:cubicBezTo>
                  <a:cubicBezTo>
                    <a:pt x="80197" y="150066"/>
                    <a:pt x="4136" y="127432"/>
                    <a:pt x="4136" y="127432"/>
                  </a:cubicBezTo>
                  <a:lnTo>
                    <a:pt x="0" y="73558"/>
                  </a:lnTo>
                  <a:close/>
                </a:path>
              </a:pathLst>
            </a:custGeom>
            <a:solidFill>
              <a:srgbClr val="FFFFFF"/>
            </a:solidFill>
            <a:ln w="558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59" name="Gráfico 7">
              <a:extLst>
                <a:ext uri="{FF2B5EF4-FFF2-40B4-BE49-F238E27FC236}">
                  <a16:creationId xmlns:a16="http://schemas.microsoft.com/office/drawing/2014/main" id="{555D423E-5F12-85AE-6EEC-E0618E4C4762}"/>
                </a:ext>
              </a:extLst>
            </p:cNvPr>
            <p:cNvGrpSpPr/>
            <p:nvPr/>
          </p:nvGrpSpPr>
          <p:grpSpPr>
            <a:xfrm>
              <a:off x="8542043" y="2039174"/>
              <a:ext cx="646830" cy="980840"/>
              <a:chOff x="6645956" y="2090738"/>
              <a:chExt cx="646830" cy="980840"/>
            </a:xfrm>
          </p:grpSpPr>
          <p:grpSp>
            <p:nvGrpSpPr>
              <p:cNvPr id="592" name="Gráfico 7">
                <a:extLst>
                  <a:ext uri="{FF2B5EF4-FFF2-40B4-BE49-F238E27FC236}">
                    <a16:creationId xmlns:a16="http://schemas.microsoft.com/office/drawing/2014/main" id="{AAB2B064-F0CE-B359-CCD0-0D665428E10F}"/>
                  </a:ext>
                </a:extLst>
              </p:cNvPr>
              <p:cNvGrpSpPr/>
              <p:nvPr/>
            </p:nvGrpSpPr>
            <p:grpSpPr>
              <a:xfrm>
                <a:off x="6699903" y="2156781"/>
                <a:ext cx="42422" cy="47103"/>
                <a:chOff x="6699903" y="2156781"/>
                <a:chExt cx="42422" cy="47103"/>
              </a:xfrm>
            </p:grpSpPr>
            <p:sp>
              <p:nvSpPr>
                <p:cNvPr id="614" name="Forma Livre: Forma 613">
                  <a:extLst>
                    <a:ext uri="{FF2B5EF4-FFF2-40B4-BE49-F238E27FC236}">
                      <a16:creationId xmlns:a16="http://schemas.microsoft.com/office/drawing/2014/main" id="{B0139629-BDCC-FFAC-C1EA-4BAB38609FEF}"/>
                    </a:ext>
                  </a:extLst>
                </p:cNvPr>
                <p:cNvSpPr/>
                <p:nvPr/>
              </p:nvSpPr>
              <p:spPr>
                <a:xfrm>
                  <a:off x="6699903" y="2156781"/>
                  <a:ext cx="38936" cy="47103"/>
                </a:xfrm>
                <a:custGeom>
                  <a:avLst/>
                  <a:gdLst>
                    <a:gd name="connsiteX0" fmla="*/ 21500 w 38936"/>
                    <a:gd name="connsiteY0" fmla="*/ 47103 h 47103"/>
                    <a:gd name="connsiteX1" fmla="*/ 2219 w 38936"/>
                    <a:gd name="connsiteY1" fmla="*/ 30952 h 47103"/>
                    <a:gd name="connsiteX2" fmla="*/ 95 w 38936"/>
                    <a:gd name="connsiteY2" fmla="*/ 25140 h 47103"/>
                    <a:gd name="connsiteX3" fmla="*/ 933 w 38936"/>
                    <a:gd name="connsiteY3" fmla="*/ 19943 h 47103"/>
                    <a:gd name="connsiteX4" fmla="*/ 3448 w 38936"/>
                    <a:gd name="connsiteY4" fmla="*/ 15807 h 47103"/>
                    <a:gd name="connsiteX5" fmla="*/ 23511 w 38936"/>
                    <a:gd name="connsiteY5" fmla="*/ 1221 h 47103"/>
                    <a:gd name="connsiteX6" fmla="*/ 31391 w 38936"/>
                    <a:gd name="connsiteY6" fmla="*/ 1556 h 47103"/>
                    <a:gd name="connsiteX7" fmla="*/ 33739 w 38936"/>
                    <a:gd name="connsiteY7" fmla="*/ 3568 h 47103"/>
                    <a:gd name="connsiteX8" fmla="*/ 35918 w 38936"/>
                    <a:gd name="connsiteY8" fmla="*/ 7759 h 47103"/>
                    <a:gd name="connsiteX9" fmla="*/ 38936 w 38936"/>
                    <a:gd name="connsiteY9" fmla="*/ 38832 h 47103"/>
                    <a:gd name="connsiteX10" fmla="*/ 21500 w 38936"/>
                    <a:gd name="connsiteY10" fmla="*/ 47103 h 471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8936" h="47103">
                      <a:moveTo>
                        <a:pt x="21500" y="47103"/>
                      </a:moveTo>
                      <a:lnTo>
                        <a:pt x="2219" y="30952"/>
                      </a:lnTo>
                      <a:cubicBezTo>
                        <a:pt x="542" y="29499"/>
                        <a:pt x="-296" y="27320"/>
                        <a:pt x="95" y="25140"/>
                      </a:cubicBezTo>
                      <a:lnTo>
                        <a:pt x="933" y="19943"/>
                      </a:lnTo>
                      <a:cubicBezTo>
                        <a:pt x="1213" y="18266"/>
                        <a:pt x="2107" y="16813"/>
                        <a:pt x="3448" y="15807"/>
                      </a:cubicBezTo>
                      <a:lnTo>
                        <a:pt x="23511" y="1221"/>
                      </a:lnTo>
                      <a:cubicBezTo>
                        <a:pt x="25859" y="-512"/>
                        <a:pt x="29156" y="-400"/>
                        <a:pt x="31391" y="1556"/>
                      </a:cubicBezTo>
                      <a:lnTo>
                        <a:pt x="33739" y="3568"/>
                      </a:lnTo>
                      <a:cubicBezTo>
                        <a:pt x="34968" y="4630"/>
                        <a:pt x="35751" y="6139"/>
                        <a:pt x="35918" y="7759"/>
                      </a:cubicBezTo>
                      <a:lnTo>
                        <a:pt x="38936" y="38832"/>
                      </a:lnTo>
                      <a:lnTo>
                        <a:pt x="21500" y="47103"/>
                      </a:lnTo>
                      <a:close/>
                    </a:path>
                  </a:pathLst>
                </a:custGeom>
                <a:solidFill>
                  <a:srgbClr val="825A45"/>
                </a:solidFill>
                <a:ln w="55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15" name="Forma Livre: Forma 614">
                  <a:extLst>
                    <a:ext uri="{FF2B5EF4-FFF2-40B4-BE49-F238E27FC236}">
                      <a16:creationId xmlns:a16="http://schemas.microsoft.com/office/drawing/2014/main" id="{19A335B9-C54A-0724-6878-1CDDE233167C}"/>
                    </a:ext>
                  </a:extLst>
                </p:cNvPr>
                <p:cNvSpPr/>
                <p:nvPr/>
              </p:nvSpPr>
              <p:spPr>
                <a:xfrm>
                  <a:off x="6717602" y="2166654"/>
                  <a:ext cx="24723" cy="34883"/>
                </a:xfrm>
                <a:custGeom>
                  <a:avLst/>
                  <a:gdLst>
                    <a:gd name="connsiteX0" fmla="*/ 21125 w 24723"/>
                    <a:gd name="connsiteY0" fmla="*/ 29016 h 34883"/>
                    <a:gd name="connsiteX1" fmla="*/ 24646 w 24723"/>
                    <a:gd name="connsiteY1" fmla="*/ 7052 h 34883"/>
                    <a:gd name="connsiteX2" fmla="*/ 18219 w 24723"/>
                    <a:gd name="connsiteY2" fmla="*/ 10 h 34883"/>
                    <a:gd name="connsiteX3" fmla="*/ 8551 w 24723"/>
                    <a:gd name="connsiteY3" fmla="*/ 681 h 34883"/>
                    <a:gd name="connsiteX4" fmla="*/ 0 w 24723"/>
                    <a:gd name="connsiteY4" fmla="*/ 13423 h 34883"/>
                    <a:gd name="connsiteX5" fmla="*/ 12016 w 24723"/>
                    <a:gd name="connsiteY5" fmla="*/ 8058 h 34883"/>
                    <a:gd name="connsiteX6" fmla="*/ 16766 w 24723"/>
                    <a:gd name="connsiteY6" fmla="*/ 8952 h 34883"/>
                    <a:gd name="connsiteX7" fmla="*/ 8551 w 24723"/>
                    <a:gd name="connsiteY7" fmla="*/ 34884 h 34883"/>
                    <a:gd name="connsiteX8" fmla="*/ 21125 w 24723"/>
                    <a:gd name="connsiteY8" fmla="*/ 29016 h 348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4723" h="34883">
                      <a:moveTo>
                        <a:pt x="21125" y="29016"/>
                      </a:moveTo>
                      <a:lnTo>
                        <a:pt x="24646" y="7052"/>
                      </a:lnTo>
                      <a:cubicBezTo>
                        <a:pt x="25261" y="3196"/>
                        <a:pt x="22131" y="-213"/>
                        <a:pt x="18219" y="10"/>
                      </a:cubicBezTo>
                      <a:lnTo>
                        <a:pt x="8551" y="681"/>
                      </a:lnTo>
                      <a:cubicBezTo>
                        <a:pt x="5980" y="849"/>
                        <a:pt x="0" y="13423"/>
                        <a:pt x="0" y="13423"/>
                      </a:cubicBezTo>
                      <a:cubicBezTo>
                        <a:pt x="0" y="13423"/>
                        <a:pt x="7712" y="20130"/>
                        <a:pt x="12016" y="8058"/>
                      </a:cubicBezTo>
                      <a:cubicBezTo>
                        <a:pt x="13413" y="9120"/>
                        <a:pt x="16766" y="8952"/>
                        <a:pt x="16766" y="8952"/>
                      </a:cubicBezTo>
                      <a:cubicBezTo>
                        <a:pt x="16766" y="8952"/>
                        <a:pt x="4918" y="18900"/>
                        <a:pt x="8551" y="34884"/>
                      </a:cubicBezTo>
                      <a:lnTo>
                        <a:pt x="21125" y="29016"/>
                      </a:lnTo>
                      <a:close/>
                    </a:path>
                  </a:pathLst>
                </a:custGeom>
                <a:solidFill>
                  <a:srgbClr val="825A45"/>
                </a:solidFill>
                <a:ln w="55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593" name="Forma Livre: Forma 592">
                <a:extLst>
                  <a:ext uri="{FF2B5EF4-FFF2-40B4-BE49-F238E27FC236}">
                    <a16:creationId xmlns:a16="http://schemas.microsoft.com/office/drawing/2014/main" id="{50064795-6FCE-EDA0-B23D-604064CE72F0}"/>
                  </a:ext>
                </a:extLst>
              </p:cNvPr>
              <p:cNvSpPr/>
              <p:nvPr/>
            </p:nvSpPr>
            <p:spPr>
              <a:xfrm>
                <a:off x="6717379" y="2190863"/>
                <a:ext cx="210077" cy="296421"/>
              </a:xfrm>
              <a:custGeom>
                <a:avLst/>
                <a:gdLst>
                  <a:gd name="connsiteX0" fmla="*/ 0 w 210077"/>
                  <a:gd name="connsiteY0" fmla="*/ 13469 h 296421"/>
                  <a:gd name="connsiteX1" fmla="*/ 70305 w 210077"/>
                  <a:gd name="connsiteY1" fmla="*/ 180066 h 296421"/>
                  <a:gd name="connsiteX2" fmla="*/ 173695 w 210077"/>
                  <a:gd name="connsiteY2" fmla="*/ 296422 h 296421"/>
                  <a:gd name="connsiteX3" fmla="*/ 210077 w 210077"/>
                  <a:gd name="connsiteY3" fmla="*/ 197615 h 296421"/>
                  <a:gd name="connsiteX4" fmla="*/ 105011 w 210077"/>
                  <a:gd name="connsiteY4" fmla="*/ 126751 h 296421"/>
                  <a:gd name="connsiteX5" fmla="*/ 23416 w 210077"/>
                  <a:gd name="connsiteY5" fmla="*/ 0 h 296421"/>
                  <a:gd name="connsiteX6" fmla="*/ 0 w 210077"/>
                  <a:gd name="connsiteY6" fmla="*/ 13469 h 2964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0077" h="296421">
                    <a:moveTo>
                      <a:pt x="0" y="13469"/>
                    </a:moveTo>
                    <a:cubicBezTo>
                      <a:pt x="0" y="13469"/>
                      <a:pt x="45212" y="135692"/>
                      <a:pt x="70305" y="180066"/>
                    </a:cubicBezTo>
                    <a:cubicBezTo>
                      <a:pt x="95398" y="224440"/>
                      <a:pt x="173695" y="296422"/>
                      <a:pt x="173695" y="296422"/>
                    </a:cubicBezTo>
                    <a:lnTo>
                      <a:pt x="210077" y="197615"/>
                    </a:lnTo>
                    <a:cubicBezTo>
                      <a:pt x="210077" y="197615"/>
                      <a:pt x="139772" y="163300"/>
                      <a:pt x="105011" y="126751"/>
                    </a:cubicBezTo>
                    <a:cubicBezTo>
                      <a:pt x="70305" y="90201"/>
                      <a:pt x="23416" y="0"/>
                      <a:pt x="23416" y="0"/>
                    </a:cubicBezTo>
                    <a:lnTo>
                      <a:pt x="0" y="13469"/>
                    </a:lnTo>
                    <a:close/>
                  </a:path>
                </a:pathLst>
              </a:custGeom>
              <a:solidFill>
                <a:srgbClr val="0070C0"/>
              </a:solidFill>
              <a:ln w="5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594" name="Gráfico 7">
                <a:extLst>
                  <a:ext uri="{FF2B5EF4-FFF2-40B4-BE49-F238E27FC236}">
                    <a16:creationId xmlns:a16="http://schemas.microsoft.com/office/drawing/2014/main" id="{3B6D4E3C-A87D-F993-D13F-B8352F90316E}"/>
                  </a:ext>
                </a:extLst>
              </p:cNvPr>
              <p:cNvGrpSpPr/>
              <p:nvPr/>
            </p:nvGrpSpPr>
            <p:grpSpPr>
              <a:xfrm>
                <a:off x="7094033" y="2090738"/>
                <a:ext cx="44021" cy="41388"/>
                <a:chOff x="7094033" y="2090738"/>
                <a:chExt cx="44021" cy="41388"/>
              </a:xfrm>
              <a:solidFill>
                <a:srgbClr val="F8B68F"/>
              </a:solidFill>
            </p:grpSpPr>
            <p:sp>
              <p:nvSpPr>
                <p:cNvPr id="612" name="Forma Livre: Forma 611">
                  <a:extLst>
                    <a:ext uri="{FF2B5EF4-FFF2-40B4-BE49-F238E27FC236}">
                      <a16:creationId xmlns:a16="http://schemas.microsoft.com/office/drawing/2014/main" id="{49849EDA-67F3-2694-9DEB-F533BB8E11E1}"/>
                    </a:ext>
                  </a:extLst>
                </p:cNvPr>
                <p:cNvSpPr/>
                <p:nvPr/>
              </p:nvSpPr>
              <p:spPr>
                <a:xfrm>
                  <a:off x="7096931" y="2090738"/>
                  <a:ext cx="41123" cy="41388"/>
                </a:xfrm>
                <a:custGeom>
                  <a:avLst/>
                  <a:gdLst>
                    <a:gd name="connsiteX0" fmla="*/ 29258 w 41123"/>
                    <a:gd name="connsiteY0" fmla="*/ 41388 h 41388"/>
                    <a:gd name="connsiteX1" fmla="*/ 40491 w 41123"/>
                    <a:gd name="connsiteY1" fmla="*/ 18866 h 41388"/>
                    <a:gd name="connsiteX2" fmla="*/ 40100 w 41123"/>
                    <a:gd name="connsiteY2" fmla="*/ 12662 h 41388"/>
                    <a:gd name="connsiteX3" fmla="*/ 37250 w 41123"/>
                    <a:gd name="connsiteY3" fmla="*/ 8247 h 41388"/>
                    <a:gd name="connsiteX4" fmla="*/ 33282 w 41123"/>
                    <a:gd name="connsiteY4" fmla="*/ 5509 h 41388"/>
                    <a:gd name="connsiteX5" fmla="*/ 9083 w 41123"/>
                    <a:gd name="connsiteY5" fmla="*/ 144 h 41388"/>
                    <a:gd name="connsiteX6" fmla="*/ 1985 w 41123"/>
                    <a:gd name="connsiteY6" fmla="*/ 3553 h 41388"/>
                    <a:gd name="connsiteX7" fmla="*/ 644 w 41123"/>
                    <a:gd name="connsiteY7" fmla="*/ 6347 h 41388"/>
                    <a:gd name="connsiteX8" fmla="*/ 309 w 41123"/>
                    <a:gd name="connsiteY8" fmla="*/ 11098 h 41388"/>
                    <a:gd name="connsiteX9" fmla="*/ 10033 w 41123"/>
                    <a:gd name="connsiteY9" fmla="*/ 40773 h 41388"/>
                    <a:gd name="connsiteX10" fmla="*/ 29258 w 41123"/>
                    <a:gd name="connsiteY10" fmla="*/ 41388 h 413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1123" h="41388">
                      <a:moveTo>
                        <a:pt x="29258" y="41388"/>
                      </a:moveTo>
                      <a:lnTo>
                        <a:pt x="40491" y="18866"/>
                      </a:lnTo>
                      <a:cubicBezTo>
                        <a:pt x="41441" y="16854"/>
                        <a:pt x="41329" y="14507"/>
                        <a:pt x="40100" y="12662"/>
                      </a:cubicBezTo>
                      <a:lnTo>
                        <a:pt x="37250" y="8247"/>
                      </a:lnTo>
                      <a:cubicBezTo>
                        <a:pt x="36355" y="6850"/>
                        <a:pt x="34902" y="5844"/>
                        <a:pt x="33282" y="5509"/>
                      </a:cubicBezTo>
                      <a:lnTo>
                        <a:pt x="9083" y="144"/>
                      </a:lnTo>
                      <a:cubicBezTo>
                        <a:pt x="6233" y="-471"/>
                        <a:pt x="3271" y="926"/>
                        <a:pt x="1985" y="3553"/>
                      </a:cubicBezTo>
                      <a:lnTo>
                        <a:pt x="644" y="6347"/>
                      </a:lnTo>
                      <a:cubicBezTo>
                        <a:pt x="-83" y="7800"/>
                        <a:pt x="-194" y="9533"/>
                        <a:pt x="309" y="11098"/>
                      </a:cubicBezTo>
                      <a:lnTo>
                        <a:pt x="10033" y="40773"/>
                      </a:lnTo>
                      <a:lnTo>
                        <a:pt x="29258" y="41388"/>
                      </a:lnTo>
                      <a:close/>
                    </a:path>
                  </a:pathLst>
                </a:custGeom>
                <a:solidFill>
                  <a:srgbClr val="825A45"/>
                </a:solidFill>
                <a:ln w="55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13" name="Forma Livre: Forma 612">
                  <a:extLst>
                    <a:ext uri="{FF2B5EF4-FFF2-40B4-BE49-F238E27FC236}">
                      <a16:creationId xmlns:a16="http://schemas.microsoft.com/office/drawing/2014/main" id="{7BF6E42A-6B93-36EA-D5E0-14B5EBD389A5}"/>
                    </a:ext>
                  </a:extLst>
                </p:cNvPr>
                <p:cNvSpPr/>
                <p:nvPr/>
              </p:nvSpPr>
              <p:spPr>
                <a:xfrm>
                  <a:off x="7094033" y="2100496"/>
                  <a:ext cx="26846" cy="31462"/>
                </a:xfrm>
                <a:custGeom>
                  <a:avLst/>
                  <a:gdLst>
                    <a:gd name="connsiteX0" fmla="*/ 12987 w 26846"/>
                    <a:gd name="connsiteY0" fmla="*/ 31016 h 31462"/>
                    <a:gd name="connsiteX1" fmla="*/ 971 w 26846"/>
                    <a:gd name="connsiteY1" fmla="*/ 12294 h 31462"/>
                    <a:gd name="connsiteX2" fmla="*/ 4045 w 26846"/>
                    <a:gd name="connsiteY2" fmla="*/ 3296 h 31462"/>
                    <a:gd name="connsiteX3" fmla="*/ 13154 w 26846"/>
                    <a:gd name="connsiteY3" fmla="*/ 55 h 31462"/>
                    <a:gd name="connsiteX4" fmla="*/ 26120 w 26846"/>
                    <a:gd name="connsiteY4" fmla="*/ 8326 h 31462"/>
                    <a:gd name="connsiteX5" fmla="*/ 12987 w 26846"/>
                    <a:gd name="connsiteY5" fmla="*/ 8214 h 31462"/>
                    <a:gd name="connsiteX6" fmla="*/ 8963 w 26846"/>
                    <a:gd name="connsiteY6" fmla="*/ 10952 h 31462"/>
                    <a:gd name="connsiteX7" fmla="*/ 26847 w 26846"/>
                    <a:gd name="connsiteY7" fmla="*/ 31463 h 31462"/>
                    <a:gd name="connsiteX8" fmla="*/ 12987 w 26846"/>
                    <a:gd name="connsiteY8" fmla="*/ 31016 h 314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6846" h="31462">
                      <a:moveTo>
                        <a:pt x="12987" y="31016"/>
                      </a:moveTo>
                      <a:lnTo>
                        <a:pt x="971" y="12294"/>
                      </a:lnTo>
                      <a:cubicBezTo>
                        <a:pt x="-1153" y="8996"/>
                        <a:pt x="356" y="4581"/>
                        <a:pt x="4045" y="3296"/>
                      </a:cubicBezTo>
                      <a:lnTo>
                        <a:pt x="13154" y="55"/>
                      </a:lnTo>
                      <a:cubicBezTo>
                        <a:pt x="15557" y="-784"/>
                        <a:pt x="26120" y="8326"/>
                        <a:pt x="26120" y="8326"/>
                      </a:cubicBezTo>
                      <a:cubicBezTo>
                        <a:pt x="26120" y="8326"/>
                        <a:pt x="21761" y="17547"/>
                        <a:pt x="12987" y="8214"/>
                      </a:cubicBezTo>
                      <a:cubicBezTo>
                        <a:pt x="12148" y="9779"/>
                        <a:pt x="8963" y="10952"/>
                        <a:pt x="8963" y="10952"/>
                      </a:cubicBezTo>
                      <a:cubicBezTo>
                        <a:pt x="8963" y="10952"/>
                        <a:pt x="23829" y="15311"/>
                        <a:pt x="26847" y="31463"/>
                      </a:cubicBezTo>
                      <a:lnTo>
                        <a:pt x="12987" y="31016"/>
                      </a:lnTo>
                      <a:close/>
                    </a:path>
                  </a:pathLst>
                </a:custGeom>
                <a:solidFill>
                  <a:srgbClr val="825A45"/>
                </a:solidFill>
                <a:ln w="55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595" name="Gráfico 7">
                <a:extLst>
                  <a:ext uri="{FF2B5EF4-FFF2-40B4-BE49-F238E27FC236}">
                    <a16:creationId xmlns:a16="http://schemas.microsoft.com/office/drawing/2014/main" id="{21494C34-D224-317A-799D-065B3A099010}"/>
                  </a:ext>
                </a:extLst>
              </p:cNvPr>
              <p:cNvGrpSpPr/>
              <p:nvPr/>
            </p:nvGrpSpPr>
            <p:grpSpPr>
              <a:xfrm>
                <a:off x="7232485" y="2884135"/>
                <a:ext cx="60301" cy="103613"/>
                <a:chOff x="7232485" y="2884135"/>
                <a:chExt cx="60301" cy="103613"/>
              </a:xfrm>
            </p:grpSpPr>
            <p:sp>
              <p:nvSpPr>
                <p:cNvPr id="610" name="Forma Livre: Forma 609">
                  <a:extLst>
                    <a:ext uri="{FF2B5EF4-FFF2-40B4-BE49-F238E27FC236}">
                      <a16:creationId xmlns:a16="http://schemas.microsoft.com/office/drawing/2014/main" id="{6D965F02-6115-4D03-BCAC-7A7F9E3DD7F3}"/>
                    </a:ext>
                  </a:extLst>
                </p:cNvPr>
                <p:cNvSpPr/>
                <p:nvPr/>
              </p:nvSpPr>
              <p:spPr>
                <a:xfrm>
                  <a:off x="7255957" y="2885110"/>
                  <a:ext cx="36829" cy="102638"/>
                </a:xfrm>
                <a:custGeom>
                  <a:avLst/>
                  <a:gdLst>
                    <a:gd name="connsiteX0" fmla="*/ 0 w 36829"/>
                    <a:gd name="connsiteY0" fmla="*/ 33171 h 102638"/>
                    <a:gd name="connsiteX1" fmla="*/ 24199 w 36829"/>
                    <a:gd name="connsiteY1" fmla="*/ 85872 h 102638"/>
                    <a:gd name="connsiteX2" fmla="*/ 36829 w 36829"/>
                    <a:gd name="connsiteY2" fmla="*/ 102638 h 102638"/>
                    <a:gd name="connsiteX3" fmla="*/ 36829 w 36829"/>
                    <a:gd name="connsiteY3" fmla="*/ 58208 h 102638"/>
                    <a:gd name="connsiteX4" fmla="*/ 30458 w 36829"/>
                    <a:gd name="connsiteY4" fmla="*/ 21267 h 102638"/>
                    <a:gd name="connsiteX5" fmla="*/ 36829 w 36829"/>
                    <a:gd name="connsiteY5" fmla="*/ 21267 h 102638"/>
                    <a:gd name="connsiteX6" fmla="*/ 36829 w 36829"/>
                    <a:gd name="connsiteY6" fmla="*/ 1316 h 102638"/>
                    <a:gd name="connsiteX7" fmla="*/ 0 w 36829"/>
                    <a:gd name="connsiteY7" fmla="*/ 7408 h 102638"/>
                    <a:gd name="connsiteX8" fmla="*/ 0 w 36829"/>
                    <a:gd name="connsiteY8" fmla="*/ 33171 h 1026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6829" h="102638">
                      <a:moveTo>
                        <a:pt x="0" y="33171"/>
                      </a:moveTo>
                      <a:cubicBezTo>
                        <a:pt x="0" y="33171"/>
                        <a:pt x="14922" y="49211"/>
                        <a:pt x="24199" y="85872"/>
                      </a:cubicBezTo>
                      <a:cubicBezTo>
                        <a:pt x="26267" y="93920"/>
                        <a:pt x="23528" y="102638"/>
                        <a:pt x="36829" y="102638"/>
                      </a:cubicBezTo>
                      <a:cubicBezTo>
                        <a:pt x="36829" y="85537"/>
                        <a:pt x="36829" y="58208"/>
                        <a:pt x="36829" y="58208"/>
                      </a:cubicBezTo>
                      <a:lnTo>
                        <a:pt x="30458" y="21267"/>
                      </a:lnTo>
                      <a:lnTo>
                        <a:pt x="36829" y="21267"/>
                      </a:lnTo>
                      <a:lnTo>
                        <a:pt x="36829" y="1316"/>
                      </a:lnTo>
                      <a:cubicBezTo>
                        <a:pt x="36829" y="1316"/>
                        <a:pt x="4191" y="-4217"/>
                        <a:pt x="0" y="7408"/>
                      </a:cubicBezTo>
                      <a:cubicBezTo>
                        <a:pt x="0" y="18138"/>
                        <a:pt x="0" y="33171"/>
                        <a:pt x="0" y="33171"/>
                      </a:cubicBezTo>
                      <a:close/>
                    </a:path>
                  </a:pathLst>
                </a:custGeom>
                <a:solidFill>
                  <a:srgbClr val="132237"/>
                </a:solidFill>
                <a:ln w="55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11" name="Forma Livre: Forma 610">
                  <a:extLst>
                    <a:ext uri="{FF2B5EF4-FFF2-40B4-BE49-F238E27FC236}">
                      <a16:creationId xmlns:a16="http://schemas.microsoft.com/office/drawing/2014/main" id="{87B6B237-4F9A-653A-56F4-268C5469BE65}"/>
                    </a:ext>
                  </a:extLst>
                </p:cNvPr>
                <p:cNvSpPr/>
                <p:nvPr/>
              </p:nvSpPr>
              <p:spPr>
                <a:xfrm>
                  <a:off x="7232485" y="2884135"/>
                  <a:ext cx="27488" cy="34146"/>
                </a:xfrm>
                <a:custGeom>
                  <a:avLst/>
                  <a:gdLst>
                    <a:gd name="connsiteX0" fmla="*/ 0 w 27488"/>
                    <a:gd name="connsiteY0" fmla="*/ 31911 h 34146"/>
                    <a:gd name="connsiteX1" fmla="*/ 23472 w 27488"/>
                    <a:gd name="connsiteY1" fmla="*/ 34147 h 34146"/>
                    <a:gd name="connsiteX2" fmla="*/ 23472 w 27488"/>
                    <a:gd name="connsiteY2" fmla="*/ 34147 h 34146"/>
                    <a:gd name="connsiteX3" fmla="*/ 24311 w 27488"/>
                    <a:gd name="connsiteY3" fmla="*/ 9668 h 34146"/>
                    <a:gd name="connsiteX4" fmla="*/ 23472 w 27488"/>
                    <a:gd name="connsiteY4" fmla="*/ 8271 h 34146"/>
                    <a:gd name="connsiteX5" fmla="*/ 0 w 27488"/>
                    <a:gd name="connsiteY5" fmla="*/ 0 h 34146"/>
                    <a:gd name="connsiteX6" fmla="*/ 0 w 27488"/>
                    <a:gd name="connsiteY6" fmla="*/ 31911 h 341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7488" h="34146">
                      <a:moveTo>
                        <a:pt x="0" y="31911"/>
                      </a:moveTo>
                      <a:lnTo>
                        <a:pt x="23472" y="34147"/>
                      </a:lnTo>
                      <a:lnTo>
                        <a:pt x="23472" y="34147"/>
                      </a:lnTo>
                      <a:cubicBezTo>
                        <a:pt x="28502" y="26881"/>
                        <a:pt x="28838" y="17325"/>
                        <a:pt x="24311" y="9668"/>
                      </a:cubicBezTo>
                      <a:lnTo>
                        <a:pt x="23472" y="8271"/>
                      </a:lnTo>
                      <a:lnTo>
                        <a:pt x="0" y="0"/>
                      </a:lnTo>
                      <a:lnTo>
                        <a:pt x="0" y="31911"/>
                      </a:lnTo>
                      <a:close/>
                    </a:path>
                  </a:pathLst>
                </a:custGeom>
                <a:solidFill>
                  <a:srgbClr val="825A45"/>
                </a:solidFill>
                <a:ln w="55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596" name="Forma Livre: Forma 595">
                <a:extLst>
                  <a:ext uri="{FF2B5EF4-FFF2-40B4-BE49-F238E27FC236}">
                    <a16:creationId xmlns:a16="http://schemas.microsoft.com/office/drawing/2014/main" id="{A0888301-E1BE-FFC1-ED23-5CD5F723540B}"/>
                  </a:ext>
                </a:extLst>
              </p:cNvPr>
              <p:cNvSpPr/>
              <p:nvPr/>
            </p:nvSpPr>
            <p:spPr>
              <a:xfrm>
                <a:off x="6898283" y="2595425"/>
                <a:ext cx="338225" cy="323862"/>
              </a:xfrm>
              <a:custGeom>
                <a:avLst/>
                <a:gdLst>
                  <a:gd name="connsiteX0" fmla="*/ 125465 w 338225"/>
                  <a:gd name="connsiteY0" fmla="*/ 0 h 323862"/>
                  <a:gd name="connsiteX1" fmla="*/ 145081 w 338225"/>
                  <a:gd name="connsiteY1" fmla="*/ 170845 h 323862"/>
                  <a:gd name="connsiteX2" fmla="*/ 183531 w 338225"/>
                  <a:gd name="connsiteY2" fmla="*/ 220528 h 323862"/>
                  <a:gd name="connsiteX3" fmla="*/ 338225 w 338225"/>
                  <a:gd name="connsiteY3" fmla="*/ 287033 h 323862"/>
                  <a:gd name="connsiteX4" fmla="*/ 338225 w 338225"/>
                  <a:gd name="connsiteY4" fmla="*/ 323862 h 323862"/>
                  <a:gd name="connsiteX5" fmla="*/ 68517 w 338225"/>
                  <a:gd name="connsiteY5" fmla="*/ 271944 h 323862"/>
                  <a:gd name="connsiteX6" fmla="*/ 0 w 338225"/>
                  <a:gd name="connsiteY6" fmla="*/ 32470 h 323862"/>
                  <a:gd name="connsiteX7" fmla="*/ 125465 w 338225"/>
                  <a:gd name="connsiteY7" fmla="*/ 0 h 323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8225" h="323862">
                    <a:moveTo>
                      <a:pt x="125465" y="0"/>
                    </a:moveTo>
                    <a:cubicBezTo>
                      <a:pt x="125465" y="0"/>
                      <a:pt x="153017" y="81594"/>
                      <a:pt x="145081" y="170845"/>
                    </a:cubicBezTo>
                    <a:cubicBezTo>
                      <a:pt x="142958" y="194820"/>
                      <a:pt x="159891" y="216113"/>
                      <a:pt x="183531" y="220528"/>
                    </a:cubicBezTo>
                    <a:cubicBezTo>
                      <a:pt x="255737" y="234109"/>
                      <a:pt x="338225" y="287033"/>
                      <a:pt x="338225" y="287033"/>
                    </a:cubicBezTo>
                    <a:lnTo>
                      <a:pt x="338225" y="323862"/>
                    </a:lnTo>
                    <a:cubicBezTo>
                      <a:pt x="338225" y="323862"/>
                      <a:pt x="115015" y="303743"/>
                      <a:pt x="68517" y="271944"/>
                    </a:cubicBezTo>
                    <a:cubicBezTo>
                      <a:pt x="21963" y="240144"/>
                      <a:pt x="0" y="32470"/>
                      <a:pt x="0" y="32470"/>
                    </a:cubicBezTo>
                    <a:lnTo>
                      <a:pt x="125465" y="0"/>
                    </a:lnTo>
                    <a:close/>
                  </a:path>
                </a:pathLst>
              </a:custGeom>
              <a:solidFill>
                <a:srgbClr val="132237"/>
              </a:solidFill>
              <a:ln w="5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97" name="Forma Livre: Forma 596">
                <a:extLst>
                  <a:ext uri="{FF2B5EF4-FFF2-40B4-BE49-F238E27FC236}">
                    <a16:creationId xmlns:a16="http://schemas.microsoft.com/office/drawing/2014/main" id="{7DD7EEF2-DC63-5077-3A01-F35DF857CA4B}"/>
                  </a:ext>
                </a:extLst>
              </p:cNvPr>
              <p:cNvSpPr/>
              <p:nvPr/>
            </p:nvSpPr>
            <p:spPr>
              <a:xfrm>
                <a:off x="6885854" y="2130673"/>
                <a:ext cx="246873" cy="480623"/>
              </a:xfrm>
              <a:custGeom>
                <a:avLst/>
                <a:gdLst>
                  <a:gd name="connsiteX0" fmla="*/ 32772 w 246873"/>
                  <a:gd name="connsiteY0" fmla="*/ 241150 h 480623"/>
                  <a:gd name="connsiteX1" fmla="*/ 5275 w 246873"/>
                  <a:gd name="connsiteY1" fmla="*/ 480624 h 480623"/>
                  <a:gd name="connsiteX2" fmla="*/ 159802 w 246873"/>
                  <a:gd name="connsiteY2" fmla="*/ 462181 h 480623"/>
                  <a:gd name="connsiteX3" fmla="*/ 143036 w 246873"/>
                  <a:gd name="connsiteY3" fmla="*/ 309779 h 480623"/>
                  <a:gd name="connsiteX4" fmla="*/ 226754 w 246873"/>
                  <a:gd name="connsiteY4" fmla="*/ 161456 h 480623"/>
                  <a:gd name="connsiteX5" fmla="*/ 246873 w 246873"/>
                  <a:gd name="connsiteY5" fmla="*/ 0 h 480623"/>
                  <a:gd name="connsiteX6" fmla="*/ 218427 w 246873"/>
                  <a:gd name="connsiteY6" fmla="*/ 0 h 480623"/>
                  <a:gd name="connsiteX7" fmla="*/ 166508 w 246873"/>
                  <a:gd name="connsiteY7" fmla="*/ 161456 h 480623"/>
                  <a:gd name="connsiteX8" fmla="*/ 79437 w 246873"/>
                  <a:gd name="connsiteY8" fmla="*/ 240312 h 480623"/>
                  <a:gd name="connsiteX9" fmla="*/ 32772 w 246873"/>
                  <a:gd name="connsiteY9" fmla="*/ 241150 h 480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46873" h="480623">
                    <a:moveTo>
                      <a:pt x="32772" y="241150"/>
                    </a:moveTo>
                    <a:cubicBezTo>
                      <a:pt x="-17861" y="274626"/>
                      <a:pt x="5275" y="480624"/>
                      <a:pt x="5275" y="480624"/>
                    </a:cubicBezTo>
                    <a:lnTo>
                      <a:pt x="159802" y="462181"/>
                    </a:lnTo>
                    <a:lnTo>
                      <a:pt x="143036" y="309779"/>
                    </a:lnTo>
                    <a:cubicBezTo>
                      <a:pt x="143036" y="309779"/>
                      <a:pt x="213341" y="224105"/>
                      <a:pt x="226754" y="161456"/>
                    </a:cubicBezTo>
                    <a:cubicBezTo>
                      <a:pt x="240167" y="98807"/>
                      <a:pt x="246873" y="0"/>
                      <a:pt x="246873" y="0"/>
                    </a:cubicBezTo>
                    <a:lnTo>
                      <a:pt x="218427" y="0"/>
                    </a:lnTo>
                    <a:cubicBezTo>
                      <a:pt x="218427" y="0"/>
                      <a:pt x="186627" y="128818"/>
                      <a:pt x="166508" y="161456"/>
                    </a:cubicBezTo>
                    <a:cubicBezTo>
                      <a:pt x="146389" y="194094"/>
                      <a:pt x="79437" y="240312"/>
                      <a:pt x="79437" y="240312"/>
                    </a:cubicBezTo>
                    <a:lnTo>
                      <a:pt x="32772" y="241150"/>
                    </a:lnTo>
                    <a:close/>
                  </a:path>
                </a:pathLst>
              </a:custGeom>
              <a:solidFill>
                <a:srgbClr val="0070C0"/>
              </a:solidFill>
              <a:ln w="5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98" name="Forma Livre: Forma 597">
                <a:extLst>
                  <a:ext uri="{FF2B5EF4-FFF2-40B4-BE49-F238E27FC236}">
                    <a16:creationId xmlns:a16="http://schemas.microsoft.com/office/drawing/2014/main" id="{97357E59-43A1-A5FC-2F8E-82BC54B240AE}"/>
                  </a:ext>
                </a:extLst>
              </p:cNvPr>
              <p:cNvSpPr/>
              <p:nvPr/>
            </p:nvSpPr>
            <p:spPr>
              <a:xfrm>
                <a:off x="6884011" y="2387807"/>
                <a:ext cx="20810" cy="222595"/>
              </a:xfrm>
              <a:custGeom>
                <a:avLst/>
                <a:gdLst>
                  <a:gd name="connsiteX0" fmla="*/ 8404 w 20810"/>
                  <a:gd name="connsiteY0" fmla="*/ 220193 h 222595"/>
                  <a:gd name="connsiteX1" fmla="*/ 20811 w 20810"/>
                  <a:gd name="connsiteY1" fmla="*/ 3688 h 222595"/>
                  <a:gd name="connsiteX2" fmla="*/ 18966 w 20810"/>
                  <a:gd name="connsiteY2" fmla="*/ 0 h 222595"/>
                  <a:gd name="connsiteX3" fmla="*/ 5275 w 20810"/>
                  <a:gd name="connsiteY3" fmla="*/ 222596 h 222595"/>
                  <a:gd name="connsiteX4" fmla="*/ 8404 w 20810"/>
                  <a:gd name="connsiteY4" fmla="*/ 220193 h 222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810" h="222595">
                    <a:moveTo>
                      <a:pt x="8404" y="220193"/>
                    </a:moveTo>
                    <a:cubicBezTo>
                      <a:pt x="6169" y="197950"/>
                      <a:pt x="-6462" y="58960"/>
                      <a:pt x="20811" y="3688"/>
                    </a:cubicBezTo>
                    <a:cubicBezTo>
                      <a:pt x="20196" y="2459"/>
                      <a:pt x="19581" y="1230"/>
                      <a:pt x="18966" y="0"/>
                    </a:cubicBezTo>
                    <a:cubicBezTo>
                      <a:pt x="-11659" y="57340"/>
                      <a:pt x="3598" y="206892"/>
                      <a:pt x="5275" y="222596"/>
                    </a:cubicBezTo>
                    <a:cubicBezTo>
                      <a:pt x="6336" y="221758"/>
                      <a:pt x="7398" y="220975"/>
                      <a:pt x="8404" y="220193"/>
                    </a:cubicBezTo>
                    <a:close/>
                  </a:path>
                </a:pathLst>
              </a:custGeom>
              <a:solidFill>
                <a:srgbClr val="132237"/>
              </a:solidFill>
              <a:ln w="5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599" name="Gráfico 7">
                <a:extLst>
                  <a:ext uri="{FF2B5EF4-FFF2-40B4-BE49-F238E27FC236}">
                    <a16:creationId xmlns:a16="http://schemas.microsoft.com/office/drawing/2014/main" id="{8DE6D45B-FFC7-07F5-9F1F-A45BCB89CC2C}"/>
                  </a:ext>
                </a:extLst>
              </p:cNvPr>
              <p:cNvGrpSpPr/>
              <p:nvPr/>
            </p:nvGrpSpPr>
            <p:grpSpPr>
              <a:xfrm>
                <a:off x="6645956" y="3011333"/>
                <a:ext cx="103669" cy="60245"/>
                <a:chOff x="6645956" y="3011333"/>
                <a:chExt cx="103669" cy="60245"/>
              </a:xfrm>
            </p:grpSpPr>
            <p:sp>
              <p:nvSpPr>
                <p:cNvPr id="608" name="Forma Livre: Forma 607">
                  <a:extLst>
                    <a:ext uri="{FF2B5EF4-FFF2-40B4-BE49-F238E27FC236}">
                      <a16:creationId xmlns:a16="http://schemas.microsoft.com/office/drawing/2014/main" id="{4A27B449-D51A-052D-A19A-1E5288AB7B74}"/>
                    </a:ext>
                  </a:extLst>
                </p:cNvPr>
                <p:cNvSpPr/>
                <p:nvPr/>
              </p:nvSpPr>
              <p:spPr>
                <a:xfrm>
                  <a:off x="6645956" y="3034749"/>
                  <a:ext cx="102637" cy="36829"/>
                </a:xfrm>
                <a:custGeom>
                  <a:avLst/>
                  <a:gdLst>
                    <a:gd name="connsiteX0" fmla="*/ 69467 w 102637"/>
                    <a:gd name="connsiteY0" fmla="*/ 0 h 36829"/>
                    <a:gd name="connsiteX1" fmla="*/ 16766 w 102637"/>
                    <a:gd name="connsiteY1" fmla="*/ 24199 h 36829"/>
                    <a:gd name="connsiteX2" fmla="*/ 0 w 102637"/>
                    <a:gd name="connsiteY2" fmla="*/ 36829 h 36829"/>
                    <a:gd name="connsiteX3" fmla="*/ 44430 w 102637"/>
                    <a:gd name="connsiteY3" fmla="*/ 36829 h 36829"/>
                    <a:gd name="connsiteX4" fmla="*/ 81371 w 102637"/>
                    <a:gd name="connsiteY4" fmla="*/ 30458 h 36829"/>
                    <a:gd name="connsiteX5" fmla="*/ 81371 w 102637"/>
                    <a:gd name="connsiteY5" fmla="*/ 36829 h 36829"/>
                    <a:gd name="connsiteX6" fmla="*/ 101322 w 102637"/>
                    <a:gd name="connsiteY6" fmla="*/ 36829 h 36829"/>
                    <a:gd name="connsiteX7" fmla="*/ 95230 w 102637"/>
                    <a:gd name="connsiteY7" fmla="*/ 0 h 36829"/>
                    <a:gd name="connsiteX8" fmla="*/ 69467 w 102637"/>
                    <a:gd name="connsiteY8" fmla="*/ 0 h 368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2637" h="36829">
                      <a:moveTo>
                        <a:pt x="69467" y="0"/>
                      </a:moveTo>
                      <a:cubicBezTo>
                        <a:pt x="69467" y="0"/>
                        <a:pt x="53427" y="14922"/>
                        <a:pt x="16766" y="24199"/>
                      </a:cubicBezTo>
                      <a:cubicBezTo>
                        <a:pt x="8718" y="26267"/>
                        <a:pt x="0" y="23528"/>
                        <a:pt x="0" y="36829"/>
                      </a:cubicBezTo>
                      <a:cubicBezTo>
                        <a:pt x="17101" y="36829"/>
                        <a:pt x="44430" y="36829"/>
                        <a:pt x="44430" y="36829"/>
                      </a:cubicBezTo>
                      <a:lnTo>
                        <a:pt x="81371" y="30458"/>
                      </a:lnTo>
                      <a:lnTo>
                        <a:pt x="81371" y="36829"/>
                      </a:lnTo>
                      <a:lnTo>
                        <a:pt x="101322" y="36829"/>
                      </a:lnTo>
                      <a:cubicBezTo>
                        <a:pt x="101322" y="36829"/>
                        <a:pt x="106855" y="4191"/>
                        <a:pt x="95230" y="0"/>
                      </a:cubicBezTo>
                      <a:cubicBezTo>
                        <a:pt x="84500" y="0"/>
                        <a:pt x="69467" y="0"/>
                        <a:pt x="69467" y="0"/>
                      </a:cubicBezTo>
                      <a:close/>
                    </a:path>
                  </a:pathLst>
                </a:custGeom>
                <a:solidFill>
                  <a:srgbClr val="132237"/>
                </a:solidFill>
                <a:ln w="55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09" name="Forma Livre: Forma 608">
                  <a:extLst>
                    <a:ext uri="{FF2B5EF4-FFF2-40B4-BE49-F238E27FC236}">
                      <a16:creationId xmlns:a16="http://schemas.microsoft.com/office/drawing/2014/main" id="{626489B1-C8B8-9494-C482-6C41DA55CB8A}"/>
                    </a:ext>
                  </a:extLst>
                </p:cNvPr>
                <p:cNvSpPr/>
                <p:nvPr/>
              </p:nvSpPr>
              <p:spPr>
                <a:xfrm>
                  <a:off x="6715479" y="3011333"/>
                  <a:ext cx="34146" cy="27488"/>
                </a:xfrm>
                <a:custGeom>
                  <a:avLst/>
                  <a:gdLst>
                    <a:gd name="connsiteX0" fmla="*/ 2235 w 34146"/>
                    <a:gd name="connsiteY0" fmla="*/ 0 h 27488"/>
                    <a:gd name="connsiteX1" fmla="*/ 0 w 34146"/>
                    <a:gd name="connsiteY1" fmla="*/ 23472 h 27488"/>
                    <a:gd name="connsiteX2" fmla="*/ 0 w 34146"/>
                    <a:gd name="connsiteY2" fmla="*/ 23472 h 27488"/>
                    <a:gd name="connsiteX3" fmla="*/ 24478 w 34146"/>
                    <a:gd name="connsiteY3" fmla="*/ 24310 h 27488"/>
                    <a:gd name="connsiteX4" fmla="*/ 25875 w 34146"/>
                    <a:gd name="connsiteY4" fmla="*/ 23472 h 27488"/>
                    <a:gd name="connsiteX5" fmla="*/ 34147 w 34146"/>
                    <a:gd name="connsiteY5" fmla="*/ 0 h 27488"/>
                    <a:gd name="connsiteX6" fmla="*/ 2235 w 34146"/>
                    <a:gd name="connsiteY6" fmla="*/ 0 h 274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4146" h="27488">
                      <a:moveTo>
                        <a:pt x="2235" y="0"/>
                      </a:moveTo>
                      <a:lnTo>
                        <a:pt x="0" y="23472"/>
                      </a:lnTo>
                      <a:lnTo>
                        <a:pt x="0" y="23472"/>
                      </a:lnTo>
                      <a:cubicBezTo>
                        <a:pt x="7265" y="28502"/>
                        <a:pt x="16822" y="28837"/>
                        <a:pt x="24478" y="24310"/>
                      </a:cubicBezTo>
                      <a:lnTo>
                        <a:pt x="25875" y="23472"/>
                      </a:lnTo>
                      <a:lnTo>
                        <a:pt x="34147" y="0"/>
                      </a:lnTo>
                      <a:lnTo>
                        <a:pt x="2235" y="0"/>
                      </a:lnTo>
                      <a:close/>
                    </a:path>
                  </a:pathLst>
                </a:custGeom>
                <a:solidFill>
                  <a:srgbClr val="825A45"/>
                </a:solidFill>
                <a:ln w="55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600" name="Gráfico 7">
                <a:extLst>
                  <a:ext uri="{FF2B5EF4-FFF2-40B4-BE49-F238E27FC236}">
                    <a16:creationId xmlns:a16="http://schemas.microsoft.com/office/drawing/2014/main" id="{B177003A-532F-7FBC-3C06-E9C517DF175F}"/>
                  </a:ext>
                </a:extLst>
              </p:cNvPr>
              <p:cNvGrpSpPr/>
              <p:nvPr/>
            </p:nvGrpSpPr>
            <p:grpSpPr>
              <a:xfrm>
                <a:off x="6881376" y="2243577"/>
                <a:ext cx="110731" cy="134896"/>
                <a:chOff x="6881376" y="2243577"/>
                <a:chExt cx="110731" cy="134896"/>
              </a:xfrm>
            </p:grpSpPr>
            <p:sp>
              <p:nvSpPr>
                <p:cNvPr id="603" name="Forma Livre: Forma 602">
                  <a:extLst>
                    <a:ext uri="{FF2B5EF4-FFF2-40B4-BE49-F238E27FC236}">
                      <a16:creationId xmlns:a16="http://schemas.microsoft.com/office/drawing/2014/main" id="{BEBA3546-E231-41E5-E8A6-75BF214E2A37}"/>
                    </a:ext>
                  </a:extLst>
                </p:cNvPr>
                <p:cNvSpPr/>
                <p:nvPr/>
              </p:nvSpPr>
              <p:spPr>
                <a:xfrm>
                  <a:off x="6910187" y="2339912"/>
                  <a:ext cx="42306" cy="38561"/>
                </a:xfrm>
                <a:custGeom>
                  <a:avLst/>
                  <a:gdLst>
                    <a:gd name="connsiteX0" fmla="*/ 42306 w 42306"/>
                    <a:gd name="connsiteY0" fmla="*/ 28782 h 38561"/>
                    <a:gd name="connsiteX1" fmla="*/ 35544 w 42306"/>
                    <a:gd name="connsiteY1" fmla="*/ 0 h 38561"/>
                    <a:gd name="connsiteX2" fmla="*/ 2459 w 42306"/>
                    <a:gd name="connsiteY2" fmla="*/ 3689 h 38561"/>
                    <a:gd name="connsiteX3" fmla="*/ 0 w 42306"/>
                    <a:gd name="connsiteY3" fmla="*/ 37891 h 38561"/>
                    <a:gd name="connsiteX4" fmla="*/ 671 w 42306"/>
                    <a:gd name="connsiteY4" fmla="*/ 38562 h 38561"/>
                    <a:gd name="connsiteX5" fmla="*/ 42306 w 42306"/>
                    <a:gd name="connsiteY5" fmla="*/ 28782 h 385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2306" h="38561">
                      <a:moveTo>
                        <a:pt x="42306" y="28782"/>
                      </a:moveTo>
                      <a:lnTo>
                        <a:pt x="35544" y="0"/>
                      </a:lnTo>
                      <a:lnTo>
                        <a:pt x="2459" y="3689"/>
                      </a:lnTo>
                      <a:lnTo>
                        <a:pt x="0" y="37891"/>
                      </a:lnTo>
                      <a:cubicBezTo>
                        <a:pt x="223" y="38115"/>
                        <a:pt x="447" y="38338"/>
                        <a:pt x="671" y="38562"/>
                      </a:cubicBezTo>
                      <a:cubicBezTo>
                        <a:pt x="13413" y="32247"/>
                        <a:pt x="27943" y="28782"/>
                        <a:pt x="42306" y="28782"/>
                      </a:cubicBezTo>
                      <a:close/>
                    </a:path>
                  </a:pathLst>
                </a:custGeom>
                <a:solidFill>
                  <a:srgbClr val="663E34"/>
                </a:solidFill>
                <a:ln w="55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604" name="Gráfico 7">
                  <a:extLst>
                    <a:ext uri="{FF2B5EF4-FFF2-40B4-BE49-F238E27FC236}">
                      <a16:creationId xmlns:a16="http://schemas.microsoft.com/office/drawing/2014/main" id="{DEF1A763-FDB4-7FBB-D374-17730AA4E437}"/>
                    </a:ext>
                  </a:extLst>
                </p:cNvPr>
                <p:cNvGrpSpPr/>
                <p:nvPr/>
              </p:nvGrpSpPr>
              <p:grpSpPr>
                <a:xfrm>
                  <a:off x="6881376" y="2243577"/>
                  <a:ext cx="110731" cy="103202"/>
                  <a:chOff x="6881376" y="2243577"/>
                  <a:chExt cx="110731" cy="103202"/>
                </a:xfrm>
              </p:grpSpPr>
              <p:sp>
                <p:nvSpPr>
                  <p:cNvPr id="605" name="Forma Livre: Forma 604">
                    <a:extLst>
                      <a:ext uri="{FF2B5EF4-FFF2-40B4-BE49-F238E27FC236}">
                        <a16:creationId xmlns:a16="http://schemas.microsoft.com/office/drawing/2014/main" id="{84356903-A929-8601-41A8-B0D181F4E4B0}"/>
                      </a:ext>
                    </a:extLst>
                  </p:cNvPr>
                  <p:cNvSpPr/>
                  <p:nvPr/>
                </p:nvSpPr>
                <p:spPr>
                  <a:xfrm>
                    <a:off x="6891081" y="2281120"/>
                    <a:ext cx="72757" cy="65659"/>
                  </a:xfrm>
                  <a:custGeom>
                    <a:avLst/>
                    <a:gdLst>
                      <a:gd name="connsiteX0" fmla="*/ 72758 w 72757"/>
                      <a:gd name="connsiteY0" fmla="*/ 2515 h 65659"/>
                      <a:gd name="connsiteX1" fmla="*/ 64095 w 72757"/>
                      <a:gd name="connsiteY1" fmla="*/ 47839 h 65659"/>
                      <a:gd name="connsiteX2" fmla="*/ 56495 w 72757"/>
                      <a:gd name="connsiteY2" fmla="*/ 55886 h 65659"/>
                      <a:gd name="connsiteX3" fmla="*/ 55265 w 72757"/>
                      <a:gd name="connsiteY3" fmla="*/ 59128 h 65659"/>
                      <a:gd name="connsiteX4" fmla="*/ 13294 w 72757"/>
                      <a:gd name="connsiteY4" fmla="*/ 62928 h 65659"/>
                      <a:gd name="connsiteX5" fmla="*/ 10388 w 72757"/>
                      <a:gd name="connsiteY5" fmla="*/ 0 h 65659"/>
                      <a:gd name="connsiteX6" fmla="*/ 72758 w 72757"/>
                      <a:gd name="connsiteY6" fmla="*/ 2515 h 656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2757" h="65659">
                        <a:moveTo>
                          <a:pt x="72758" y="2515"/>
                        </a:moveTo>
                        <a:lnTo>
                          <a:pt x="64095" y="47839"/>
                        </a:lnTo>
                        <a:cubicBezTo>
                          <a:pt x="59568" y="47001"/>
                          <a:pt x="56215" y="51527"/>
                          <a:pt x="56495" y="55886"/>
                        </a:cubicBezTo>
                        <a:cubicBezTo>
                          <a:pt x="55880" y="56837"/>
                          <a:pt x="55433" y="57954"/>
                          <a:pt x="55265" y="59128"/>
                        </a:cubicBezTo>
                        <a:cubicBezTo>
                          <a:pt x="46603" y="63655"/>
                          <a:pt x="31234" y="69020"/>
                          <a:pt x="13294" y="62928"/>
                        </a:cubicBezTo>
                        <a:cubicBezTo>
                          <a:pt x="-14816" y="53372"/>
                          <a:pt x="10388" y="0"/>
                          <a:pt x="10388" y="0"/>
                        </a:cubicBezTo>
                        <a:lnTo>
                          <a:pt x="72758" y="2515"/>
                        </a:lnTo>
                        <a:close/>
                      </a:path>
                    </a:pathLst>
                  </a:custGeom>
                  <a:solidFill>
                    <a:srgbClr val="825A45"/>
                  </a:solidFill>
                  <a:ln w="5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6" name="Forma Livre: Forma 605">
                    <a:extLst>
                      <a:ext uri="{FF2B5EF4-FFF2-40B4-BE49-F238E27FC236}">
                        <a16:creationId xmlns:a16="http://schemas.microsoft.com/office/drawing/2014/main" id="{D1761841-0137-B1A5-B16C-54273E9B58E8}"/>
                      </a:ext>
                    </a:extLst>
                  </p:cNvPr>
                  <p:cNvSpPr/>
                  <p:nvPr/>
                </p:nvSpPr>
                <p:spPr>
                  <a:xfrm>
                    <a:off x="6881376" y="2243577"/>
                    <a:ext cx="110731" cy="97229"/>
                  </a:xfrm>
                  <a:custGeom>
                    <a:avLst/>
                    <a:gdLst>
                      <a:gd name="connsiteX0" fmla="*/ 92242 w 110731"/>
                      <a:gd name="connsiteY0" fmla="*/ 76384 h 97229"/>
                      <a:gd name="connsiteX1" fmla="*/ 101295 w 110731"/>
                      <a:gd name="connsiteY1" fmla="*/ 64759 h 97229"/>
                      <a:gd name="connsiteX2" fmla="*/ 101687 w 110731"/>
                      <a:gd name="connsiteY2" fmla="*/ 36481 h 97229"/>
                      <a:gd name="connsiteX3" fmla="*/ 92410 w 110731"/>
                      <a:gd name="connsiteY3" fmla="*/ 14909 h 97229"/>
                      <a:gd name="connsiteX4" fmla="*/ 63013 w 110731"/>
                      <a:gd name="connsiteY4" fmla="*/ 9767 h 97229"/>
                      <a:gd name="connsiteX5" fmla="*/ 41497 w 110731"/>
                      <a:gd name="connsiteY5" fmla="*/ 769 h 97229"/>
                      <a:gd name="connsiteX6" fmla="*/ 26352 w 110731"/>
                      <a:gd name="connsiteY6" fmla="*/ 15915 h 97229"/>
                      <a:gd name="connsiteX7" fmla="*/ 5786 w 110731"/>
                      <a:gd name="connsiteY7" fmla="*/ 18038 h 97229"/>
                      <a:gd name="connsiteX8" fmla="*/ 17522 w 110731"/>
                      <a:gd name="connsiteY8" fmla="*/ 44137 h 97229"/>
                      <a:gd name="connsiteX9" fmla="*/ 56866 w 110731"/>
                      <a:gd name="connsiteY9" fmla="*/ 47826 h 97229"/>
                      <a:gd name="connsiteX10" fmla="*/ 65193 w 110731"/>
                      <a:gd name="connsiteY10" fmla="*/ 51123 h 97229"/>
                      <a:gd name="connsiteX11" fmla="*/ 64243 w 110731"/>
                      <a:gd name="connsiteY11" fmla="*/ 97229 h 97229"/>
                      <a:gd name="connsiteX12" fmla="*/ 72514 w 110731"/>
                      <a:gd name="connsiteY12" fmla="*/ 92088 h 97229"/>
                      <a:gd name="connsiteX13" fmla="*/ 92242 w 110731"/>
                      <a:gd name="connsiteY13" fmla="*/ 76384 h 972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110731" h="97229">
                        <a:moveTo>
                          <a:pt x="92242" y="76384"/>
                        </a:moveTo>
                        <a:cubicBezTo>
                          <a:pt x="92912" y="73086"/>
                          <a:pt x="98501" y="66604"/>
                          <a:pt x="101295" y="64759"/>
                        </a:cubicBezTo>
                        <a:cubicBezTo>
                          <a:pt x="119626" y="52911"/>
                          <a:pt x="106437" y="40560"/>
                          <a:pt x="101687" y="36481"/>
                        </a:cubicBezTo>
                        <a:cubicBezTo>
                          <a:pt x="96489" y="32010"/>
                          <a:pt x="99060" y="21727"/>
                          <a:pt x="92410" y="14909"/>
                        </a:cubicBezTo>
                        <a:cubicBezTo>
                          <a:pt x="82294" y="4458"/>
                          <a:pt x="70111" y="12114"/>
                          <a:pt x="63013" y="9767"/>
                        </a:cubicBezTo>
                        <a:cubicBezTo>
                          <a:pt x="55916" y="7420"/>
                          <a:pt x="52786" y="-2863"/>
                          <a:pt x="41497" y="769"/>
                        </a:cubicBezTo>
                        <a:cubicBezTo>
                          <a:pt x="30208" y="4402"/>
                          <a:pt x="30208" y="12897"/>
                          <a:pt x="26352" y="15915"/>
                        </a:cubicBezTo>
                        <a:cubicBezTo>
                          <a:pt x="22496" y="18932"/>
                          <a:pt x="17634" y="8426"/>
                          <a:pt x="5786" y="18038"/>
                        </a:cubicBezTo>
                        <a:cubicBezTo>
                          <a:pt x="-12210" y="32680"/>
                          <a:pt x="17522" y="44137"/>
                          <a:pt x="17522" y="44137"/>
                        </a:cubicBezTo>
                        <a:cubicBezTo>
                          <a:pt x="17522" y="44137"/>
                          <a:pt x="33394" y="53470"/>
                          <a:pt x="56866" y="47826"/>
                        </a:cubicBezTo>
                        <a:cubicBezTo>
                          <a:pt x="60107" y="47043"/>
                          <a:pt x="63628" y="48217"/>
                          <a:pt x="65193" y="51123"/>
                        </a:cubicBezTo>
                        <a:cubicBezTo>
                          <a:pt x="69496" y="59115"/>
                          <a:pt x="64243" y="97229"/>
                          <a:pt x="64243" y="97229"/>
                        </a:cubicBezTo>
                        <a:lnTo>
                          <a:pt x="72514" y="92088"/>
                        </a:lnTo>
                        <a:cubicBezTo>
                          <a:pt x="72514" y="91976"/>
                          <a:pt x="89112" y="91529"/>
                          <a:pt x="92242" y="76384"/>
                        </a:cubicBezTo>
                        <a:close/>
                      </a:path>
                    </a:pathLst>
                  </a:custGeom>
                  <a:solidFill>
                    <a:srgbClr val="132237"/>
                  </a:solidFill>
                  <a:ln w="5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7" name="Forma Livre: Forma 606">
                    <a:extLst>
                      <a:ext uri="{FF2B5EF4-FFF2-40B4-BE49-F238E27FC236}">
                        <a16:creationId xmlns:a16="http://schemas.microsoft.com/office/drawing/2014/main" id="{810C4B2A-7738-2D08-18E1-A6B44DDE0E04}"/>
                      </a:ext>
                    </a:extLst>
                  </p:cNvPr>
                  <p:cNvSpPr/>
                  <p:nvPr/>
                </p:nvSpPr>
                <p:spPr>
                  <a:xfrm>
                    <a:off x="6942547" y="2310630"/>
                    <a:ext cx="14147" cy="14135"/>
                  </a:xfrm>
                  <a:custGeom>
                    <a:avLst/>
                    <a:gdLst>
                      <a:gd name="connsiteX0" fmla="*/ 13187 w 14147"/>
                      <a:gd name="connsiteY0" fmla="*/ 10617 h 14135"/>
                      <a:gd name="connsiteX1" fmla="*/ 3519 w 14147"/>
                      <a:gd name="connsiteY1" fmla="*/ 13187 h 14135"/>
                      <a:gd name="connsiteX2" fmla="*/ 948 w 14147"/>
                      <a:gd name="connsiteY2" fmla="*/ 3519 h 14135"/>
                      <a:gd name="connsiteX3" fmla="*/ 10617 w 14147"/>
                      <a:gd name="connsiteY3" fmla="*/ 948 h 14135"/>
                      <a:gd name="connsiteX4" fmla="*/ 13187 w 14147"/>
                      <a:gd name="connsiteY4" fmla="*/ 10617 h 1413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147" h="14135">
                        <a:moveTo>
                          <a:pt x="13187" y="10617"/>
                        </a:moveTo>
                        <a:cubicBezTo>
                          <a:pt x="11231" y="13970"/>
                          <a:pt x="6872" y="15143"/>
                          <a:pt x="3519" y="13187"/>
                        </a:cubicBezTo>
                        <a:cubicBezTo>
                          <a:pt x="166" y="11231"/>
                          <a:pt x="-1008" y="6872"/>
                          <a:pt x="948" y="3519"/>
                        </a:cubicBezTo>
                        <a:cubicBezTo>
                          <a:pt x="2904" y="166"/>
                          <a:pt x="7263" y="-1008"/>
                          <a:pt x="10617" y="948"/>
                        </a:cubicBezTo>
                        <a:cubicBezTo>
                          <a:pt x="14026" y="2904"/>
                          <a:pt x="15143" y="7263"/>
                          <a:pt x="13187" y="10617"/>
                        </a:cubicBezTo>
                        <a:close/>
                      </a:path>
                    </a:pathLst>
                  </a:custGeom>
                  <a:solidFill>
                    <a:srgbClr val="825A45"/>
                  </a:solidFill>
                  <a:ln w="55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pt-BR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sp>
            <p:nvSpPr>
              <p:cNvPr id="601" name="Forma Livre: Forma 600">
                <a:extLst>
                  <a:ext uri="{FF2B5EF4-FFF2-40B4-BE49-F238E27FC236}">
                    <a16:creationId xmlns:a16="http://schemas.microsoft.com/office/drawing/2014/main" id="{D39DF95F-4731-5CC6-8C1C-609F081CC21F}"/>
                  </a:ext>
                </a:extLst>
              </p:cNvPr>
              <p:cNvSpPr/>
              <p:nvPr/>
            </p:nvSpPr>
            <p:spPr>
              <a:xfrm>
                <a:off x="6717379" y="2592799"/>
                <a:ext cx="328835" cy="420322"/>
              </a:xfrm>
              <a:custGeom>
                <a:avLst/>
                <a:gdLst>
                  <a:gd name="connsiteX0" fmla="*/ 173695 w 328835"/>
                  <a:gd name="connsiteY0" fmla="*/ 18443 h 420322"/>
                  <a:gd name="connsiteX1" fmla="*/ 51862 w 328835"/>
                  <a:gd name="connsiteY1" fmla="*/ 150949 h 420322"/>
                  <a:gd name="connsiteX2" fmla="*/ 0 w 328835"/>
                  <a:gd name="connsiteY2" fmla="*/ 420322 h 420322"/>
                  <a:gd name="connsiteX3" fmla="*/ 31799 w 328835"/>
                  <a:gd name="connsiteY3" fmla="*/ 420322 h 420322"/>
                  <a:gd name="connsiteX4" fmla="*/ 115126 w 328835"/>
                  <a:gd name="connsiteY4" fmla="*/ 235170 h 420322"/>
                  <a:gd name="connsiteX5" fmla="*/ 171851 w 328835"/>
                  <a:gd name="connsiteY5" fmla="*/ 174757 h 420322"/>
                  <a:gd name="connsiteX6" fmla="*/ 328165 w 328835"/>
                  <a:gd name="connsiteY6" fmla="*/ 0 h 420322"/>
                  <a:gd name="connsiteX7" fmla="*/ 173695 w 328835"/>
                  <a:gd name="connsiteY7" fmla="*/ 18443 h 420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8835" h="420322">
                    <a:moveTo>
                      <a:pt x="173695" y="18443"/>
                    </a:moveTo>
                    <a:cubicBezTo>
                      <a:pt x="173695" y="18443"/>
                      <a:pt x="61866" y="124906"/>
                      <a:pt x="51862" y="150949"/>
                    </a:cubicBezTo>
                    <a:cubicBezTo>
                      <a:pt x="41859" y="176993"/>
                      <a:pt x="0" y="420322"/>
                      <a:pt x="0" y="420322"/>
                    </a:cubicBezTo>
                    <a:lnTo>
                      <a:pt x="31799" y="420322"/>
                    </a:lnTo>
                    <a:cubicBezTo>
                      <a:pt x="31799" y="420322"/>
                      <a:pt x="95622" y="316597"/>
                      <a:pt x="115126" y="235170"/>
                    </a:cubicBezTo>
                    <a:cubicBezTo>
                      <a:pt x="122000" y="206445"/>
                      <a:pt x="143628" y="183531"/>
                      <a:pt x="171851" y="174757"/>
                    </a:cubicBezTo>
                    <a:cubicBezTo>
                      <a:pt x="348005" y="120212"/>
                      <a:pt x="328165" y="0"/>
                      <a:pt x="328165" y="0"/>
                    </a:cubicBezTo>
                    <a:lnTo>
                      <a:pt x="173695" y="18443"/>
                    </a:lnTo>
                    <a:close/>
                  </a:path>
                </a:pathLst>
              </a:custGeom>
              <a:solidFill>
                <a:srgbClr val="114585"/>
              </a:solidFill>
              <a:ln w="5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02" name="Forma Livre: Forma 601">
                <a:extLst>
                  <a:ext uri="{FF2B5EF4-FFF2-40B4-BE49-F238E27FC236}">
                    <a16:creationId xmlns:a16="http://schemas.microsoft.com/office/drawing/2014/main" id="{93AAC560-25EC-94B0-F2F8-DE531365FEEA}"/>
                  </a:ext>
                </a:extLst>
              </p:cNvPr>
              <p:cNvSpPr/>
              <p:nvPr/>
            </p:nvSpPr>
            <p:spPr>
              <a:xfrm>
                <a:off x="6910131" y="2353940"/>
                <a:ext cx="51191" cy="27328"/>
              </a:xfrm>
              <a:custGeom>
                <a:avLst/>
                <a:gdLst>
                  <a:gd name="connsiteX0" fmla="*/ 671 w 51191"/>
                  <a:gd name="connsiteY0" fmla="*/ 11624 h 27328"/>
                  <a:gd name="connsiteX1" fmla="*/ 0 w 51191"/>
                  <a:gd name="connsiteY1" fmla="*/ 27328 h 27328"/>
                  <a:gd name="connsiteX2" fmla="*/ 51192 w 51191"/>
                  <a:gd name="connsiteY2" fmla="*/ 17101 h 27328"/>
                  <a:gd name="connsiteX3" fmla="*/ 40462 w 51191"/>
                  <a:gd name="connsiteY3" fmla="*/ 0 h 273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191" h="27328">
                    <a:moveTo>
                      <a:pt x="671" y="11624"/>
                    </a:moveTo>
                    <a:lnTo>
                      <a:pt x="0" y="27328"/>
                    </a:lnTo>
                    <a:lnTo>
                      <a:pt x="51192" y="17101"/>
                    </a:lnTo>
                    <a:lnTo>
                      <a:pt x="40462" y="0"/>
                    </a:lnTo>
                    <a:close/>
                  </a:path>
                </a:pathLst>
              </a:custGeom>
              <a:solidFill>
                <a:srgbClr val="FFFFFF"/>
              </a:solidFill>
              <a:ln w="5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560" name="Gráfico 7">
              <a:extLst>
                <a:ext uri="{FF2B5EF4-FFF2-40B4-BE49-F238E27FC236}">
                  <a16:creationId xmlns:a16="http://schemas.microsoft.com/office/drawing/2014/main" id="{FB46DA21-D833-0478-6979-4233AAE72925}"/>
                </a:ext>
              </a:extLst>
            </p:cNvPr>
            <p:cNvGrpSpPr/>
            <p:nvPr/>
          </p:nvGrpSpPr>
          <p:grpSpPr>
            <a:xfrm>
              <a:off x="8412833" y="1441333"/>
              <a:ext cx="686286" cy="684330"/>
              <a:chOff x="6516746" y="1492897"/>
              <a:chExt cx="686286" cy="684330"/>
            </a:xfrm>
          </p:grpSpPr>
          <p:sp>
            <p:nvSpPr>
              <p:cNvPr id="590" name="Forma Livre: Forma 589">
                <a:extLst>
                  <a:ext uri="{FF2B5EF4-FFF2-40B4-BE49-F238E27FC236}">
                    <a16:creationId xmlns:a16="http://schemas.microsoft.com/office/drawing/2014/main" id="{40EC3F9F-05ED-7689-BF67-A4AA0996C863}"/>
                  </a:ext>
                </a:extLst>
              </p:cNvPr>
              <p:cNvSpPr/>
              <p:nvPr/>
            </p:nvSpPr>
            <p:spPr>
              <a:xfrm>
                <a:off x="6516746" y="1492897"/>
                <a:ext cx="686286" cy="684330"/>
              </a:xfrm>
              <a:custGeom>
                <a:avLst/>
                <a:gdLst>
                  <a:gd name="connsiteX0" fmla="*/ 305923 w 686286"/>
                  <a:gd name="connsiteY0" fmla="*/ 0 h 684330"/>
                  <a:gd name="connsiteX1" fmla="*/ 444018 w 686286"/>
                  <a:gd name="connsiteY1" fmla="*/ 199012 h 684330"/>
                  <a:gd name="connsiteX2" fmla="*/ 686286 w 686286"/>
                  <a:gd name="connsiteY2" fmla="*/ 198118 h 684330"/>
                  <a:gd name="connsiteX3" fmla="*/ 539640 w 686286"/>
                  <a:gd name="connsiteY3" fmla="*/ 390926 h 684330"/>
                  <a:gd name="connsiteX4" fmla="*/ 615422 w 686286"/>
                  <a:gd name="connsiteY4" fmla="*/ 621011 h 684330"/>
                  <a:gd name="connsiteX5" fmla="*/ 386679 w 686286"/>
                  <a:gd name="connsiteY5" fmla="*/ 541205 h 684330"/>
                  <a:gd name="connsiteX6" fmla="*/ 191244 w 686286"/>
                  <a:gd name="connsiteY6" fmla="*/ 684330 h 684330"/>
                  <a:gd name="connsiteX7" fmla="*/ 196553 w 686286"/>
                  <a:gd name="connsiteY7" fmla="*/ 442118 h 684330"/>
                  <a:gd name="connsiteX8" fmla="*/ 0 w 686286"/>
                  <a:gd name="connsiteY8" fmla="*/ 300502 h 684330"/>
                  <a:gd name="connsiteX9" fmla="*/ 231985 w 686286"/>
                  <a:gd name="connsiteY9" fmla="*/ 230644 h 684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86286" h="684330">
                    <a:moveTo>
                      <a:pt x="305923" y="0"/>
                    </a:moveTo>
                    <a:lnTo>
                      <a:pt x="444018" y="199012"/>
                    </a:lnTo>
                    <a:lnTo>
                      <a:pt x="686286" y="198118"/>
                    </a:lnTo>
                    <a:lnTo>
                      <a:pt x="539640" y="390926"/>
                    </a:lnTo>
                    <a:lnTo>
                      <a:pt x="615422" y="621011"/>
                    </a:lnTo>
                    <a:lnTo>
                      <a:pt x="386679" y="541205"/>
                    </a:lnTo>
                    <a:lnTo>
                      <a:pt x="191244" y="684330"/>
                    </a:lnTo>
                    <a:lnTo>
                      <a:pt x="196553" y="442118"/>
                    </a:lnTo>
                    <a:lnTo>
                      <a:pt x="0" y="300502"/>
                    </a:lnTo>
                    <a:lnTo>
                      <a:pt x="231985" y="230644"/>
                    </a:lnTo>
                    <a:close/>
                  </a:path>
                </a:pathLst>
              </a:custGeom>
              <a:solidFill>
                <a:srgbClr val="EEA004"/>
              </a:solidFill>
              <a:ln w="5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91" name="Forma Livre: Forma 590">
                <a:extLst>
                  <a:ext uri="{FF2B5EF4-FFF2-40B4-BE49-F238E27FC236}">
                    <a16:creationId xmlns:a16="http://schemas.microsoft.com/office/drawing/2014/main" id="{B91530ED-5363-277A-FADC-8DE1FAC0CEE5}"/>
                  </a:ext>
                </a:extLst>
              </p:cNvPr>
              <p:cNvSpPr/>
              <p:nvPr/>
            </p:nvSpPr>
            <p:spPr>
              <a:xfrm>
                <a:off x="6825631" y="1497088"/>
                <a:ext cx="377401" cy="616819"/>
              </a:xfrm>
              <a:custGeom>
                <a:avLst/>
                <a:gdLst>
                  <a:gd name="connsiteX0" fmla="*/ 377401 w 377401"/>
                  <a:gd name="connsiteY0" fmla="*/ 193926 h 616819"/>
                  <a:gd name="connsiteX1" fmla="*/ 135134 w 377401"/>
                  <a:gd name="connsiteY1" fmla="*/ 194820 h 616819"/>
                  <a:gd name="connsiteX2" fmla="*/ 0 w 377401"/>
                  <a:gd name="connsiteY2" fmla="*/ 0 h 616819"/>
                  <a:gd name="connsiteX3" fmla="*/ 80253 w 377401"/>
                  <a:gd name="connsiteY3" fmla="*/ 537852 h 616819"/>
                  <a:gd name="connsiteX4" fmla="*/ 306537 w 377401"/>
                  <a:gd name="connsiteY4" fmla="*/ 616819 h 616819"/>
                  <a:gd name="connsiteX5" fmla="*/ 230755 w 377401"/>
                  <a:gd name="connsiteY5" fmla="*/ 386735 h 616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77401" h="616819">
                    <a:moveTo>
                      <a:pt x="377401" y="193926"/>
                    </a:moveTo>
                    <a:lnTo>
                      <a:pt x="135134" y="194820"/>
                    </a:lnTo>
                    <a:lnTo>
                      <a:pt x="0" y="0"/>
                    </a:lnTo>
                    <a:lnTo>
                      <a:pt x="80253" y="537852"/>
                    </a:lnTo>
                    <a:lnTo>
                      <a:pt x="306537" y="616819"/>
                    </a:lnTo>
                    <a:lnTo>
                      <a:pt x="230755" y="386735"/>
                    </a:lnTo>
                    <a:close/>
                  </a:path>
                </a:pathLst>
              </a:custGeom>
              <a:solidFill>
                <a:srgbClr val="EE730D"/>
              </a:solidFill>
              <a:ln w="5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561" name="Forma Livre: Forma 560">
              <a:extLst>
                <a:ext uri="{FF2B5EF4-FFF2-40B4-BE49-F238E27FC236}">
                  <a16:creationId xmlns:a16="http://schemas.microsoft.com/office/drawing/2014/main" id="{C8E6DDBE-C481-9BC5-5B20-F5CA96CCD7C0}"/>
                </a:ext>
              </a:extLst>
            </p:cNvPr>
            <p:cNvSpPr/>
            <p:nvPr/>
          </p:nvSpPr>
          <p:spPr>
            <a:xfrm>
              <a:off x="7477884" y="1887941"/>
              <a:ext cx="302576" cy="121883"/>
            </a:xfrm>
            <a:custGeom>
              <a:avLst/>
              <a:gdLst>
                <a:gd name="connsiteX0" fmla="*/ 750 w 302576"/>
                <a:gd name="connsiteY0" fmla="*/ 67212 h 121883"/>
                <a:gd name="connsiteX1" fmla="*/ 149408 w 302576"/>
                <a:gd name="connsiteY1" fmla="*/ 121869 h 121883"/>
                <a:gd name="connsiteX2" fmla="*/ 187858 w 302576"/>
                <a:gd name="connsiteY2" fmla="*/ 118236 h 121883"/>
                <a:gd name="connsiteX3" fmla="*/ 301420 w 302576"/>
                <a:gd name="connsiteY3" fmla="*/ 60729 h 121883"/>
                <a:gd name="connsiteX4" fmla="*/ 238939 w 302576"/>
                <a:gd name="connsiteY4" fmla="*/ 49608 h 121883"/>
                <a:gd name="connsiteX5" fmla="*/ 165001 w 302576"/>
                <a:gd name="connsiteY5" fmla="*/ 3445 h 121883"/>
                <a:gd name="connsiteX6" fmla="*/ 85530 w 302576"/>
                <a:gd name="connsiteY6" fmla="*/ 46254 h 121883"/>
                <a:gd name="connsiteX7" fmla="*/ 750 w 302576"/>
                <a:gd name="connsiteY7" fmla="*/ 67212 h 121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2576" h="121883">
                  <a:moveTo>
                    <a:pt x="750" y="67212"/>
                  </a:moveTo>
                  <a:cubicBezTo>
                    <a:pt x="-10259" y="115162"/>
                    <a:pt x="102799" y="121366"/>
                    <a:pt x="149408" y="121869"/>
                  </a:cubicBezTo>
                  <a:cubicBezTo>
                    <a:pt x="162318" y="122036"/>
                    <a:pt x="175172" y="120807"/>
                    <a:pt x="187858" y="118236"/>
                  </a:cubicBezTo>
                  <a:cubicBezTo>
                    <a:pt x="227258" y="110244"/>
                    <a:pt x="313547" y="89231"/>
                    <a:pt x="301420" y="60729"/>
                  </a:cubicBezTo>
                  <a:cubicBezTo>
                    <a:pt x="285827" y="23900"/>
                    <a:pt x="238939" y="49608"/>
                    <a:pt x="238939" y="49608"/>
                  </a:cubicBezTo>
                  <a:cubicBezTo>
                    <a:pt x="238939" y="49608"/>
                    <a:pt x="244807" y="21832"/>
                    <a:pt x="165001" y="3445"/>
                  </a:cubicBezTo>
                  <a:cubicBezTo>
                    <a:pt x="85195" y="-14941"/>
                    <a:pt x="85530" y="46254"/>
                    <a:pt x="85530" y="46254"/>
                  </a:cubicBezTo>
                  <a:cubicBezTo>
                    <a:pt x="85530" y="46254"/>
                    <a:pt x="14610" y="6910"/>
                    <a:pt x="750" y="67212"/>
                  </a:cubicBezTo>
                  <a:close/>
                </a:path>
              </a:pathLst>
            </a:custGeom>
            <a:solidFill>
              <a:srgbClr val="E6E6E6"/>
            </a:solidFill>
            <a:ln w="558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62" name="Gráfico 7">
              <a:extLst>
                <a:ext uri="{FF2B5EF4-FFF2-40B4-BE49-F238E27FC236}">
                  <a16:creationId xmlns:a16="http://schemas.microsoft.com/office/drawing/2014/main" id="{8C848FE2-2D8E-5EB8-7DB4-BBE3FF75F9CB}"/>
                </a:ext>
              </a:extLst>
            </p:cNvPr>
            <p:cNvGrpSpPr/>
            <p:nvPr/>
          </p:nvGrpSpPr>
          <p:grpSpPr>
            <a:xfrm>
              <a:off x="7370674" y="2942611"/>
              <a:ext cx="96392" cy="47335"/>
              <a:chOff x="5474587" y="2994175"/>
              <a:chExt cx="96392" cy="47335"/>
            </a:xfrm>
          </p:grpSpPr>
          <p:sp>
            <p:nvSpPr>
              <p:cNvPr id="585" name="Forma Livre: Forma 584">
                <a:extLst>
                  <a:ext uri="{FF2B5EF4-FFF2-40B4-BE49-F238E27FC236}">
                    <a16:creationId xmlns:a16="http://schemas.microsoft.com/office/drawing/2014/main" id="{BC232B67-AAE4-C2E9-675E-F0EF9B538052}"/>
                  </a:ext>
                </a:extLst>
              </p:cNvPr>
              <p:cNvSpPr/>
              <p:nvPr/>
            </p:nvSpPr>
            <p:spPr>
              <a:xfrm>
                <a:off x="5474587" y="3016698"/>
                <a:ext cx="96296" cy="22776"/>
              </a:xfrm>
              <a:custGeom>
                <a:avLst/>
                <a:gdLst>
                  <a:gd name="connsiteX0" fmla="*/ 6694 w 96296"/>
                  <a:gd name="connsiteY0" fmla="*/ 56 h 22776"/>
                  <a:gd name="connsiteX1" fmla="*/ 74540 w 96296"/>
                  <a:gd name="connsiteY1" fmla="*/ 0 h 22776"/>
                  <a:gd name="connsiteX2" fmla="*/ 95274 w 96296"/>
                  <a:gd name="connsiteY2" fmla="*/ 11289 h 22776"/>
                  <a:gd name="connsiteX3" fmla="*/ 96280 w 96296"/>
                  <a:gd name="connsiteY3" fmla="*/ 21628 h 22776"/>
                  <a:gd name="connsiteX4" fmla="*/ 3956 w 96296"/>
                  <a:gd name="connsiteY4" fmla="*/ 21237 h 22776"/>
                  <a:gd name="connsiteX5" fmla="*/ 3564 w 96296"/>
                  <a:gd name="connsiteY5" fmla="*/ 20901 h 22776"/>
                  <a:gd name="connsiteX6" fmla="*/ 6694 w 96296"/>
                  <a:gd name="connsiteY6" fmla="*/ 56 h 22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6296" h="22776">
                    <a:moveTo>
                      <a:pt x="6694" y="56"/>
                    </a:moveTo>
                    <a:lnTo>
                      <a:pt x="74540" y="0"/>
                    </a:lnTo>
                    <a:cubicBezTo>
                      <a:pt x="83538" y="950"/>
                      <a:pt x="93598" y="3521"/>
                      <a:pt x="95274" y="11289"/>
                    </a:cubicBezTo>
                    <a:cubicBezTo>
                      <a:pt x="95274" y="11289"/>
                      <a:pt x="96448" y="16486"/>
                      <a:pt x="96280" y="21628"/>
                    </a:cubicBezTo>
                    <a:cubicBezTo>
                      <a:pt x="93877" y="24422"/>
                      <a:pt x="3956" y="21237"/>
                      <a:pt x="3956" y="21237"/>
                    </a:cubicBezTo>
                    <a:lnTo>
                      <a:pt x="3564" y="20901"/>
                    </a:lnTo>
                    <a:cubicBezTo>
                      <a:pt x="-5992" y="9445"/>
                      <a:pt x="6694" y="56"/>
                      <a:pt x="6694" y="56"/>
                    </a:cubicBezTo>
                    <a:close/>
                  </a:path>
                </a:pathLst>
              </a:custGeom>
              <a:solidFill>
                <a:srgbClr val="0070C0"/>
              </a:solidFill>
              <a:ln w="5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86" name="Forma Livre: Forma 585">
                <a:extLst>
                  <a:ext uri="{FF2B5EF4-FFF2-40B4-BE49-F238E27FC236}">
                    <a16:creationId xmlns:a16="http://schemas.microsoft.com/office/drawing/2014/main" id="{83C2B1A3-00C2-48BB-E9A2-E33522B27A0E}"/>
                  </a:ext>
                </a:extLst>
              </p:cNvPr>
              <p:cNvSpPr/>
              <p:nvPr/>
            </p:nvSpPr>
            <p:spPr>
              <a:xfrm>
                <a:off x="5478487" y="3037934"/>
                <a:ext cx="92492" cy="3576"/>
              </a:xfrm>
              <a:custGeom>
                <a:avLst/>
                <a:gdLst>
                  <a:gd name="connsiteX0" fmla="*/ 92380 w 92492"/>
                  <a:gd name="connsiteY0" fmla="*/ 391 h 3576"/>
                  <a:gd name="connsiteX1" fmla="*/ 0 w 92492"/>
                  <a:gd name="connsiteY1" fmla="*/ 0 h 3576"/>
                  <a:gd name="connsiteX2" fmla="*/ 838 w 92492"/>
                  <a:gd name="connsiteY2" fmla="*/ 3577 h 3576"/>
                  <a:gd name="connsiteX3" fmla="*/ 92492 w 92492"/>
                  <a:gd name="connsiteY3" fmla="*/ 3577 h 3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492" h="3576">
                    <a:moveTo>
                      <a:pt x="92380" y="391"/>
                    </a:moveTo>
                    <a:lnTo>
                      <a:pt x="0" y="0"/>
                    </a:lnTo>
                    <a:lnTo>
                      <a:pt x="838" y="3577"/>
                    </a:lnTo>
                    <a:lnTo>
                      <a:pt x="92492" y="3577"/>
                    </a:lnTo>
                    <a:close/>
                  </a:path>
                </a:pathLst>
              </a:custGeom>
              <a:solidFill>
                <a:srgbClr val="212B53"/>
              </a:solidFill>
              <a:ln w="5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87" name="Forma Livre: Forma 586">
                <a:extLst>
                  <a:ext uri="{FF2B5EF4-FFF2-40B4-BE49-F238E27FC236}">
                    <a16:creationId xmlns:a16="http://schemas.microsoft.com/office/drawing/2014/main" id="{74EDEA49-44FA-1460-5962-736A059F4D1C}"/>
                  </a:ext>
                </a:extLst>
              </p:cNvPr>
              <p:cNvSpPr/>
              <p:nvPr/>
            </p:nvSpPr>
            <p:spPr>
              <a:xfrm>
                <a:off x="5506430" y="3016698"/>
                <a:ext cx="7824" cy="8327"/>
              </a:xfrm>
              <a:custGeom>
                <a:avLst/>
                <a:gdLst>
                  <a:gd name="connsiteX0" fmla="*/ 1677 w 7824"/>
                  <a:gd name="connsiteY0" fmla="*/ 0 h 8327"/>
                  <a:gd name="connsiteX1" fmla="*/ 7824 w 7824"/>
                  <a:gd name="connsiteY1" fmla="*/ 0 h 8327"/>
                  <a:gd name="connsiteX2" fmla="*/ 5924 w 7824"/>
                  <a:gd name="connsiteY2" fmla="*/ 8327 h 8327"/>
                  <a:gd name="connsiteX3" fmla="*/ 0 w 7824"/>
                  <a:gd name="connsiteY3" fmla="*/ 8327 h 8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24" h="8327">
                    <a:moveTo>
                      <a:pt x="1677" y="0"/>
                    </a:moveTo>
                    <a:lnTo>
                      <a:pt x="7824" y="0"/>
                    </a:lnTo>
                    <a:lnTo>
                      <a:pt x="5924" y="8327"/>
                    </a:lnTo>
                    <a:lnTo>
                      <a:pt x="0" y="8327"/>
                    </a:lnTo>
                    <a:close/>
                  </a:path>
                </a:pathLst>
              </a:custGeom>
              <a:solidFill>
                <a:srgbClr val="FFFFFF"/>
              </a:solidFill>
              <a:ln w="5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88" name="Forma Livre: Forma 587">
                <a:extLst>
                  <a:ext uri="{FF2B5EF4-FFF2-40B4-BE49-F238E27FC236}">
                    <a16:creationId xmlns:a16="http://schemas.microsoft.com/office/drawing/2014/main" id="{41E57023-E2DE-AB38-DD0B-CB3DC73B7791}"/>
                  </a:ext>
                </a:extLst>
              </p:cNvPr>
              <p:cNvSpPr/>
              <p:nvPr/>
            </p:nvSpPr>
            <p:spPr>
              <a:xfrm>
                <a:off x="5519508" y="3016698"/>
                <a:ext cx="7824" cy="8327"/>
              </a:xfrm>
              <a:custGeom>
                <a:avLst/>
                <a:gdLst>
                  <a:gd name="connsiteX0" fmla="*/ 1732 w 7824"/>
                  <a:gd name="connsiteY0" fmla="*/ 0 h 8327"/>
                  <a:gd name="connsiteX1" fmla="*/ 7824 w 7824"/>
                  <a:gd name="connsiteY1" fmla="*/ 0 h 8327"/>
                  <a:gd name="connsiteX2" fmla="*/ 5924 w 7824"/>
                  <a:gd name="connsiteY2" fmla="*/ 8327 h 8327"/>
                  <a:gd name="connsiteX3" fmla="*/ 0 w 7824"/>
                  <a:gd name="connsiteY3" fmla="*/ 8327 h 8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24" h="8327">
                    <a:moveTo>
                      <a:pt x="1732" y="0"/>
                    </a:moveTo>
                    <a:lnTo>
                      <a:pt x="7824" y="0"/>
                    </a:lnTo>
                    <a:lnTo>
                      <a:pt x="5924" y="8327"/>
                    </a:lnTo>
                    <a:lnTo>
                      <a:pt x="0" y="8327"/>
                    </a:lnTo>
                    <a:close/>
                  </a:path>
                </a:pathLst>
              </a:custGeom>
              <a:solidFill>
                <a:srgbClr val="FFFFFF"/>
              </a:solidFill>
              <a:ln w="5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89" name="Forma Livre: Forma 588">
                <a:extLst>
                  <a:ext uri="{FF2B5EF4-FFF2-40B4-BE49-F238E27FC236}">
                    <a16:creationId xmlns:a16="http://schemas.microsoft.com/office/drawing/2014/main" id="{C992312A-6F28-825D-4D74-0C7FBF68FBD5}"/>
                  </a:ext>
                </a:extLst>
              </p:cNvPr>
              <p:cNvSpPr/>
              <p:nvPr/>
            </p:nvSpPr>
            <p:spPr>
              <a:xfrm>
                <a:off x="5476643" y="2994175"/>
                <a:ext cx="27049" cy="24757"/>
              </a:xfrm>
              <a:custGeom>
                <a:avLst/>
                <a:gdLst>
                  <a:gd name="connsiteX0" fmla="*/ 0 w 27049"/>
                  <a:gd name="connsiteY0" fmla="*/ 0 h 24757"/>
                  <a:gd name="connsiteX1" fmla="*/ 4639 w 27049"/>
                  <a:gd name="connsiteY1" fmla="*/ 22578 h 24757"/>
                  <a:gd name="connsiteX2" fmla="*/ 4639 w 27049"/>
                  <a:gd name="connsiteY2" fmla="*/ 22578 h 24757"/>
                  <a:gd name="connsiteX3" fmla="*/ 22802 w 27049"/>
                  <a:gd name="connsiteY3" fmla="*/ 23025 h 24757"/>
                  <a:gd name="connsiteX4" fmla="*/ 23808 w 27049"/>
                  <a:gd name="connsiteY4" fmla="*/ 22578 h 24757"/>
                  <a:gd name="connsiteX5" fmla="*/ 27049 w 27049"/>
                  <a:gd name="connsiteY5" fmla="*/ 0 h 24757"/>
                  <a:gd name="connsiteX6" fmla="*/ 0 w 27049"/>
                  <a:gd name="connsiteY6" fmla="*/ 0 h 247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049" h="24757">
                    <a:moveTo>
                      <a:pt x="0" y="0"/>
                    </a:moveTo>
                    <a:lnTo>
                      <a:pt x="4639" y="22578"/>
                    </a:lnTo>
                    <a:lnTo>
                      <a:pt x="4639" y="22578"/>
                    </a:lnTo>
                    <a:cubicBezTo>
                      <a:pt x="10060" y="25317"/>
                      <a:pt x="17157" y="25484"/>
                      <a:pt x="22802" y="23025"/>
                    </a:cubicBezTo>
                    <a:lnTo>
                      <a:pt x="23808" y="22578"/>
                    </a:lnTo>
                    <a:lnTo>
                      <a:pt x="27049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8B68F"/>
              </a:solidFill>
              <a:ln w="5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563" name="Gráfico 7">
              <a:extLst>
                <a:ext uri="{FF2B5EF4-FFF2-40B4-BE49-F238E27FC236}">
                  <a16:creationId xmlns:a16="http://schemas.microsoft.com/office/drawing/2014/main" id="{2072F27B-5FAB-36DC-E038-90D450E35FB7}"/>
                </a:ext>
              </a:extLst>
            </p:cNvPr>
            <p:cNvGrpSpPr/>
            <p:nvPr/>
          </p:nvGrpSpPr>
          <p:grpSpPr>
            <a:xfrm>
              <a:off x="7212124" y="2942611"/>
              <a:ext cx="96392" cy="47335"/>
              <a:chOff x="5316037" y="2994175"/>
              <a:chExt cx="96392" cy="47335"/>
            </a:xfrm>
          </p:grpSpPr>
          <p:sp>
            <p:nvSpPr>
              <p:cNvPr id="580" name="Forma Livre: Forma 579">
                <a:extLst>
                  <a:ext uri="{FF2B5EF4-FFF2-40B4-BE49-F238E27FC236}">
                    <a16:creationId xmlns:a16="http://schemas.microsoft.com/office/drawing/2014/main" id="{B6D145EC-CE80-7B91-19B9-B3D21E0CA3E4}"/>
                  </a:ext>
                </a:extLst>
              </p:cNvPr>
              <p:cNvSpPr/>
              <p:nvPr/>
            </p:nvSpPr>
            <p:spPr>
              <a:xfrm>
                <a:off x="5316037" y="3016698"/>
                <a:ext cx="96296" cy="22776"/>
              </a:xfrm>
              <a:custGeom>
                <a:avLst/>
                <a:gdLst>
                  <a:gd name="connsiteX0" fmla="*/ 6694 w 96296"/>
                  <a:gd name="connsiteY0" fmla="*/ 56 h 22776"/>
                  <a:gd name="connsiteX1" fmla="*/ 74540 w 96296"/>
                  <a:gd name="connsiteY1" fmla="*/ 0 h 22776"/>
                  <a:gd name="connsiteX2" fmla="*/ 95274 w 96296"/>
                  <a:gd name="connsiteY2" fmla="*/ 11289 h 22776"/>
                  <a:gd name="connsiteX3" fmla="*/ 96280 w 96296"/>
                  <a:gd name="connsiteY3" fmla="*/ 21628 h 22776"/>
                  <a:gd name="connsiteX4" fmla="*/ 3956 w 96296"/>
                  <a:gd name="connsiteY4" fmla="*/ 21237 h 22776"/>
                  <a:gd name="connsiteX5" fmla="*/ 3564 w 96296"/>
                  <a:gd name="connsiteY5" fmla="*/ 20901 h 22776"/>
                  <a:gd name="connsiteX6" fmla="*/ 6694 w 96296"/>
                  <a:gd name="connsiteY6" fmla="*/ 56 h 22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6296" h="22776">
                    <a:moveTo>
                      <a:pt x="6694" y="56"/>
                    </a:moveTo>
                    <a:lnTo>
                      <a:pt x="74540" y="0"/>
                    </a:lnTo>
                    <a:cubicBezTo>
                      <a:pt x="83538" y="950"/>
                      <a:pt x="93598" y="3521"/>
                      <a:pt x="95274" y="11289"/>
                    </a:cubicBezTo>
                    <a:cubicBezTo>
                      <a:pt x="95274" y="11289"/>
                      <a:pt x="96448" y="16486"/>
                      <a:pt x="96280" y="21628"/>
                    </a:cubicBezTo>
                    <a:cubicBezTo>
                      <a:pt x="93877" y="24422"/>
                      <a:pt x="3956" y="21237"/>
                      <a:pt x="3956" y="21237"/>
                    </a:cubicBezTo>
                    <a:lnTo>
                      <a:pt x="3564" y="20901"/>
                    </a:lnTo>
                    <a:cubicBezTo>
                      <a:pt x="-5992" y="9445"/>
                      <a:pt x="6694" y="56"/>
                      <a:pt x="6694" y="56"/>
                    </a:cubicBezTo>
                    <a:close/>
                  </a:path>
                </a:pathLst>
              </a:custGeom>
              <a:solidFill>
                <a:srgbClr val="0070C0"/>
              </a:solidFill>
              <a:ln w="5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81" name="Forma Livre: Forma 580">
                <a:extLst>
                  <a:ext uri="{FF2B5EF4-FFF2-40B4-BE49-F238E27FC236}">
                    <a16:creationId xmlns:a16="http://schemas.microsoft.com/office/drawing/2014/main" id="{1A706640-D576-BD91-4CD7-2035938A689A}"/>
                  </a:ext>
                </a:extLst>
              </p:cNvPr>
              <p:cNvSpPr/>
              <p:nvPr/>
            </p:nvSpPr>
            <p:spPr>
              <a:xfrm>
                <a:off x="5319993" y="3037934"/>
                <a:ext cx="92436" cy="3576"/>
              </a:xfrm>
              <a:custGeom>
                <a:avLst/>
                <a:gdLst>
                  <a:gd name="connsiteX0" fmla="*/ 92324 w 92436"/>
                  <a:gd name="connsiteY0" fmla="*/ 391 h 3576"/>
                  <a:gd name="connsiteX1" fmla="*/ 0 w 92436"/>
                  <a:gd name="connsiteY1" fmla="*/ 0 h 3576"/>
                  <a:gd name="connsiteX2" fmla="*/ 782 w 92436"/>
                  <a:gd name="connsiteY2" fmla="*/ 3577 h 3576"/>
                  <a:gd name="connsiteX3" fmla="*/ 92436 w 92436"/>
                  <a:gd name="connsiteY3" fmla="*/ 3577 h 3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436" h="3576">
                    <a:moveTo>
                      <a:pt x="92324" y="391"/>
                    </a:moveTo>
                    <a:lnTo>
                      <a:pt x="0" y="0"/>
                    </a:lnTo>
                    <a:lnTo>
                      <a:pt x="782" y="3577"/>
                    </a:lnTo>
                    <a:lnTo>
                      <a:pt x="92436" y="3577"/>
                    </a:lnTo>
                    <a:close/>
                  </a:path>
                </a:pathLst>
              </a:custGeom>
              <a:solidFill>
                <a:srgbClr val="212B53"/>
              </a:solidFill>
              <a:ln w="5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82" name="Forma Livre: Forma 581">
                <a:extLst>
                  <a:ext uri="{FF2B5EF4-FFF2-40B4-BE49-F238E27FC236}">
                    <a16:creationId xmlns:a16="http://schemas.microsoft.com/office/drawing/2014/main" id="{3CB18C01-DD5D-AD00-6D2B-090903C88A7B}"/>
                  </a:ext>
                </a:extLst>
              </p:cNvPr>
              <p:cNvSpPr/>
              <p:nvPr/>
            </p:nvSpPr>
            <p:spPr>
              <a:xfrm>
                <a:off x="5347880" y="3016698"/>
                <a:ext cx="7824" cy="8327"/>
              </a:xfrm>
              <a:custGeom>
                <a:avLst/>
                <a:gdLst>
                  <a:gd name="connsiteX0" fmla="*/ 1732 w 7824"/>
                  <a:gd name="connsiteY0" fmla="*/ 0 h 8327"/>
                  <a:gd name="connsiteX1" fmla="*/ 7824 w 7824"/>
                  <a:gd name="connsiteY1" fmla="*/ 0 h 8327"/>
                  <a:gd name="connsiteX2" fmla="*/ 5924 w 7824"/>
                  <a:gd name="connsiteY2" fmla="*/ 8327 h 8327"/>
                  <a:gd name="connsiteX3" fmla="*/ 0 w 7824"/>
                  <a:gd name="connsiteY3" fmla="*/ 8327 h 8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24" h="8327">
                    <a:moveTo>
                      <a:pt x="1732" y="0"/>
                    </a:moveTo>
                    <a:lnTo>
                      <a:pt x="7824" y="0"/>
                    </a:lnTo>
                    <a:lnTo>
                      <a:pt x="5924" y="8327"/>
                    </a:lnTo>
                    <a:lnTo>
                      <a:pt x="0" y="8327"/>
                    </a:lnTo>
                    <a:close/>
                  </a:path>
                </a:pathLst>
              </a:custGeom>
              <a:solidFill>
                <a:srgbClr val="FFFFFF"/>
              </a:solidFill>
              <a:ln w="5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83" name="Forma Livre: Forma 582">
                <a:extLst>
                  <a:ext uri="{FF2B5EF4-FFF2-40B4-BE49-F238E27FC236}">
                    <a16:creationId xmlns:a16="http://schemas.microsoft.com/office/drawing/2014/main" id="{79BA2662-D026-6B20-A126-56C85C494F99}"/>
                  </a:ext>
                </a:extLst>
              </p:cNvPr>
              <p:cNvSpPr/>
              <p:nvPr/>
            </p:nvSpPr>
            <p:spPr>
              <a:xfrm>
                <a:off x="5360957" y="3016698"/>
                <a:ext cx="7824" cy="8327"/>
              </a:xfrm>
              <a:custGeom>
                <a:avLst/>
                <a:gdLst>
                  <a:gd name="connsiteX0" fmla="*/ 1732 w 7824"/>
                  <a:gd name="connsiteY0" fmla="*/ 0 h 8327"/>
                  <a:gd name="connsiteX1" fmla="*/ 7824 w 7824"/>
                  <a:gd name="connsiteY1" fmla="*/ 0 h 8327"/>
                  <a:gd name="connsiteX2" fmla="*/ 5924 w 7824"/>
                  <a:gd name="connsiteY2" fmla="*/ 8327 h 8327"/>
                  <a:gd name="connsiteX3" fmla="*/ 0 w 7824"/>
                  <a:gd name="connsiteY3" fmla="*/ 8327 h 8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24" h="8327">
                    <a:moveTo>
                      <a:pt x="1732" y="0"/>
                    </a:moveTo>
                    <a:lnTo>
                      <a:pt x="7824" y="0"/>
                    </a:lnTo>
                    <a:lnTo>
                      <a:pt x="5924" y="8327"/>
                    </a:lnTo>
                    <a:lnTo>
                      <a:pt x="0" y="8327"/>
                    </a:lnTo>
                    <a:close/>
                  </a:path>
                </a:pathLst>
              </a:custGeom>
              <a:solidFill>
                <a:srgbClr val="FFFFFF"/>
              </a:solidFill>
              <a:ln w="5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84" name="Forma Livre: Forma 583">
                <a:extLst>
                  <a:ext uri="{FF2B5EF4-FFF2-40B4-BE49-F238E27FC236}">
                    <a16:creationId xmlns:a16="http://schemas.microsoft.com/office/drawing/2014/main" id="{368C9572-844C-DED2-3CC6-1DE4A3D066EE}"/>
                  </a:ext>
                </a:extLst>
              </p:cNvPr>
              <p:cNvSpPr/>
              <p:nvPr/>
            </p:nvSpPr>
            <p:spPr>
              <a:xfrm>
                <a:off x="5322731" y="2994175"/>
                <a:ext cx="30011" cy="24757"/>
              </a:xfrm>
              <a:custGeom>
                <a:avLst/>
                <a:gdLst>
                  <a:gd name="connsiteX0" fmla="*/ 2962 w 30011"/>
                  <a:gd name="connsiteY0" fmla="*/ 0 h 24757"/>
                  <a:gd name="connsiteX1" fmla="*/ 0 w 30011"/>
                  <a:gd name="connsiteY1" fmla="*/ 22578 h 24757"/>
                  <a:gd name="connsiteX2" fmla="*/ 0 w 30011"/>
                  <a:gd name="connsiteY2" fmla="*/ 22578 h 24757"/>
                  <a:gd name="connsiteX3" fmla="*/ 18163 w 30011"/>
                  <a:gd name="connsiteY3" fmla="*/ 23025 h 24757"/>
                  <a:gd name="connsiteX4" fmla="*/ 19169 w 30011"/>
                  <a:gd name="connsiteY4" fmla="*/ 22578 h 24757"/>
                  <a:gd name="connsiteX5" fmla="*/ 30011 w 30011"/>
                  <a:gd name="connsiteY5" fmla="*/ 0 h 24757"/>
                  <a:gd name="connsiteX6" fmla="*/ 2962 w 30011"/>
                  <a:gd name="connsiteY6" fmla="*/ 0 h 247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011" h="24757">
                    <a:moveTo>
                      <a:pt x="2962" y="0"/>
                    </a:moveTo>
                    <a:lnTo>
                      <a:pt x="0" y="22578"/>
                    </a:lnTo>
                    <a:lnTo>
                      <a:pt x="0" y="22578"/>
                    </a:lnTo>
                    <a:cubicBezTo>
                      <a:pt x="5421" y="25317"/>
                      <a:pt x="12519" y="25484"/>
                      <a:pt x="18163" y="23025"/>
                    </a:cubicBezTo>
                    <a:lnTo>
                      <a:pt x="19169" y="22578"/>
                    </a:lnTo>
                    <a:lnTo>
                      <a:pt x="30011" y="0"/>
                    </a:lnTo>
                    <a:lnTo>
                      <a:pt x="2962" y="0"/>
                    </a:lnTo>
                    <a:close/>
                  </a:path>
                </a:pathLst>
              </a:custGeom>
              <a:solidFill>
                <a:srgbClr val="F8B68F"/>
              </a:solidFill>
              <a:ln w="5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564" name="Forma Livre: Forma 563">
              <a:extLst>
                <a:ext uri="{FF2B5EF4-FFF2-40B4-BE49-F238E27FC236}">
                  <a16:creationId xmlns:a16="http://schemas.microsoft.com/office/drawing/2014/main" id="{9C217ABB-41BE-0AC8-64D3-0F030C889C8B}"/>
                </a:ext>
              </a:extLst>
            </p:cNvPr>
            <p:cNvSpPr/>
            <p:nvPr/>
          </p:nvSpPr>
          <p:spPr>
            <a:xfrm>
              <a:off x="7267104" y="2182779"/>
              <a:ext cx="97884" cy="103781"/>
            </a:xfrm>
            <a:custGeom>
              <a:avLst/>
              <a:gdLst>
                <a:gd name="connsiteX0" fmla="*/ 55887 w 97884"/>
                <a:gd name="connsiteY0" fmla="*/ 0 h 103781"/>
                <a:gd name="connsiteX1" fmla="*/ 0 w 97884"/>
                <a:gd name="connsiteY1" fmla="*/ 36438 h 103781"/>
                <a:gd name="connsiteX2" fmla="*/ 17269 w 97884"/>
                <a:gd name="connsiteY2" fmla="*/ 80588 h 103781"/>
                <a:gd name="connsiteX3" fmla="*/ 18107 w 97884"/>
                <a:gd name="connsiteY3" fmla="*/ 82377 h 103781"/>
                <a:gd name="connsiteX4" fmla="*/ 21796 w 97884"/>
                <a:gd name="connsiteY4" fmla="*/ 82209 h 103781"/>
                <a:gd name="connsiteX5" fmla="*/ 22410 w 97884"/>
                <a:gd name="connsiteY5" fmla="*/ 82209 h 103781"/>
                <a:gd name="connsiteX6" fmla="*/ 22969 w 97884"/>
                <a:gd name="connsiteY6" fmla="*/ 82209 h 103781"/>
                <a:gd name="connsiteX7" fmla="*/ 58569 w 97884"/>
                <a:gd name="connsiteY7" fmla="*/ 103781 h 103781"/>
                <a:gd name="connsiteX8" fmla="*/ 84947 w 97884"/>
                <a:gd name="connsiteY8" fmla="*/ 96963 h 103781"/>
                <a:gd name="connsiteX9" fmla="*/ 97354 w 97884"/>
                <a:gd name="connsiteY9" fmla="*/ 87574 h 103781"/>
                <a:gd name="connsiteX10" fmla="*/ 55887 w 97884"/>
                <a:gd name="connsiteY10" fmla="*/ 0 h 10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7884" h="103781">
                  <a:moveTo>
                    <a:pt x="55887" y="0"/>
                  </a:moveTo>
                  <a:lnTo>
                    <a:pt x="0" y="36438"/>
                  </a:lnTo>
                  <a:lnTo>
                    <a:pt x="17269" y="80588"/>
                  </a:lnTo>
                  <a:cubicBezTo>
                    <a:pt x="17493" y="81203"/>
                    <a:pt x="17828" y="81818"/>
                    <a:pt x="18107" y="82377"/>
                  </a:cubicBezTo>
                  <a:cubicBezTo>
                    <a:pt x="19337" y="82321"/>
                    <a:pt x="20566" y="82209"/>
                    <a:pt x="21796" y="82209"/>
                  </a:cubicBezTo>
                  <a:cubicBezTo>
                    <a:pt x="22019" y="82209"/>
                    <a:pt x="22187" y="82209"/>
                    <a:pt x="22410" y="82209"/>
                  </a:cubicBezTo>
                  <a:cubicBezTo>
                    <a:pt x="22578" y="82209"/>
                    <a:pt x="22802" y="82209"/>
                    <a:pt x="22969" y="82209"/>
                  </a:cubicBezTo>
                  <a:cubicBezTo>
                    <a:pt x="37947" y="82209"/>
                    <a:pt x="50801" y="91430"/>
                    <a:pt x="58569" y="103781"/>
                  </a:cubicBezTo>
                  <a:cubicBezTo>
                    <a:pt x="67623" y="103111"/>
                    <a:pt x="76620" y="100931"/>
                    <a:pt x="84947" y="96963"/>
                  </a:cubicBezTo>
                  <a:cubicBezTo>
                    <a:pt x="90648" y="94280"/>
                    <a:pt x="95566" y="91039"/>
                    <a:pt x="97354" y="87574"/>
                  </a:cubicBezTo>
                  <a:cubicBezTo>
                    <a:pt x="103390" y="56222"/>
                    <a:pt x="55887" y="0"/>
                    <a:pt x="55887" y="0"/>
                  </a:cubicBezTo>
                  <a:close/>
                </a:path>
              </a:pathLst>
            </a:custGeom>
            <a:solidFill>
              <a:srgbClr val="F8B68F"/>
            </a:solidFill>
            <a:ln w="558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5" name="Forma Livre: Forma 564">
              <a:extLst>
                <a:ext uri="{FF2B5EF4-FFF2-40B4-BE49-F238E27FC236}">
                  <a16:creationId xmlns:a16="http://schemas.microsoft.com/office/drawing/2014/main" id="{FBDC99F5-218F-9046-292F-F3AB3CB9ED98}"/>
                </a:ext>
              </a:extLst>
            </p:cNvPr>
            <p:cNvSpPr/>
            <p:nvPr/>
          </p:nvSpPr>
          <p:spPr>
            <a:xfrm>
              <a:off x="7387148" y="2182779"/>
              <a:ext cx="39252" cy="132032"/>
            </a:xfrm>
            <a:custGeom>
              <a:avLst/>
              <a:gdLst>
                <a:gd name="connsiteX0" fmla="*/ 6930 w 39252"/>
                <a:gd name="connsiteY0" fmla="*/ 11401 h 132032"/>
                <a:gd name="connsiteX1" fmla="*/ 0 w 39252"/>
                <a:gd name="connsiteY1" fmla="*/ 117529 h 132032"/>
                <a:gd name="connsiteX2" fmla="*/ 37276 w 39252"/>
                <a:gd name="connsiteY2" fmla="*/ 115629 h 132032"/>
                <a:gd name="connsiteX3" fmla="*/ 29005 w 39252"/>
                <a:gd name="connsiteY3" fmla="*/ 0 h 132032"/>
                <a:gd name="connsiteX4" fmla="*/ 6930 w 39252"/>
                <a:gd name="connsiteY4" fmla="*/ 11401 h 132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252" h="132032">
                  <a:moveTo>
                    <a:pt x="6930" y="11401"/>
                  </a:moveTo>
                  <a:cubicBezTo>
                    <a:pt x="6930" y="11401"/>
                    <a:pt x="13748" y="76229"/>
                    <a:pt x="0" y="117529"/>
                  </a:cubicBezTo>
                  <a:cubicBezTo>
                    <a:pt x="6371" y="123062"/>
                    <a:pt x="29844" y="148267"/>
                    <a:pt x="37276" y="115629"/>
                  </a:cubicBezTo>
                  <a:cubicBezTo>
                    <a:pt x="44653" y="82991"/>
                    <a:pt x="29005" y="0"/>
                    <a:pt x="29005" y="0"/>
                  </a:cubicBezTo>
                  <a:lnTo>
                    <a:pt x="6930" y="11401"/>
                  </a:lnTo>
                  <a:close/>
                </a:path>
              </a:pathLst>
            </a:custGeom>
            <a:solidFill>
              <a:srgbClr val="F8B68F"/>
            </a:solidFill>
            <a:ln w="558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66" name="Gráfico 7">
              <a:extLst>
                <a:ext uri="{FF2B5EF4-FFF2-40B4-BE49-F238E27FC236}">
                  <a16:creationId xmlns:a16="http://schemas.microsoft.com/office/drawing/2014/main" id="{181D1437-A871-FF75-9FD2-5DFC1EDEB067}"/>
                </a:ext>
              </a:extLst>
            </p:cNvPr>
            <p:cNvGrpSpPr/>
            <p:nvPr/>
          </p:nvGrpSpPr>
          <p:grpSpPr>
            <a:xfrm>
              <a:off x="7347361" y="2098614"/>
              <a:ext cx="171846" cy="109257"/>
              <a:chOff x="5451274" y="2150178"/>
              <a:chExt cx="171846" cy="109257"/>
            </a:xfrm>
          </p:grpSpPr>
          <p:grpSp>
            <p:nvGrpSpPr>
              <p:cNvPr id="576" name="Gráfico 7">
                <a:extLst>
                  <a:ext uri="{FF2B5EF4-FFF2-40B4-BE49-F238E27FC236}">
                    <a16:creationId xmlns:a16="http://schemas.microsoft.com/office/drawing/2014/main" id="{79E6D71E-4450-DB87-379C-4226B029F4C7}"/>
                  </a:ext>
                </a:extLst>
              </p:cNvPr>
              <p:cNvGrpSpPr/>
              <p:nvPr/>
            </p:nvGrpSpPr>
            <p:grpSpPr>
              <a:xfrm>
                <a:off x="5451274" y="2241161"/>
                <a:ext cx="18829" cy="18274"/>
                <a:chOff x="5451274" y="2241161"/>
                <a:chExt cx="18829" cy="18274"/>
              </a:xfrm>
              <a:solidFill>
                <a:srgbClr val="212B53"/>
              </a:solidFill>
            </p:grpSpPr>
            <p:sp>
              <p:nvSpPr>
                <p:cNvPr id="578" name="Forma Livre: Forma 577">
                  <a:extLst>
                    <a:ext uri="{FF2B5EF4-FFF2-40B4-BE49-F238E27FC236}">
                      <a16:creationId xmlns:a16="http://schemas.microsoft.com/office/drawing/2014/main" id="{C1A04710-E11B-644D-5DC9-8C26A26BC14F}"/>
                    </a:ext>
                  </a:extLst>
                </p:cNvPr>
                <p:cNvSpPr/>
                <p:nvPr/>
              </p:nvSpPr>
              <p:spPr>
                <a:xfrm>
                  <a:off x="5451326" y="2241161"/>
                  <a:ext cx="18777" cy="18274"/>
                </a:xfrm>
                <a:custGeom>
                  <a:avLst/>
                  <a:gdLst>
                    <a:gd name="connsiteX0" fmla="*/ 13133 w 18777"/>
                    <a:gd name="connsiteY0" fmla="*/ 0 h 18274"/>
                    <a:gd name="connsiteX1" fmla="*/ 0 w 18777"/>
                    <a:gd name="connsiteY1" fmla="*/ 8439 h 18274"/>
                    <a:gd name="connsiteX2" fmla="*/ 4694 w 18777"/>
                    <a:gd name="connsiteY2" fmla="*/ 18275 h 18274"/>
                    <a:gd name="connsiteX3" fmla="*/ 18778 w 18777"/>
                    <a:gd name="connsiteY3" fmla="*/ 12016 h 182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8777" h="18274">
                      <a:moveTo>
                        <a:pt x="13133" y="0"/>
                      </a:moveTo>
                      <a:lnTo>
                        <a:pt x="0" y="8439"/>
                      </a:lnTo>
                      <a:lnTo>
                        <a:pt x="4694" y="18275"/>
                      </a:lnTo>
                      <a:lnTo>
                        <a:pt x="18778" y="12016"/>
                      </a:lnTo>
                      <a:close/>
                    </a:path>
                  </a:pathLst>
                </a:custGeom>
                <a:solidFill>
                  <a:srgbClr val="212B53"/>
                </a:solidFill>
                <a:ln w="55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79" name="Forma Livre: Forma 578">
                  <a:extLst>
                    <a:ext uri="{FF2B5EF4-FFF2-40B4-BE49-F238E27FC236}">
                      <a16:creationId xmlns:a16="http://schemas.microsoft.com/office/drawing/2014/main" id="{6F3B3983-B211-2D8E-A883-E572C4DA1847}"/>
                    </a:ext>
                  </a:extLst>
                </p:cNvPr>
                <p:cNvSpPr/>
                <p:nvPr/>
              </p:nvSpPr>
              <p:spPr>
                <a:xfrm>
                  <a:off x="5451274" y="2248389"/>
                  <a:ext cx="6474" cy="11013"/>
                </a:xfrm>
                <a:custGeom>
                  <a:avLst/>
                  <a:gdLst>
                    <a:gd name="connsiteX0" fmla="*/ 5417 w 6474"/>
                    <a:gd name="connsiteY0" fmla="*/ 4564 h 11013"/>
                    <a:gd name="connsiteX1" fmla="*/ 5640 w 6474"/>
                    <a:gd name="connsiteY1" fmla="*/ 10935 h 11013"/>
                    <a:gd name="connsiteX2" fmla="*/ 1058 w 6474"/>
                    <a:gd name="connsiteY2" fmla="*/ 6464 h 11013"/>
                    <a:gd name="connsiteX3" fmla="*/ 834 w 6474"/>
                    <a:gd name="connsiteY3" fmla="*/ 93 h 11013"/>
                    <a:gd name="connsiteX4" fmla="*/ 5417 w 6474"/>
                    <a:gd name="connsiteY4" fmla="*/ 4564 h 110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474" h="11013">
                      <a:moveTo>
                        <a:pt x="5417" y="4564"/>
                      </a:moveTo>
                      <a:cubicBezTo>
                        <a:pt x="6758" y="7582"/>
                        <a:pt x="6814" y="10432"/>
                        <a:pt x="5640" y="10935"/>
                      </a:cubicBezTo>
                      <a:cubicBezTo>
                        <a:pt x="4467" y="11438"/>
                        <a:pt x="2399" y="9482"/>
                        <a:pt x="1058" y="6464"/>
                      </a:cubicBezTo>
                      <a:cubicBezTo>
                        <a:pt x="-283" y="3446"/>
                        <a:pt x="-339" y="596"/>
                        <a:pt x="834" y="93"/>
                      </a:cubicBezTo>
                      <a:cubicBezTo>
                        <a:pt x="2064" y="-466"/>
                        <a:pt x="4132" y="1546"/>
                        <a:pt x="5417" y="4564"/>
                      </a:cubicBezTo>
                      <a:close/>
                    </a:path>
                  </a:pathLst>
                </a:custGeom>
                <a:solidFill>
                  <a:srgbClr val="212B53"/>
                </a:solidFill>
                <a:ln w="55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577" name="Forma Livre: Forma 576">
                <a:extLst>
                  <a:ext uri="{FF2B5EF4-FFF2-40B4-BE49-F238E27FC236}">
                    <a16:creationId xmlns:a16="http://schemas.microsoft.com/office/drawing/2014/main" id="{207D6B39-C829-255A-78D8-B2E6079BC907}"/>
                  </a:ext>
                </a:extLst>
              </p:cNvPr>
              <p:cNvSpPr/>
              <p:nvPr/>
            </p:nvSpPr>
            <p:spPr>
              <a:xfrm>
                <a:off x="5462503" y="2150178"/>
                <a:ext cx="160617" cy="105401"/>
              </a:xfrm>
              <a:custGeom>
                <a:avLst/>
                <a:gdLst>
                  <a:gd name="connsiteX0" fmla="*/ 160562 w 160617"/>
                  <a:gd name="connsiteY0" fmla="*/ 43144 h 105401"/>
                  <a:gd name="connsiteX1" fmla="*/ 160618 w 160617"/>
                  <a:gd name="connsiteY1" fmla="*/ 42753 h 105401"/>
                  <a:gd name="connsiteX2" fmla="*/ 147932 w 160617"/>
                  <a:gd name="connsiteY2" fmla="*/ 19951 h 105401"/>
                  <a:gd name="connsiteX3" fmla="*/ 135748 w 160617"/>
                  <a:gd name="connsiteY3" fmla="*/ 0 h 105401"/>
                  <a:gd name="connsiteX4" fmla="*/ 0 w 160617"/>
                  <a:gd name="connsiteY4" fmla="*/ 88804 h 105401"/>
                  <a:gd name="connsiteX5" fmla="*/ 8774 w 160617"/>
                  <a:gd name="connsiteY5" fmla="*/ 105402 h 105401"/>
                  <a:gd name="connsiteX6" fmla="*/ 160618 w 160617"/>
                  <a:gd name="connsiteY6" fmla="*/ 49292 h 105401"/>
                  <a:gd name="connsiteX7" fmla="*/ 160562 w 160617"/>
                  <a:gd name="connsiteY7" fmla="*/ 43144 h 105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0617" h="105401">
                    <a:moveTo>
                      <a:pt x="160562" y="43144"/>
                    </a:moveTo>
                    <a:cubicBezTo>
                      <a:pt x="160562" y="43033"/>
                      <a:pt x="160618" y="42921"/>
                      <a:pt x="160618" y="42753"/>
                    </a:cubicBezTo>
                    <a:cubicBezTo>
                      <a:pt x="158159" y="37109"/>
                      <a:pt x="153800" y="28167"/>
                      <a:pt x="147932" y="19951"/>
                    </a:cubicBezTo>
                    <a:cubicBezTo>
                      <a:pt x="138431" y="6651"/>
                      <a:pt x="135748" y="0"/>
                      <a:pt x="135748" y="0"/>
                    </a:cubicBezTo>
                    <a:lnTo>
                      <a:pt x="0" y="88804"/>
                    </a:lnTo>
                    <a:lnTo>
                      <a:pt x="8774" y="105402"/>
                    </a:lnTo>
                    <a:lnTo>
                      <a:pt x="160618" y="49292"/>
                    </a:lnTo>
                    <a:cubicBezTo>
                      <a:pt x="160394" y="47280"/>
                      <a:pt x="160394" y="45212"/>
                      <a:pt x="160562" y="43144"/>
                    </a:cubicBezTo>
                    <a:close/>
                  </a:path>
                </a:pathLst>
              </a:custGeom>
              <a:solidFill>
                <a:srgbClr val="EEA004"/>
              </a:solidFill>
              <a:ln w="55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567" name="Forma Livre: Forma 566">
              <a:extLst>
                <a:ext uri="{FF2B5EF4-FFF2-40B4-BE49-F238E27FC236}">
                  <a16:creationId xmlns:a16="http://schemas.microsoft.com/office/drawing/2014/main" id="{1774FD9C-E1FB-60DA-90A4-834803760917}"/>
                </a:ext>
              </a:extLst>
            </p:cNvPr>
            <p:cNvSpPr/>
            <p:nvPr/>
          </p:nvSpPr>
          <p:spPr>
            <a:xfrm>
              <a:off x="7305778" y="2279742"/>
              <a:ext cx="46329" cy="37332"/>
            </a:xfrm>
            <a:custGeom>
              <a:avLst/>
              <a:gdLst>
                <a:gd name="connsiteX0" fmla="*/ 4918 w 46329"/>
                <a:gd name="connsiteY0" fmla="*/ 6874 h 37332"/>
                <a:gd name="connsiteX1" fmla="*/ 0 w 46329"/>
                <a:gd name="connsiteY1" fmla="*/ 37332 h 37332"/>
                <a:gd name="connsiteX2" fmla="*/ 43200 w 46329"/>
                <a:gd name="connsiteY2" fmla="*/ 37332 h 37332"/>
                <a:gd name="connsiteX3" fmla="*/ 46330 w 46329"/>
                <a:gd name="connsiteY3" fmla="*/ 0 h 37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329" h="37332">
                  <a:moveTo>
                    <a:pt x="4918" y="6874"/>
                  </a:moveTo>
                  <a:lnTo>
                    <a:pt x="0" y="37332"/>
                  </a:lnTo>
                  <a:lnTo>
                    <a:pt x="43200" y="37332"/>
                  </a:lnTo>
                  <a:lnTo>
                    <a:pt x="46330" y="0"/>
                  </a:lnTo>
                  <a:close/>
                </a:path>
              </a:pathLst>
            </a:custGeom>
            <a:solidFill>
              <a:srgbClr val="F4A086"/>
            </a:solidFill>
            <a:ln w="558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8" name="Forma Livre: Forma 567">
              <a:extLst>
                <a:ext uri="{FF2B5EF4-FFF2-40B4-BE49-F238E27FC236}">
                  <a16:creationId xmlns:a16="http://schemas.microsoft.com/office/drawing/2014/main" id="{D4A060C0-7692-D10E-AAFD-CA49123BC9AD}"/>
                </a:ext>
              </a:extLst>
            </p:cNvPr>
            <p:cNvSpPr/>
            <p:nvPr/>
          </p:nvSpPr>
          <p:spPr>
            <a:xfrm>
              <a:off x="7405870" y="2137845"/>
              <a:ext cx="88379" cy="224384"/>
            </a:xfrm>
            <a:custGeom>
              <a:avLst/>
              <a:gdLst>
                <a:gd name="connsiteX0" fmla="*/ 16319 w 88379"/>
                <a:gd name="connsiteY0" fmla="*/ 224385 h 224384"/>
                <a:gd name="connsiteX1" fmla="*/ 83327 w 88379"/>
                <a:gd name="connsiteY1" fmla="*/ 186270 h 224384"/>
                <a:gd name="connsiteX2" fmla="*/ 72261 w 88379"/>
                <a:gd name="connsiteY2" fmla="*/ 44877 h 224384"/>
                <a:gd name="connsiteX3" fmla="*/ 75782 w 88379"/>
                <a:gd name="connsiteY3" fmla="*/ 23361 h 224384"/>
                <a:gd name="connsiteX4" fmla="*/ 56166 w 88379"/>
                <a:gd name="connsiteY4" fmla="*/ 112 h 224384"/>
                <a:gd name="connsiteX5" fmla="*/ 42530 w 88379"/>
                <a:gd name="connsiteY5" fmla="*/ 0 h 224384"/>
                <a:gd name="connsiteX6" fmla="*/ 35320 w 88379"/>
                <a:gd name="connsiteY6" fmla="*/ 10954 h 224384"/>
                <a:gd name="connsiteX7" fmla="*/ 53260 w 88379"/>
                <a:gd name="connsiteY7" fmla="*/ 51304 h 224384"/>
                <a:gd name="connsiteX8" fmla="*/ 47895 w 88379"/>
                <a:gd name="connsiteY8" fmla="*/ 148714 h 224384"/>
                <a:gd name="connsiteX9" fmla="*/ 0 w 88379"/>
                <a:gd name="connsiteY9" fmla="*/ 158662 h 224384"/>
                <a:gd name="connsiteX10" fmla="*/ 16319 w 88379"/>
                <a:gd name="connsiteY10" fmla="*/ 224385 h 224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8379" h="224384">
                  <a:moveTo>
                    <a:pt x="16319" y="224385"/>
                  </a:moveTo>
                  <a:cubicBezTo>
                    <a:pt x="16319" y="224385"/>
                    <a:pt x="67343" y="208122"/>
                    <a:pt x="83327" y="186270"/>
                  </a:cubicBezTo>
                  <a:cubicBezTo>
                    <a:pt x="99310" y="164419"/>
                    <a:pt x="72261" y="44877"/>
                    <a:pt x="72261" y="44877"/>
                  </a:cubicBezTo>
                  <a:lnTo>
                    <a:pt x="75782" y="23361"/>
                  </a:lnTo>
                  <a:cubicBezTo>
                    <a:pt x="77738" y="11234"/>
                    <a:pt x="68461" y="224"/>
                    <a:pt x="56166" y="112"/>
                  </a:cubicBezTo>
                  <a:lnTo>
                    <a:pt x="42530" y="0"/>
                  </a:lnTo>
                  <a:cubicBezTo>
                    <a:pt x="36885" y="-55"/>
                    <a:pt x="33029" y="5757"/>
                    <a:pt x="35320" y="10954"/>
                  </a:cubicBezTo>
                  <a:lnTo>
                    <a:pt x="53260" y="51304"/>
                  </a:lnTo>
                  <a:cubicBezTo>
                    <a:pt x="53260" y="51304"/>
                    <a:pt x="66728" y="141840"/>
                    <a:pt x="47895" y="148714"/>
                  </a:cubicBezTo>
                  <a:cubicBezTo>
                    <a:pt x="25428" y="156706"/>
                    <a:pt x="0" y="158662"/>
                    <a:pt x="0" y="158662"/>
                  </a:cubicBezTo>
                  <a:lnTo>
                    <a:pt x="16319" y="224385"/>
                  </a:lnTo>
                  <a:close/>
                </a:path>
              </a:pathLst>
            </a:custGeom>
            <a:solidFill>
              <a:srgbClr val="F8B68F"/>
            </a:solidFill>
            <a:ln w="558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9" name="Forma Livre: Forma 568">
              <a:extLst>
                <a:ext uri="{FF2B5EF4-FFF2-40B4-BE49-F238E27FC236}">
                  <a16:creationId xmlns:a16="http://schemas.microsoft.com/office/drawing/2014/main" id="{820C289E-F3CE-35AB-47AF-CA25E18F62C8}"/>
                </a:ext>
              </a:extLst>
            </p:cNvPr>
            <p:cNvSpPr/>
            <p:nvPr/>
          </p:nvSpPr>
          <p:spPr>
            <a:xfrm>
              <a:off x="7261701" y="2165118"/>
              <a:ext cx="83216" cy="121497"/>
            </a:xfrm>
            <a:custGeom>
              <a:avLst/>
              <a:gdLst>
                <a:gd name="connsiteX0" fmla="*/ 64699 w 83216"/>
                <a:gd name="connsiteY0" fmla="*/ 121497 h 121497"/>
                <a:gd name="connsiteX1" fmla="*/ 51565 w 83216"/>
                <a:gd name="connsiteY1" fmla="*/ 92380 h 121497"/>
                <a:gd name="connsiteX2" fmla="*/ 60116 w 83216"/>
                <a:gd name="connsiteY2" fmla="*/ 87015 h 121497"/>
                <a:gd name="connsiteX3" fmla="*/ 66766 w 83216"/>
                <a:gd name="connsiteY3" fmla="*/ 68237 h 121497"/>
                <a:gd name="connsiteX4" fmla="*/ 57433 w 83216"/>
                <a:gd name="connsiteY4" fmla="*/ 40797 h 121497"/>
                <a:gd name="connsiteX5" fmla="*/ 83197 w 83216"/>
                <a:gd name="connsiteY5" fmla="*/ 12798 h 121497"/>
                <a:gd name="connsiteX6" fmla="*/ 65649 w 83216"/>
                <a:gd name="connsiteY6" fmla="*/ 0 h 121497"/>
                <a:gd name="connsiteX7" fmla="*/ 44132 w 83216"/>
                <a:gd name="connsiteY7" fmla="*/ 12742 h 121497"/>
                <a:gd name="connsiteX8" fmla="*/ 5012 w 83216"/>
                <a:gd name="connsiteY8" fmla="*/ 37053 h 121497"/>
                <a:gd name="connsiteX9" fmla="*/ 7694 w 83216"/>
                <a:gd name="connsiteY9" fmla="*/ 93889 h 121497"/>
                <a:gd name="connsiteX10" fmla="*/ 48994 w 83216"/>
                <a:gd name="connsiteY10" fmla="*/ 121441 h 121497"/>
                <a:gd name="connsiteX11" fmla="*/ 64699 w 83216"/>
                <a:gd name="connsiteY11" fmla="*/ 121441 h 121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3216" h="121497">
                  <a:moveTo>
                    <a:pt x="64699" y="121497"/>
                  </a:moveTo>
                  <a:lnTo>
                    <a:pt x="51565" y="92380"/>
                  </a:lnTo>
                  <a:lnTo>
                    <a:pt x="60116" y="87015"/>
                  </a:lnTo>
                  <a:cubicBezTo>
                    <a:pt x="66431" y="83047"/>
                    <a:pt x="69170" y="75279"/>
                    <a:pt x="66766" y="68237"/>
                  </a:cubicBezTo>
                  <a:lnTo>
                    <a:pt x="57433" y="40797"/>
                  </a:lnTo>
                  <a:cubicBezTo>
                    <a:pt x="57433" y="40797"/>
                    <a:pt x="84035" y="37556"/>
                    <a:pt x="83197" y="12798"/>
                  </a:cubicBezTo>
                  <a:cubicBezTo>
                    <a:pt x="83197" y="56"/>
                    <a:pt x="65649" y="0"/>
                    <a:pt x="65649" y="0"/>
                  </a:cubicBezTo>
                  <a:cubicBezTo>
                    <a:pt x="65649" y="0"/>
                    <a:pt x="60395" y="11401"/>
                    <a:pt x="44132" y="12742"/>
                  </a:cubicBezTo>
                  <a:cubicBezTo>
                    <a:pt x="37147" y="11848"/>
                    <a:pt x="17978" y="14419"/>
                    <a:pt x="5012" y="37053"/>
                  </a:cubicBezTo>
                  <a:cubicBezTo>
                    <a:pt x="-3706" y="52254"/>
                    <a:pt x="94" y="76062"/>
                    <a:pt x="7694" y="93889"/>
                  </a:cubicBezTo>
                  <a:cubicBezTo>
                    <a:pt x="14457" y="109873"/>
                    <a:pt x="31837" y="118815"/>
                    <a:pt x="48994" y="121441"/>
                  </a:cubicBezTo>
                  <a:lnTo>
                    <a:pt x="64699" y="121441"/>
                  </a:lnTo>
                  <a:close/>
                </a:path>
              </a:pathLst>
            </a:custGeom>
            <a:solidFill>
              <a:srgbClr val="132237"/>
            </a:solidFill>
            <a:ln w="558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0" name="Forma Livre: Forma 569">
              <a:extLst>
                <a:ext uri="{FF2B5EF4-FFF2-40B4-BE49-F238E27FC236}">
                  <a16:creationId xmlns:a16="http://schemas.microsoft.com/office/drawing/2014/main" id="{5D34242B-F0ED-6499-13BB-7DF1C81D9D52}"/>
                </a:ext>
              </a:extLst>
            </p:cNvPr>
            <p:cNvSpPr/>
            <p:nvPr/>
          </p:nvSpPr>
          <p:spPr>
            <a:xfrm>
              <a:off x="7213509" y="2531063"/>
              <a:ext cx="172242" cy="415348"/>
            </a:xfrm>
            <a:custGeom>
              <a:avLst/>
              <a:gdLst>
                <a:gd name="connsiteX0" fmla="*/ 60972 w 172242"/>
                <a:gd name="connsiteY0" fmla="*/ 0 h 415348"/>
                <a:gd name="connsiteX1" fmla="*/ 77123 w 172242"/>
                <a:gd name="connsiteY1" fmla="*/ 129321 h 415348"/>
                <a:gd name="connsiteX2" fmla="*/ 73155 w 172242"/>
                <a:gd name="connsiteY2" fmla="*/ 188785 h 415348"/>
                <a:gd name="connsiteX3" fmla="*/ 0 w 172242"/>
                <a:gd name="connsiteY3" fmla="*/ 415348 h 415348"/>
                <a:gd name="connsiteX4" fmla="*/ 38003 w 172242"/>
                <a:gd name="connsiteY4" fmla="*/ 415348 h 415348"/>
                <a:gd name="connsiteX5" fmla="*/ 146255 w 172242"/>
                <a:gd name="connsiteY5" fmla="*/ 174757 h 415348"/>
                <a:gd name="connsiteX6" fmla="*/ 172242 w 172242"/>
                <a:gd name="connsiteY6" fmla="*/ 69635 h 415348"/>
                <a:gd name="connsiteX7" fmla="*/ 145864 w 172242"/>
                <a:gd name="connsiteY7" fmla="*/ 0 h 415348"/>
                <a:gd name="connsiteX8" fmla="*/ 60972 w 172242"/>
                <a:gd name="connsiteY8" fmla="*/ 0 h 415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2242" h="415348">
                  <a:moveTo>
                    <a:pt x="60972" y="0"/>
                  </a:moveTo>
                  <a:cubicBezTo>
                    <a:pt x="60972" y="0"/>
                    <a:pt x="63711" y="62034"/>
                    <a:pt x="77123" y="129321"/>
                  </a:cubicBezTo>
                  <a:cubicBezTo>
                    <a:pt x="81091" y="149161"/>
                    <a:pt x="79582" y="169615"/>
                    <a:pt x="73155" y="188785"/>
                  </a:cubicBezTo>
                  <a:cubicBezTo>
                    <a:pt x="42697" y="279265"/>
                    <a:pt x="0" y="415348"/>
                    <a:pt x="0" y="415348"/>
                  </a:cubicBezTo>
                  <a:lnTo>
                    <a:pt x="38003" y="415348"/>
                  </a:lnTo>
                  <a:cubicBezTo>
                    <a:pt x="38003" y="415348"/>
                    <a:pt x="124068" y="254507"/>
                    <a:pt x="146255" y="174757"/>
                  </a:cubicBezTo>
                  <a:cubicBezTo>
                    <a:pt x="168442" y="95007"/>
                    <a:pt x="172242" y="69635"/>
                    <a:pt x="172242" y="69635"/>
                  </a:cubicBezTo>
                  <a:lnTo>
                    <a:pt x="145864" y="0"/>
                  </a:lnTo>
                  <a:lnTo>
                    <a:pt x="60972" y="0"/>
                  </a:lnTo>
                  <a:close/>
                </a:path>
              </a:pathLst>
            </a:custGeom>
            <a:solidFill>
              <a:srgbClr val="114585"/>
            </a:solidFill>
            <a:ln w="558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1" name="Forma Livre: Forma 570">
              <a:extLst>
                <a:ext uri="{FF2B5EF4-FFF2-40B4-BE49-F238E27FC236}">
                  <a16:creationId xmlns:a16="http://schemas.microsoft.com/office/drawing/2014/main" id="{4D20376E-E7B5-E6AB-21CB-5B95AFE98DC8}"/>
                </a:ext>
              </a:extLst>
            </p:cNvPr>
            <p:cNvSpPr/>
            <p:nvPr/>
          </p:nvSpPr>
          <p:spPr>
            <a:xfrm>
              <a:off x="7305770" y="2239351"/>
              <a:ext cx="20581" cy="19665"/>
            </a:xfrm>
            <a:custGeom>
              <a:avLst/>
              <a:gdLst>
                <a:gd name="connsiteX0" fmla="*/ 399 w 20581"/>
                <a:gd name="connsiteY0" fmla="*/ 4567 h 19665"/>
                <a:gd name="connsiteX1" fmla="*/ 7440 w 20581"/>
                <a:gd name="connsiteY1" fmla="*/ 18147 h 19665"/>
                <a:gd name="connsiteX2" fmla="*/ 20183 w 20581"/>
                <a:gd name="connsiteY2" fmla="*/ 15074 h 19665"/>
                <a:gd name="connsiteX3" fmla="*/ 13141 w 20581"/>
                <a:gd name="connsiteY3" fmla="*/ 1493 h 19665"/>
                <a:gd name="connsiteX4" fmla="*/ 399 w 20581"/>
                <a:gd name="connsiteY4" fmla="*/ 4567 h 19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581" h="19665">
                  <a:moveTo>
                    <a:pt x="399" y="4567"/>
                  </a:moveTo>
                  <a:cubicBezTo>
                    <a:pt x="-1166" y="9150"/>
                    <a:pt x="2019" y="15241"/>
                    <a:pt x="7440" y="18147"/>
                  </a:cubicBezTo>
                  <a:cubicBezTo>
                    <a:pt x="12917" y="21054"/>
                    <a:pt x="18618" y="19656"/>
                    <a:pt x="20183" y="15074"/>
                  </a:cubicBezTo>
                  <a:cubicBezTo>
                    <a:pt x="21747" y="10491"/>
                    <a:pt x="18562" y="4399"/>
                    <a:pt x="13141" y="1493"/>
                  </a:cubicBezTo>
                  <a:cubicBezTo>
                    <a:pt x="7664" y="-1357"/>
                    <a:pt x="1963" y="-16"/>
                    <a:pt x="399" y="4567"/>
                  </a:cubicBezTo>
                  <a:close/>
                </a:path>
              </a:pathLst>
            </a:custGeom>
            <a:solidFill>
              <a:srgbClr val="F8B68F"/>
            </a:solidFill>
            <a:ln w="558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2" name="Forma Livre: Forma 571">
              <a:extLst>
                <a:ext uri="{FF2B5EF4-FFF2-40B4-BE49-F238E27FC236}">
                  <a16:creationId xmlns:a16="http://schemas.microsoft.com/office/drawing/2014/main" id="{EC9D7107-1E4A-E9AE-BEF0-83BAD99CC9EB}"/>
                </a:ext>
              </a:extLst>
            </p:cNvPr>
            <p:cNvSpPr/>
            <p:nvPr/>
          </p:nvSpPr>
          <p:spPr>
            <a:xfrm>
              <a:off x="7274537" y="2294607"/>
              <a:ext cx="185599" cy="236455"/>
            </a:xfrm>
            <a:custGeom>
              <a:avLst/>
              <a:gdLst>
                <a:gd name="connsiteX0" fmla="*/ 123845 w 185599"/>
                <a:gd name="connsiteY0" fmla="*/ 236456 h 236455"/>
                <a:gd name="connsiteX1" fmla="*/ 0 w 185599"/>
                <a:gd name="connsiteY1" fmla="*/ 236456 h 236455"/>
                <a:gd name="connsiteX2" fmla="*/ 0 w 185599"/>
                <a:gd name="connsiteY2" fmla="*/ 77570 h 236455"/>
                <a:gd name="connsiteX3" fmla="*/ 61140 w 185599"/>
                <a:gd name="connsiteY3" fmla="*/ 10451 h 236455"/>
                <a:gd name="connsiteX4" fmla="*/ 147261 w 185599"/>
                <a:gd name="connsiteY4" fmla="*/ 0 h 236455"/>
                <a:gd name="connsiteX5" fmla="*/ 185599 w 185599"/>
                <a:gd name="connsiteY5" fmla="*/ 51527 h 236455"/>
                <a:gd name="connsiteX6" fmla="*/ 112444 w 185599"/>
                <a:gd name="connsiteY6" fmla="*/ 82153 h 236455"/>
                <a:gd name="connsiteX7" fmla="*/ 123845 w 185599"/>
                <a:gd name="connsiteY7" fmla="*/ 236456 h 236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5599" h="236455">
                  <a:moveTo>
                    <a:pt x="123845" y="236456"/>
                  </a:moveTo>
                  <a:lnTo>
                    <a:pt x="0" y="236456"/>
                  </a:lnTo>
                  <a:lnTo>
                    <a:pt x="0" y="77570"/>
                  </a:lnTo>
                  <a:cubicBezTo>
                    <a:pt x="0" y="42753"/>
                    <a:pt x="26490" y="13692"/>
                    <a:pt x="61140" y="10451"/>
                  </a:cubicBezTo>
                  <a:lnTo>
                    <a:pt x="147261" y="0"/>
                  </a:lnTo>
                  <a:cubicBezTo>
                    <a:pt x="147261" y="0"/>
                    <a:pt x="157376" y="15481"/>
                    <a:pt x="185599" y="51527"/>
                  </a:cubicBezTo>
                  <a:cubicBezTo>
                    <a:pt x="151676" y="72485"/>
                    <a:pt x="112444" y="82153"/>
                    <a:pt x="112444" y="82153"/>
                  </a:cubicBezTo>
                  <a:lnTo>
                    <a:pt x="123845" y="236456"/>
                  </a:lnTo>
                  <a:close/>
                </a:path>
              </a:pathLst>
            </a:custGeom>
            <a:solidFill>
              <a:srgbClr val="FFC000"/>
            </a:solidFill>
            <a:ln w="558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3" name="Forma Livre: Forma 572">
              <a:extLst>
                <a:ext uri="{FF2B5EF4-FFF2-40B4-BE49-F238E27FC236}">
                  <a16:creationId xmlns:a16="http://schemas.microsoft.com/office/drawing/2014/main" id="{AA79837B-C91F-1E06-6488-EF1352AC092C}"/>
                </a:ext>
              </a:extLst>
            </p:cNvPr>
            <p:cNvSpPr/>
            <p:nvPr/>
          </p:nvSpPr>
          <p:spPr>
            <a:xfrm>
              <a:off x="7274481" y="2531063"/>
              <a:ext cx="169590" cy="415348"/>
            </a:xfrm>
            <a:custGeom>
              <a:avLst/>
              <a:gdLst>
                <a:gd name="connsiteX0" fmla="*/ 0 w 169590"/>
                <a:gd name="connsiteY0" fmla="*/ 0 h 415348"/>
                <a:gd name="connsiteX1" fmla="*/ 82041 w 169590"/>
                <a:gd name="connsiteY1" fmla="*/ 134295 h 415348"/>
                <a:gd name="connsiteX2" fmla="*/ 106128 w 169590"/>
                <a:gd name="connsiteY2" fmla="*/ 198844 h 415348"/>
                <a:gd name="connsiteX3" fmla="*/ 92827 w 169590"/>
                <a:gd name="connsiteY3" fmla="*/ 415348 h 415348"/>
                <a:gd name="connsiteX4" fmla="*/ 131333 w 169590"/>
                <a:gd name="connsiteY4" fmla="*/ 415348 h 415348"/>
                <a:gd name="connsiteX5" fmla="*/ 168162 w 169590"/>
                <a:gd name="connsiteY5" fmla="*/ 146926 h 415348"/>
                <a:gd name="connsiteX6" fmla="*/ 123844 w 169590"/>
                <a:gd name="connsiteY6" fmla="*/ 56 h 415348"/>
                <a:gd name="connsiteX7" fmla="*/ 0 w 169590"/>
                <a:gd name="connsiteY7" fmla="*/ 56 h 415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9590" h="415348">
                  <a:moveTo>
                    <a:pt x="0" y="0"/>
                  </a:moveTo>
                  <a:cubicBezTo>
                    <a:pt x="0" y="0"/>
                    <a:pt x="17492" y="63319"/>
                    <a:pt x="82041" y="134295"/>
                  </a:cubicBezTo>
                  <a:cubicBezTo>
                    <a:pt x="92827" y="145025"/>
                    <a:pt x="108364" y="167324"/>
                    <a:pt x="106128" y="198844"/>
                  </a:cubicBezTo>
                  <a:lnTo>
                    <a:pt x="92827" y="415348"/>
                  </a:lnTo>
                  <a:lnTo>
                    <a:pt x="131333" y="415348"/>
                  </a:lnTo>
                  <a:cubicBezTo>
                    <a:pt x="131333" y="415348"/>
                    <a:pt x="178278" y="235562"/>
                    <a:pt x="168162" y="146926"/>
                  </a:cubicBezTo>
                  <a:cubicBezTo>
                    <a:pt x="158047" y="58290"/>
                    <a:pt x="123844" y="56"/>
                    <a:pt x="123844" y="56"/>
                  </a:cubicBezTo>
                  <a:lnTo>
                    <a:pt x="0" y="56"/>
                  </a:lnTo>
                  <a:close/>
                </a:path>
              </a:pathLst>
            </a:custGeom>
            <a:solidFill>
              <a:srgbClr val="0070C0"/>
            </a:solidFill>
            <a:ln w="558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4" name="Forma Livre: Forma 573">
              <a:extLst>
                <a:ext uri="{FF2B5EF4-FFF2-40B4-BE49-F238E27FC236}">
                  <a16:creationId xmlns:a16="http://schemas.microsoft.com/office/drawing/2014/main" id="{CAEF3CC7-5D68-ACD7-6CFE-A533E8031424}"/>
                </a:ext>
              </a:extLst>
            </p:cNvPr>
            <p:cNvSpPr/>
            <p:nvPr/>
          </p:nvSpPr>
          <p:spPr>
            <a:xfrm>
              <a:off x="7491955" y="2097812"/>
              <a:ext cx="29062" cy="50670"/>
            </a:xfrm>
            <a:custGeom>
              <a:avLst/>
              <a:gdLst>
                <a:gd name="connsiteX0" fmla="*/ 6407 w 29062"/>
                <a:gd name="connsiteY0" fmla="*/ 29247 h 50670"/>
                <a:gd name="connsiteX1" fmla="*/ 26582 w 29062"/>
                <a:gd name="connsiteY1" fmla="*/ 50373 h 50670"/>
                <a:gd name="connsiteX2" fmla="*/ 22670 w 29062"/>
                <a:gd name="connsiteY2" fmla="*/ 21423 h 50670"/>
                <a:gd name="connsiteX3" fmla="*/ 2495 w 29062"/>
                <a:gd name="connsiteY3" fmla="*/ 298 h 50670"/>
                <a:gd name="connsiteX4" fmla="*/ 6407 w 29062"/>
                <a:gd name="connsiteY4" fmla="*/ 29247 h 50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062" h="50670">
                  <a:moveTo>
                    <a:pt x="6407" y="29247"/>
                  </a:moveTo>
                  <a:cubicBezTo>
                    <a:pt x="13058" y="43051"/>
                    <a:pt x="22111" y="52496"/>
                    <a:pt x="26582" y="50373"/>
                  </a:cubicBezTo>
                  <a:cubicBezTo>
                    <a:pt x="31053" y="48193"/>
                    <a:pt x="29321" y="35227"/>
                    <a:pt x="22670" y="21423"/>
                  </a:cubicBezTo>
                  <a:cubicBezTo>
                    <a:pt x="16020" y="7619"/>
                    <a:pt x="6966" y="-1825"/>
                    <a:pt x="2495" y="298"/>
                  </a:cubicBezTo>
                  <a:cubicBezTo>
                    <a:pt x="-1976" y="2422"/>
                    <a:pt x="-299" y="15388"/>
                    <a:pt x="6407" y="29247"/>
                  </a:cubicBezTo>
                  <a:close/>
                </a:path>
              </a:pathLst>
            </a:custGeom>
            <a:solidFill>
              <a:srgbClr val="0070C0"/>
            </a:solidFill>
            <a:ln w="558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5" name="Forma Livre: Forma 574">
              <a:extLst>
                <a:ext uri="{FF2B5EF4-FFF2-40B4-BE49-F238E27FC236}">
                  <a16:creationId xmlns:a16="http://schemas.microsoft.com/office/drawing/2014/main" id="{C144B698-E1EB-A725-1FB7-BB1B84FE1049}"/>
                </a:ext>
              </a:extLst>
            </p:cNvPr>
            <p:cNvSpPr/>
            <p:nvPr/>
          </p:nvSpPr>
          <p:spPr>
            <a:xfrm>
              <a:off x="7388713" y="2148370"/>
              <a:ext cx="29775" cy="21634"/>
            </a:xfrm>
            <a:custGeom>
              <a:avLst/>
              <a:gdLst>
                <a:gd name="connsiteX0" fmla="*/ 0 w 29775"/>
                <a:gd name="connsiteY0" fmla="*/ 19375 h 21634"/>
                <a:gd name="connsiteX1" fmla="*/ 1174 w 29775"/>
                <a:gd name="connsiteY1" fmla="*/ 19934 h 21634"/>
                <a:gd name="connsiteX2" fmla="*/ 14084 w 29775"/>
                <a:gd name="connsiteY2" fmla="*/ 20716 h 21634"/>
                <a:gd name="connsiteX3" fmla="*/ 14866 w 29775"/>
                <a:gd name="connsiteY3" fmla="*/ 20437 h 21634"/>
                <a:gd name="connsiteX4" fmla="*/ 29564 w 29775"/>
                <a:gd name="connsiteY4" fmla="*/ 5571 h 21634"/>
                <a:gd name="connsiteX5" fmla="*/ 29564 w 29775"/>
                <a:gd name="connsiteY5" fmla="*/ 5571 h 21634"/>
                <a:gd name="connsiteX6" fmla="*/ 24590 w 29775"/>
                <a:gd name="connsiteY6" fmla="*/ 94 h 21634"/>
                <a:gd name="connsiteX7" fmla="*/ 15984 w 29775"/>
                <a:gd name="connsiteY7" fmla="*/ 1883 h 21634"/>
                <a:gd name="connsiteX8" fmla="*/ 7824 w 29775"/>
                <a:gd name="connsiteY8" fmla="*/ 7415 h 21634"/>
                <a:gd name="connsiteX9" fmla="*/ 0 w 29775"/>
                <a:gd name="connsiteY9" fmla="*/ 19375 h 21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775" h="21634">
                  <a:moveTo>
                    <a:pt x="0" y="19375"/>
                  </a:moveTo>
                  <a:lnTo>
                    <a:pt x="1174" y="19934"/>
                  </a:lnTo>
                  <a:cubicBezTo>
                    <a:pt x="5198" y="21890"/>
                    <a:pt x="9836" y="22169"/>
                    <a:pt x="14084" y="20716"/>
                  </a:cubicBezTo>
                  <a:lnTo>
                    <a:pt x="14866" y="20437"/>
                  </a:lnTo>
                  <a:cubicBezTo>
                    <a:pt x="21852" y="18090"/>
                    <a:pt x="27329" y="12557"/>
                    <a:pt x="29564" y="5571"/>
                  </a:cubicBezTo>
                  <a:lnTo>
                    <a:pt x="29564" y="5571"/>
                  </a:lnTo>
                  <a:cubicBezTo>
                    <a:pt x="30570" y="2442"/>
                    <a:pt x="27832" y="-576"/>
                    <a:pt x="24590" y="94"/>
                  </a:cubicBezTo>
                  <a:lnTo>
                    <a:pt x="15984" y="1883"/>
                  </a:lnTo>
                  <a:cubicBezTo>
                    <a:pt x="12630" y="2609"/>
                    <a:pt x="9724" y="4565"/>
                    <a:pt x="7824" y="7415"/>
                  </a:cubicBezTo>
                  <a:lnTo>
                    <a:pt x="0" y="19375"/>
                  </a:lnTo>
                  <a:close/>
                </a:path>
              </a:pathLst>
            </a:custGeom>
            <a:solidFill>
              <a:srgbClr val="F8B68F"/>
            </a:solidFill>
            <a:ln w="558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6" name="Espaço Reservado para Texto 1">
            <a:extLst>
              <a:ext uri="{FF2B5EF4-FFF2-40B4-BE49-F238E27FC236}">
                <a16:creationId xmlns:a16="http://schemas.microsoft.com/office/drawing/2014/main" id="{270F0BCD-EDCD-F536-73B0-5E701C2B3784}"/>
              </a:ext>
            </a:extLst>
          </p:cNvPr>
          <p:cNvSpPr txBox="1">
            <a:spLocks/>
          </p:cNvSpPr>
          <p:nvPr/>
        </p:nvSpPr>
        <p:spPr>
          <a:xfrm>
            <a:off x="480377" y="466473"/>
            <a:ext cx="2293147" cy="10462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pt-BR"/>
            </a:defPPr>
            <a:lvl1pPr defTabSz="914411">
              <a:lnSpc>
                <a:spcPct val="75000"/>
              </a:lnSpc>
              <a:spcBef>
                <a:spcPts val="0"/>
              </a:spcBef>
              <a:buNone/>
              <a:defRPr kumimoji="0" sz="28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tau Display Heavy" panose="020B0803020204020204" pitchFamily="34" charset="0"/>
                <a:cs typeface="Itau Display Heavy" panose="020B0803020204020204" pitchFamily="34" charset="0"/>
              </a:defRPr>
            </a:lvl1pPr>
            <a:lvl2pPr marL="539756" indent="-182566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>
                <a:solidFill>
                  <a:schemeClr val="accent6"/>
                </a:solidFill>
              </a:defRPr>
            </a:lvl2pPr>
            <a:lvl3pPr marL="898536" indent="-184152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accent6"/>
                </a:solidFill>
              </a:defRPr>
            </a:lvl3pPr>
            <a:lvl4pPr marL="1255729" indent="-184152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>
                <a:solidFill>
                  <a:schemeClr val="accent6"/>
                </a:solidFill>
              </a:defRPr>
            </a:lvl4pPr>
            <a:lvl5pPr marL="1612920" indent="-174628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>
                <a:solidFill>
                  <a:schemeClr val="accent6"/>
                </a:solidFill>
              </a:defRPr>
            </a:lvl5pPr>
            <a:lvl6pPr marL="2514632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6pPr>
            <a:lvl7pPr marL="2971838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7pPr>
            <a:lvl8pPr marL="3429044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8pPr>
            <a:lvl9pPr marL="3886249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9pPr>
          </a:lstStyle>
          <a:p>
            <a:pPr marL="0" marR="0" lvl="0" indent="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</a:rPr>
              <a:t>_o que nós </a:t>
            </a:r>
          </a:p>
          <a:p>
            <a:pPr marL="0" marR="0" lvl="0" indent="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</a:rPr>
              <a:t>temos feito?</a:t>
            </a:r>
          </a:p>
        </p:txBody>
      </p:sp>
    </p:spTree>
    <p:extLst>
      <p:ext uri="{BB962C8B-B14F-4D97-AF65-F5344CB8AC3E}">
        <p14:creationId xmlns:p14="http://schemas.microsoft.com/office/powerpoint/2010/main" val="17500968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tângulo 22">
            <a:extLst>
              <a:ext uri="{FF2B5EF4-FFF2-40B4-BE49-F238E27FC236}">
                <a16:creationId xmlns:a16="http://schemas.microsoft.com/office/drawing/2014/main" id="{96B8BB8E-6720-4791-974D-D9E057101C34}"/>
              </a:ext>
            </a:extLst>
          </p:cNvPr>
          <p:cNvSpPr/>
          <p:nvPr/>
        </p:nvSpPr>
        <p:spPr>
          <a:xfrm>
            <a:off x="0" y="3424845"/>
            <a:ext cx="12191999" cy="3433155"/>
          </a:xfrm>
          <a:prstGeom prst="rect">
            <a:avLst/>
          </a:prstGeom>
          <a:gradFill flip="none" rotWithShape="1">
            <a:gsLst>
              <a:gs pos="0">
                <a:srgbClr val="FF7500"/>
              </a:gs>
              <a:gs pos="100000">
                <a:srgbClr val="FD9D00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8" name="Retângulo: Cantos Arredondados 77">
            <a:extLst>
              <a:ext uri="{FF2B5EF4-FFF2-40B4-BE49-F238E27FC236}">
                <a16:creationId xmlns:a16="http://schemas.microsoft.com/office/drawing/2014/main" id="{EBE54565-BDD4-43B0-B992-9C74D078EFCA}"/>
              </a:ext>
            </a:extLst>
          </p:cNvPr>
          <p:cNvSpPr/>
          <p:nvPr/>
        </p:nvSpPr>
        <p:spPr>
          <a:xfrm>
            <a:off x="457200" y="1032915"/>
            <a:ext cx="11218503" cy="5677071"/>
          </a:xfrm>
          <a:prstGeom prst="roundRect">
            <a:avLst>
              <a:gd name="adj" fmla="val 1698"/>
            </a:avLst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73" name="Conector reto 72">
            <a:extLst>
              <a:ext uri="{FF2B5EF4-FFF2-40B4-BE49-F238E27FC236}">
                <a16:creationId xmlns:a16="http://schemas.microsoft.com/office/drawing/2014/main" id="{92AD6DAE-ACAC-4180-9ECA-B1F8807BF87F}"/>
              </a:ext>
            </a:extLst>
          </p:cNvPr>
          <p:cNvCxnSpPr>
            <a:cxnSpLocks/>
          </p:cNvCxnSpPr>
          <p:nvPr/>
        </p:nvCxnSpPr>
        <p:spPr>
          <a:xfrm>
            <a:off x="7918942" y="1595949"/>
            <a:ext cx="0" cy="4181827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Conector reto 73">
            <a:extLst>
              <a:ext uri="{FF2B5EF4-FFF2-40B4-BE49-F238E27FC236}">
                <a16:creationId xmlns:a16="http://schemas.microsoft.com/office/drawing/2014/main" id="{F81504AF-7715-460D-B8C1-5B79BD8A2218}"/>
              </a:ext>
            </a:extLst>
          </p:cNvPr>
          <p:cNvCxnSpPr>
            <a:cxnSpLocks/>
          </p:cNvCxnSpPr>
          <p:nvPr/>
        </p:nvCxnSpPr>
        <p:spPr>
          <a:xfrm>
            <a:off x="4188033" y="1595949"/>
            <a:ext cx="0" cy="4181827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tângulo 16">
            <a:extLst>
              <a:ext uri="{FF2B5EF4-FFF2-40B4-BE49-F238E27FC236}">
                <a16:creationId xmlns:a16="http://schemas.microsoft.com/office/drawing/2014/main" id="{DB39ADB3-3DFE-49D1-8105-F4DAEB30EFB6}"/>
              </a:ext>
            </a:extLst>
          </p:cNvPr>
          <p:cNvSpPr/>
          <p:nvPr/>
        </p:nvSpPr>
        <p:spPr>
          <a:xfrm>
            <a:off x="785912" y="4366540"/>
            <a:ext cx="2975810" cy="19778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8000" marR="0" lvl="0" indent="-10800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>
                <a:srgbClr val="FF78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Foco  mitigação de risco </a:t>
            </a:r>
            <a:r>
              <a:rPr kumimoji="0" lang="pt-BR" sz="1400" b="0" i="0" u="none" strike="noStrike" kern="1200" cap="none" spc="0" normalizeH="0" baseline="0" noProof="0" err="1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Valid</a:t>
            </a:r>
            <a:endParaRPr kumimoji="0" lang="pt-BR" sz="1400" b="0" i="0" u="none" strike="noStrike" kern="1200" cap="none" spc="0" normalizeH="0" baseline="0" noProof="0">
              <a:ln>
                <a:noFill/>
              </a:ln>
              <a:solidFill>
                <a:srgbClr val="5F6062"/>
              </a:solidFill>
              <a:effectLst/>
              <a:uLnTx/>
              <a:uFillTx/>
              <a:latin typeface="Itau Display Light" panose="020B0403020204020204" pitchFamily="34" charset="0"/>
              <a:ea typeface="+mn-ea"/>
              <a:cs typeface="Itau Display Light" panose="020B0403020204020204" pitchFamily="34" charset="0"/>
            </a:endParaRPr>
          </a:p>
          <a:p>
            <a:pPr marL="108000" marR="0" lvl="0" indent="-10800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>
                <a:srgbClr val="FF78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Recuperação de conteúdos no app</a:t>
            </a:r>
          </a:p>
          <a:p>
            <a:pPr marL="108000" marR="0" lvl="0" indent="-10800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>
                <a:srgbClr val="FF78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Clientes PF (2,5MM) e PJ (23K)</a:t>
            </a:r>
          </a:p>
          <a:p>
            <a:pPr marL="108000" marR="0" lvl="0" indent="-10800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>
                <a:srgbClr val="FF78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Correntistas e não correntistas</a:t>
            </a:r>
          </a:p>
          <a:p>
            <a:pPr marL="108000" marR="0" lvl="0" indent="-10800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>
                <a:srgbClr val="FF78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pt-BR" sz="1400" b="0" i="0" u="none" strike="noStrike" kern="1200" cap="none" spc="0" normalizeH="0" baseline="0" noProof="0">
              <a:ln>
                <a:noFill/>
              </a:ln>
              <a:solidFill>
                <a:srgbClr val="5F6062"/>
              </a:solidFill>
              <a:effectLst/>
              <a:uLnTx/>
              <a:uFillTx/>
              <a:latin typeface="Itau Display Light" panose="020B0403020204020204" pitchFamily="34" charset="0"/>
              <a:ea typeface="+mn-ea"/>
              <a:cs typeface="Itau Display Light" panose="020B0403020204020204" pitchFamily="34" charset="0"/>
            </a:endParaRPr>
          </a:p>
        </p:txBody>
      </p:sp>
      <p:sp>
        <p:nvSpPr>
          <p:cNvPr id="35" name="CaixaDeTexto 34">
            <a:extLst>
              <a:ext uri="{FF2B5EF4-FFF2-40B4-BE49-F238E27FC236}">
                <a16:creationId xmlns:a16="http://schemas.microsoft.com/office/drawing/2014/main" id="{3DCE5340-1A21-4C86-BD1A-4324760EBEE8}"/>
              </a:ext>
            </a:extLst>
          </p:cNvPr>
          <p:cNvSpPr txBox="1"/>
          <p:nvPr/>
        </p:nvSpPr>
        <p:spPr>
          <a:xfrm>
            <a:off x="814145" y="1143434"/>
            <a:ext cx="3304826" cy="11085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FF7800"/>
                </a:solidFill>
                <a:effectLst/>
                <a:uLnTx/>
                <a:uFillTx/>
                <a:latin typeface="Itau Display Black" panose="020B0903020204020204" pitchFamily="34" charset="0"/>
                <a:ea typeface="+mn-ea"/>
                <a:cs typeface="Itau Display Black" panose="020B0903020204020204" pitchFamily="34" charset="0"/>
              </a:rPr>
              <a:t>_s</a:t>
            </a:r>
            <a:r>
              <a:rPr kumimoji="0" lang="en-US" sz="2800" b="0" i="0" u="none" strike="noStrike" kern="1200" cap="none" spc="0" normalizeH="0" baseline="0" noProof="0" err="1">
                <a:ln>
                  <a:noFill/>
                </a:ln>
                <a:solidFill>
                  <a:srgbClr val="FF7800"/>
                </a:solidFill>
                <a:effectLst/>
                <a:uLnTx/>
                <a:uFillTx/>
                <a:latin typeface="Itau Display Black" panose="020B0903020204020204" pitchFamily="34" charset="0"/>
                <a:ea typeface="+mn-ea"/>
                <a:cs typeface="Itau Display Black" panose="020B0903020204020204" pitchFamily="34" charset="0"/>
              </a:rPr>
              <a:t>tep</a:t>
            </a: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FF7800"/>
                </a:solidFill>
                <a:effectLst/>
                <a:uLnTx/>
                <a:uFillTx/>
                <a:latin typeface="Itau Display Black" panose="020B0903020204020204" pitchFamily="34" charset="0"/>
                <a:ea typeface="+mn-ea"/>
                <a:cs typeface="Itau Display Black" panose="020B0903020204020204" pitchFamily="34" charset="0"/>
              </a:rPr>
              <a:t> 01</a:t>
            </a:r>
          </a:p>
          <a:p>
            <a:pPr marL="0" marR="0" lvl="0" indent="0" algn="l" defTabSz="9144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FF7800"/>
              </a:solidFill>
              <a:effectLst/>
              <a:uLnTx/>
              <a:uFillTx/>
              <a:latin typeface="Itau Display Black" panose="020B0903020204020204" pitchFamily="34" charset="0"/>
              <a:ea typeface="+mn-ea"/>
              <a:cs typeface="Itau Display Black" panose="020B09030202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" panose="020B0503020204020204" pitchFamily="34" charset="0"/>
                <a:ea typeface="+mn-ea"/>
                <a:cs typeface="Itau Display Pro App" panose="020B0503020204020204" pitchFamily="34" charset="0"/>
              </a:rPr>
              <a:t>Meus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" panose="020B0503020204020204" pitchFamily="34" charset="0"/>
                <a:ea typeface="+mn-ea"/>
                <a:cs typeface="Itau Display Pro App" panose="020B0503020204020204" pitchFamily="34" charset="0"/>
              </a:rPr>
              <a:t>documentos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" panose="020B0503020204020204" pitchFamily="34" charset="0"/>
                <a:ea typeface="+mn-ea"/>
                <a:cs typeface="Itau Display Pro App" panose="020B0503020204020204" pitchFamily="34" charset="0"/>
              </a:rPr>
              <a:t>: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" panose="020B0503020204020204" pitchFamily="34" charset="0"/>
                <a:ea typeface="+mn-ea"/>
                <a:cs typeface="Itau Display Pro App" panose="020B0503020204020204" pitchFamily="34" charset="0"/>
              </a:rPr>
              <a:t>Correspondências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" panose="020B0503020204020204" pitchFamily="34" charset="0"/>
                <a:ea typeface="+mn-ea"/>
                <a:cs typeface="Itau Display Pro App" panose="020B0503020204020204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" panose="020B0503020204020204" pitchFamily="34" charset="0"/>
                <a:ea typeface="+mn-ea"/>
                <a:cs typeface="Itau Display Pro App" panose="020B0503020204020204" pitchFamily="34" charset="0"/>
              </a:rPr>
              <a:t>digitais</a:t>
            </a: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srgbClr val="5F6062"/>
              </a:solidFill>
              <a:effectLst/>
              <a:uLnTx/>
              <a:uFillTx/>
              <a:latin typeface="Itau Display Pro App" panose="020B0503020204020204" pitchFamily="34" charset="0"/>
              <a:ea typeface="+mn-ea"/>
              <a:cs typeface="Itau Display Pro App" panose="020B0503020204020204" pitchFamily="34" charset="0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F712FC98-ACE5-440A-B279-987C06C1AABA}"/>
              </a:ext>
            </a:extLst>
          </p:cNvPr>
          <p:cNvSpPr txBox="1"/>
          <p:nvPr/>
        </p:nvSpPr>
        <p:spPr>
          <a:xfrm>
            <a:off x="4558648" y="1143434"/>
            <a:ext cx="3266049" cy="11085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FF7800"/>
                </a:solidFill>
                <a:effectLst/>
                <a:uLnTx/>
                <a:uFillTx/>
                <a:latin typeface="Itau Display Black" panose="020B0903020204020204" pitchFamily="34" charset="0"/>
                <a:ea typeface="+mn-ea"/>
                <a:cs typeface="Itau Display Black" panose="020B0903020204020204" pitchFamily="34" charset="0"/>
              </a:rPr>
              <a:t>_step 02</a:t>
            </a:r>
          </a:p>
          <a:p>
            <a:pPr marL="0" marR="0" lvl="0" indent="0" algn="l" defTabSz="9144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FF7800"/>
              </a:solidFill>
              <a:effectLst/>
              <a:uLnTx/>
              <a:uFillTx/>
              <a:latin typeface="Itau Display Black" panose="020B0903020204020204" pitchFamily="34" charset="0"/>
              <a:ea typeface="+mn-ea"/>
              <a:cs typeface="Itau Display Black" panose="020B09030202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" panose="020B0503020204020204" pitchFamily="34" charset="0"/>
                <a:ea typeface="+mn-ea"/>
                <a:cs typeface="Itau Display Pro App" panose="020B0503020204020204" pitchFamily="34" charset="0"/>
              </a:rPr>
              <a:t>Meus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" panose="020B0503020204020204" pitchFamily="34" charset="0"/>
                <a:ea typeface="+mn-ea"/>
                <a:cs typeface="Itau Display Pro App" panose="020B0503020204020204" pitchFamily="34" charset="0"/>
              </a:rPr>
              <a:t>documentos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" panose="020B0503020204020204" pitchFamily="34" charset="0"/>
                <a:ea typeface="+mn-ea"/>
                <a:cs typeface="Itau Display Pro App" panose="020B0503020204020204" pitchFamily="34" charset="0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" panose="020B0503020204020204" pitchFamily="34" charset="0"/>
                <a:ea typeface="+mn-ea"/>
                <a:cs typeface="Itau Display Pro App" panose="020B0503020204020204" pitchFamily="34" charset="0"/>
              </a:rPr>
              <a:t>Conteúdos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" panose="020B0503020204020204" pitchFamily="34" charset="0"/>
                <a:ea typeface="+mn-ea"/>
                <a:cs typeface="Itau Display Pro App" panose="020B0503020204020204" pitchFamily="34" charset="0"/>
              </a:rPr>
              <a:t> de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" panose="020B0503020204020204" pitchFamily="34" charset="0"/>
                <a:ea typeface="+mn-ea"/>
                <a:cs typeface="Itau Display Pro App" panose="020B0503020204020204" pitchFamily="34" charset="0"/>
              </a:rPr>
              <a:t>clientes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5F6062"/>
              </a:solidFill>
              <a:effectLst/>
              <a:uLnTx/>
              <a:uFillTx/>
              <a:latin typeface="Itau Display Pro App" panose="020B0503020204020204" pitchFamily="34" charset="0"/>
              <a:ea typeface="+mn-ea"/>
              <a:cs typeface="Itau Display Pro App" panose="020B0503020204020204" pitchFamily="34" charset="0"/>
            </a:endParaRP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76A5E500-6BBD-40D9-B9BA-E0594D26273D}"/>
              </a:ext>
            </a:extLst>
          </p:cNvPr>
          <p:cNvSpPr txBox="1"/>
          <p:nvPr/>
        </p:nvSpPr>
        <p:spPr>
          <a:xfrm>
            <a:off x="8302634" y="1143434"/>
            <a:ext cx="3122710" cy="11106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FF7800"/>
                </a:solidFill>
                <a:effectLst/>
                <a:uLnTx/>
                <a:uFillTx/>
                <a:latin typeface="Itau Display Black" panose="020B0903020204020204" pitchFamily="34" charset="0"/>
                <a:ea typeface="+mn-ea"/>
                <a:cs typeface="Itau Display Black" panose="020B0903020204020204" pitchFamily="34" charset="0"/>
              </a:rPr>
              <a:t>_step 03</a:t>
            </a:r>
          </a:p>
          <a:p>
            <a:pPr marL="0" marR="0" lvl="0" indent="0" algn="l" defTabSz="9144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FF7800"/>
              </a:solidFill>
              <a:effectLst/>
              <a:uLnTx/>
              <a:uFillTx/>
              <a:latin typeface="Itau Display Black" panose="020B0903020204020204" pitchFamily="34" charset="0"/>
              <a:ea typeface="+mn-ea"/>
              <a:cs typeface="Itau Display Black" panose="020B09030202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" panose="020B0503020204020204" pitchFamily="34" charset="0"/>
                <a:ea typeface="+mn-ea"/>
                <a:cs typeface="Itau Display Pro App" panose="020B0503020204020204" pitchFamily="34" charset="0"/>
              </a:rPr>
              <a:t>Wallet de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Pro App" panose="020B0503020204020204" pitchFamily="34" charset="0"/>
                <a:ea typeface="+mn-ea"/>
                <a:cs typeface="Itau Display Pro App" panose="020B0503020204020204" pitchFamily="34" charset="0"/>
              </a:rPr>
              <a:t>conteúdos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5F6062"/>
              </a:solidFill>
              <a:effectLst/>
              <a:uLnTx/>
              <a:uFillTx/>
              <a:latin typeface="Itau Display Pro App" panose="020B0503020204020204" pitchFamily="34" charset="0"/>
              <a:ea typeface="+mn-ea"/>
              <a:cs typeface="Itau Display Pro App" panose="020B05030202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srgbClr val="FF7800"/>
              </a:solidFill>
              <a:effectLst/>
              <a:uLnTx/>
              <a:uFillTx/>
              <a:latin typeface="Itau Display Black" panose="020B0903020204020204" pitchFamily="34" charset="0"/>
              <a:ea typeface="+mn-ea"/>
              <a:cs typeface="Itau Display Black" panose="020B0903020204020204" pitchFamily="34" charset="0"/>
            </a:endParaRPr>
          </a:p>
        </p:txBody>
      </p:sp>
      <p:sp>
        <p:nvSpPr>
          <p:cNvPr id="26" name="Retângulo 25">
            <a:extLst>
              <a:ext uri="{FF2B5EF4-FFF2-40B4-BE49-F238E27FC236}">
                <a16:creationId xmlns:a16="http://schemas.microsoft.com/office/drawing/2014/main" id="{E0789C9D-4E90-4F8A-A226-18717F02C87D}"/>
              </a:ext>
            </a:extLst>
          </p:cNvPr>
          <p:cNvSpPr/>
          <p:nvPr/>
        </p:nvSpPr>
        <p:spPr>
          <a:xfrm>
            <a:off x="4547972" y="4314037"/>
            <a:ext cx="2975810" cy="26241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8000" marR="0" lvl="0" indent="-10800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>
                <a:srgbClr val="FF78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Expansão para mais negócios e tipos de conteúdo</a:t>
            </a:r>
          </a:p>
          <a:p>
            <a:pPr marL="108000" marR="0" lvl="0" indent="-10800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>
                <a:srgbClr val="FF78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Jornada de recuperação padronizada</a:t>
            </a:r>
          </a:p>
          <a:p>
            <a:pPr marL="108000" marR="0" lvl="0" indent="-10800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>
                <a:srgbClr val="FF78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Integração com as jornadas de produto </a:t>
            </a:r>
          </a:p>
          <a:p>
            <a:pPr marL="108000" marR="0" lvl="0" indent="-10800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>
                <a:srgbClr val="FF78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Clientes PF (67,5MM) e PJ (2MM)</a:t>
            </a:r>
          </a:p>
          <a:p>
            <a:pPr marL="108000" marR="0" lvl="0" indent="-10800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>
                <a:srgbClr val="FF78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pt-BR" sz="1400" b="0" i="0" u="none" strike="noStrike" kern="1200" cap="none" spc="0" normalizeH="0" baseline="0" noProof="0">
              <a:ln>
                <a:noFill/>
              </a:ln>
              <a:solidFill>
                <a:srgbClr val="5F6062"/>
              </a:solidFill>
              <a:effectLst/>
              <a:uLnTx/>
              <a:uFillTx/>
              <a:latin typeface="Itau Display Light" panose="020B0403020204020204" pitchFamily="34" charset="0"/>
              <a:ea typeface="+mn-ea"/>
              <a:cs typeface="Itau Display Light" panose="020B0403020204020204" pitchFamily="34" charset="0"/>
            </a:endParaRP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705A74B4-0BA0-9B8A-E7FA-265157A0843C}"/>
              </a:ext>
            </a:extLst>
          </p:cNvPr>
          <p:cNvSpPr/>
          <p:nvPr/>
        </p:nvSpPr>
        <p:spPr>
          <a:xfrm>
            <a:off x="8121409" y="4314036"/>
            <a:ext cx="2975810" cy="21471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8000" marR="0" lvl="0" indent="-10800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>
                <a:srgbClr val="FF78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Produto digital para armazenamento e recuperação de conteúdos em geral</a:t>
            </a:r>
          </a:p>
          <a:p>
            <a:pPr marL="108000" marR="0" lvl="0" indent="-10800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>
                <a:srgbClr val="FF78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Compartilhamento e integração com soluções externas</a:t>
            </a:r>
          </a:p>
          <a:p>
            <a:pPr marL="108000" marR="0" lvl="0" indent="-10800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>
                <a:srgbClr val="FF78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Open </a:t>
            </a:r>
            <a:r>
              <a:rPr kumimoji="0" lang="pt-BR" sz="1400" b="0" i="0" u="none" strike="noStrike" kern="1200" cap="none" spc="0" normalizeH="0" baseline="0" noProof="0" err="1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Docs</a:t>
            </a:r>
            <a:endParaRPr kumimoji="0" lang="pt-BR" sz="1400" b="0" i="0" u="none" strike="noStrike" kern="1200" cap="none" spc="0" normalizeH="0" baseline="0" noProof="0">
              <a:ln>
                <a:noFill/>
              </a:ln>
              <a:solidFill>
                <a:srgbClr val="5F6062"/>
              </a:solidFill>
              <a:effectLst/>
              <a:uLnTx/>
              <a:uFillTx/>
              <a:latin typeface="Itau Display Light" panose="020B0403020204020204" pitchFamily="34" charset="0"/>
              <a:ea typeface="+mn-ea"/>
              <a:cs typeface="Itau Display Light" panose="020B0403020204020204" pitchFamily="34" charset="0"/>
            </a:endParaRPr>
          </a:p>
        </p:txBody>
      </p:sp>
      <p:grpSp>
        <p:nvGrpSpPr>
          <p:cNvPr id="3" name="Agrupar 2">
            <a:extLst>
              <a:ext uri="{FF2B5EF4-FFF2-40B4-BE49-F238E27FC236}">
                <a16:creationId xmlns:a16="http://schemas.microsoft.com/office/drawing/2014/main" id="{A2A3EDFB-5841-2C40-4E3C-A14BD4DC0BEC}"/>
              </a:ext>
            </a:extLst>
          </p:cNvPr>
          <p:cNvGrpSpPr>
            <a:grpSpLocks noChangeAspect="1"/>
          </p:cNvGrpSpPr>
          <p:nvPr/>
        </p:nvGrpSpPr>
        <p:grpSpPr>
          <a:xfrm>
            <a:off x="1652812" y="2671206"/>
            <a:ext cx="1090837" cy="1179853"/>
            <a:chOff x="9387735" y="7449728"/>
            <a:chExt cx="405093" cy="438150"/>
          </a:xfrm>
        </p:grpSpPr>
        <p:sp>
          <p:nvSpPr>
            <p:cNvPr id="4" name="Forma Livre: Forma 3">
              <a:extLst>
                <a:ext uri="{FF2B5EF4-FFF2-40B4-BE49-F238E27FC236}">
                  <a16:creationId xmlns:a16="http://schemas.microsoft.com/office/drawing/2014/main" id="{9A957478-E5CE-A30D-FD70-82BE11DA9951}"/>
                </a:ext>
              </a:extLst>
            </p:cNvPr>
            <p:cNvSpPr/>
            <p:nvPr/>
          </p:nvSpPr>
          <p:spPr>
            <a:xfrm>
              <a:off x="9730572" y="7516283"/>
              <a:ext cx="57150" cy="57150"/>
            </a:xfrm>
            <a:custGeom>
              <a:avLst/>
              <a:gdLst>
                <a:gd name="connsiteX0" fmla="*/ 9683 w 57150"/>
                <a:gd name="connsiteY0" fmla="*/ 53651 h 57150"/>
                <a:gd name="connsiteX1" fmla="*/ 8064 w 57150"/>
                <a:gd name="connsiteY1" fmla="*/ 51936 h 57150"/>
                <a:gd name="connsiteX2" fmla="*/ 2921 w 57150"/>
                <a:gd name="connsiteY2" fmla="*/ 26981 h 57150"/>
                <a:gd name="connsiteX3" fmla="*/ 25685 w 57150"/>
                <a:gd name="connsiteY3" fmla="*/ 5454 h 57150"/>
                <a:gd name="connsiteX4" fmla="*/ 55594 w 57150"/>
                <a:gd name="connsiteY4" fmla="*/ 6883 h 57150"/>
                <a:gd name="connsiteX5" fmla="*/ 57213 w 57150"/>
                <a:gd name="connsiteY5" fmla="*/ 8598 h 57150"/>
                <a:gd name="connsiteX6" fmla="*/ 57118 w 57150"/>
                <a:gd name="connsiteY6" fmla="*/ 38506 h 57150"/>
                <a:gd name="connsiteX7" fmla="*/ 34353 w 57150"/>
                <a:gd name="connsiteY7" fmla="*/ 60033 h 57150"/>
                <a:gd name="connsiteX8" fmla="*/ 9683 w 57150"/>
                <a:gd name="connsiteY8" fmla="*/ 53651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50" h="57150">
                  <a:moveTo>
                    <a:pt x="9683" y="53651"/>
                  </a:moveTo>
                  <a:lnTo>
                    <a:pt x="8064" y="51936"/>
                  </a:lnTo>
                  <a:cubicBezTo>
                    <a:pt x="-127" y="43269"/>
                    <a:pt x="-2509" y="32029"/>
                    <a:pt x="2921" y="26981"/>
                  </a:cubicBezTo>
                  <a:lnTo>
                    <a:pt x="25685" y="5454"/>
                  </a:lnTo>
                  <a:cubicBezTo>
                    <a:pt x="33972" y="-2356"/>
                    <a:pt x="47402" y="-1689"/>
                    <a:pt x="55594" y="6883"/>
                  </a:cubicBezTo>
                  <a:lnTo>
                    <a:pt x="57213" y="8598"/>
                  </a:lnTo>
                  <a:cubicBezTo>
                    <a:pt x="65405" y="17265"/>
                    <a:pt x="65405" y="30696"/>
                    <a:pt x="57118" y="38506"/>
                  </a:cubicBezTo>
                  <a:lnTo>
                    <a:pt x="34353" y="60033"/>
                  </a:lnTo>
                  <a:cubicBezTo>
                    <a:pt x="29019" y="65271"/>
                    <a:pt x="17875" y="62319"/>
                    <a:pt x="9683" y="53651"/>
                  </a:cubicBezTo>
                  <a:close/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Forma Livre: Forma 5">
              <a:extLst>
                <a:ext uri="{FF2B5EF4-FFF2-40B4-BE49-F238E27FC236}">
                  <a16:creationId xmlns:a16="http://schemas.microsoft.com/office/drawing/2014/main" id="{53E9D652-FFCF-CDCF-7CA6-54F746E0D137}"/>
                </a:ext>
              </a:extLst>
            </p:cNvPr>
            <p:cNvSpPr/>
            <p:nvPr/>
          </p:nvSpPr>
          <p:spPr>
            <a:xfrm>
              <a:off x="9549660" y="7802153"/>
              <a:ext cx="142875" cy="85725"/>
            </a:xfrm>
            <a:custGeom>
              <a:avLst/>
              <a:gdLst>
                <a:gd name="connsiteX0" fmla="*/ 0 w 142875"/>
                <a:gd name="connsiteY0" fmla="*/ 85725 h 85725"/>
                <a:gd name="connsiteX1" fmla="*/ 28575 w 142875"/>
                <a:gd name="connsiteY1" fmla="*/ 57150 h 85725"/>
                <a:gd name="connsiteX2" fmla="*/ 142875 w 142875"/>
                <a:gd name="connsiteY2" fmla="*/ 0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2875" h="85725">
                  <a:moveTo>
                    <a:pt x="0" y="85725"/>
                  </a:moveTo>
                  <a:cubicBezTo>
                    <a:pt x="0" y="85725"/>
                    <a:pt x="18574" y="66675"/>
                    <a:pt x="28575" y="57150"/>
                  </a:cubicBezTo>
                  <a:cubicBezTo>
                    <a:pt x="106204" y="62865"/>
                    <a:pt x="135160" y="9049"/>
                    <a:pt x="142875" y="0"/>
                  </a:cubicBezTo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Forma Livre: Forma 6">
              <a:extLst>
                <a:ext uri="{FF2B5EF4-FFF2-40B4-BE49-F238E27FC236}">
                  <a16:creationId xmlns:a16="http://schemas.microsoft.com/office/drawing/2014/main" id="{D9F4F52F-87AF-068A-D9A4-E279D3D20FD5}"/>
                </a:ext>
              </a:extLst>
            </p:cNvPr>
            <p:cNvSpPr/>
            <p:nvPr/>
          </p:nvSpPr>
          <p:spPr>
            <a:xfrm>
              <a:off x="9735672" y="7695902"/>
              <a:ext cx="57150" cy="57150"/>
            </a:xfrm>
            <a:custGeom>
              <a:avLst/>
              <a:gdLst>
                <a:gd name="connsiteX0" fmla="*/ 10489 w 57150"/>
                <a:gd name="connsiteY0" fmla="*/ 52339 h 57150"/>
                <a:gd name="connsiteX1" fmla="*/ 8870 w 57150"/>
                <a:gd name="connsiteY1" fmla="*/ 50910 h 57150"/>
                <a:gd name="connsiteX2" fmla="*/ 2107 w 57150"/>
                <a:gd name="connsiteY2" fmla="*/ 28527 h 57150"/>
                <a:gd name="connsiteX3" fmla="*/ 21253 w 57150"/>
                <a:gd name="connsiteY3" fmla="*/ 6524 h 57150"/>
                <a:gd name="connsiteX4" fmla="*/ 48780 w 57150"/>
                <a:gd name="connsiteY4" fmla="*/ 4905 h 57150"/>
                <a:gd name="connsiteX5" fmla="*/ 50399 w 57150"/>
                <a:gd name="connsiteY5" fmla="*/ 6333 h 57150"/>
                <a:gd name="connsiteX6" fmla="*/ 52780 w 57150"/>
                <a:gd name="connsiteY6" fmla="*/ 33765 h 57150"/>
                <a:gd name="connsiteX7" fmla="*/ 33635 w 57150"/>
                <a:gd name="connsiteY7" fmla="*/ 55768 h 57150"/>
                <a:gd name="connsiteX8" fmla="*/ 10489 w 57150"/>
                <a:gd name="connsiteY8" fmla="*/ 52339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50" h="57150">
                  <a:moveTo>
                    <a:pt x="10489" y="52339"/>
                  </a:moveTo>
                  <a:lnTo>
                    <a:pt x="8870" y="50910"/>
                  </a:lnTo>
                  <a:cubicBezTo>
                    <a:pt x="679" y="43767"/>
                    <a:pt x="-2465" y="33765"/>
                    <a:pt x="2107" y="28527"/>
                  </a:cubicBezTo>
                  <a:lnTo>
                    <a:pt x="21253" y="6524"/>
                  </a:lnTo>
                  <a:cubicBezTo>
                    <a:pt x="28111" y="-1477"/>
                    <a:pt x="40493" y="-2239"/>
                    <a:pt x="48780" y="4905"/>
                  </a:cubicBezTo>
                  <a:lnTo>
                    <a:pt x="50399" y="6333"/>
                  </a:lnTo>
                  <a:cubicBezTo>
                    <a:pt x="58590" y="13477"/>
                    <a:pt x="59734" y="25764"/>
                    <a:pt x="52780" y="33765"/>
                  </a:cubicBezTo>
                  <a:lnTo>
                    <a:pt x="33635" y="55768"/>
                  </a:lnTo>
                  <a:cubicBezTo>
                    <a:pt x="29158" y="61007"/>
                    <a:pt x="18776" y="59483"/>
                    <a:pt x="10489" y="52339"/>
                  </a:cubicBezTo>
                  <a:close/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Forma Livre: Forma 7">
              <a:extLst>
                <a:ext uri="{FF2B5EF4-FFF2-40B4-BE49-F238E27FC236}">
                  <a16:creationId xmlns:a16="http://schemas.microsoft.com/office/drawing/2014/main" id="{E9281488-F77E-594C-E0C6-B608109E62E0}"/>
                </a:ext>
              </a:extLst>
            </p:cNvPr>
            <p:cNvSpPr/>
            <p:nvPr/>
          </p:nvSpPr>
          <p:spPr>
            <a:xfrm>
              <a:off x="9454410" y="7571323"/>
              <a:ext cx="104775" cy="247650"/>
            </a:xfrm>
            <a:custGeom>
              <a:avLst/>
              <a:gdLst>
                <a:gd name="connsiteX0" fmla="*/ 104775 w 104775"/>
                <a:gd name="connsiteY0" fmla="*/ 249880 h 247650"/>
                <a:gd name="connsiteX1" fmla="*/ 86487 w 104775"/>
                <a:gd name="connsiteY1" fmla="*/ 114149 h 247650"/>
                <a:gd name="connsiteX2" fmla="*/ 100203 w 104775"/>
                <a:gd name="connsiteY2" fmla="*/ 45950 h 247650"/>
                <a:gd name="connsiteX3" fmla="*/ 87916 w 104775"/>
                <a:gd name="connsiteY3" fmla="*/ 6421 h 247650"/>
                <a:gd name="connsiteX4" fmla="*/ 59531 w 104775"/>
                <a:gd name="connsiteY4" fmla="*/ 9945 h 247650"/>
                <a:gd name="connsiteX5" fmla="*/ 31433 w 104775"/>
                <a:gd name="connsiteY5" fmla="*/ 98337 h 247650"/>
                <a:gd name="connsiteX6" fmla="*/ 21431 w 104775"/>
                <a:gd name="connsiteY6" fmla="*/ 177109 h 247650"/>
                <a:gd name="connsiteX7" fmla="*/ 0 w 104775"/>
                <a:gd name="connsiteY7" fmla="*/ 211780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775" h="247650">
                  <a:moveTo>
                    <a:pt x="104775" y="249880"/>
                  </a:moveTo>
                  <a:cubicBezTo>
                    <a:pt x="125444" y="190825"/>
                    <a:pt x="105251" y="137771"/>
                    <a:pt x="86487" y="114149"/>
                  </a:cubicBezTo>
                  <a:cubicBezTo>
                    <a:pt x="94297" y="90527"/>
                    <a:pt x="97536" y="73668"/>
                    <a:pt x="100203" y="45950"/>
                  </a:cubicBezTo>
                  <a:cubicBezTo>
                    <a:pt x="101727" y="29948"/>
                    <a:pt x="94964" y="16327"/>
                    <a:pt x="87916" y="6421"/>
                  </a:cubicBezTo>
                  <a:cubicBezTo>
                    <a:pt x="80677" y="-3675"/>
                    <a:pt x="63056" y="-1389"/>
                    <a:pt x="59531" y="9945"/>
                  </a:cubicBezTo>
                  <a:cubicBezTo>
                    <a:pt x="43910" y="59761"/>
                    <a:pt x="41053" y="73382"/>
                    <a:pt x="31433" y="98337"/>
                  </a:cubicBezTo>
                  <a:cubicBezTo>
                    <a:pt x="20669" y="126341"/>
                    <a:pt x="26861" y="165584"/>
                    <a:pt x="21431" y="177109"/>
                  </a:cubicBezTo>
                  <a:cubicBezTo>
                    <a:pt x="20383" y="179395"/>
                    <a:pt x="0" y="211780"/>
                    <a:pt x="0" y="211780"/>
                  </a:cubicBezTo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orma Livre: Forma 8">
              <a:extLst>
                <a:ext uri="{FF2B5EF4-FFF2-40B4-BE49-F238E27FC236}">
                  <a16:creationId xmlns:a16="http://schemas.microsoft.com/office/drawing/2014/main" id="{A2E5DB98-5695-2031-33DA-2A019DEEAC5D}"/>
                </a:ext>
              </a:extLst>
            </p:cNvPr>
            <p:cNvSpPr/>
            <p:nvPr/>
          </p:nvSpPr>
          <p:spPr>
            <a:xfrm>
              <a:off x="9735678" y="7635142"/>
              <a:ext cx="57150" cy="57150"/>
            </a:xfrm>
            <a:custGeom>
              <a:avLst/>
              <a:gdLst>
                <a:gd name="connsiteX0" fmla="*/ 10674 w 57150"/>
                <a:gd name="connsiteY0" fmla="*/ 53187 h 57150"/>
                <a:gd name="connsiteX1" fmla="*/ 9055 w 57150"/>
                <a:gd name="connsiteY1" fmla="*/ 51758 h 57150"/>
                <a:gd name="connsiteX2" fmla="*/ 2101 w 57150"/>
                <a:gd name="connsiteY2" fmla="*/ 28994 h 57150"/>
                <a:gd name="connsiteX3" fmla="*/ 21532 w 57150"/>
                <a:gd name="connsiteY3" fmla="*/ 6610 h 57150"/>
                <a:gd name="connsiteX4" fmla="*/ 49536 w 57150"/>
                <a:gd name="connsiteY4" fmla="*/ 4895 h 57150"/>
                <a:gd name="connsiteX5" fmla="*/ 51155 w 57150"/>
                <a:gd name="connsiteY5" fmla="*/ 6324 h 57150"/>
                <a:gd name="connsiteX6" fmla="*/ 53632 w 57150"/>
                <a:gd name="connsiteY6" fmla="*/ 34232 h 57150"/>
                <a:gd name="connsiteX7" fmla="*/ 34201 w 57150"/>
                <a:gd name="connsiteY7" fmla="*/ 56616 h 57150"/>
                <a:gd name="connsiteX8" fmla="*/ 10674 w 57150"/>
                <a:gd name="connsiteY8" fmla="*/ 53187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50" h="57150">
                  <a:moveTo>
                    <a:pt x="10674" y="53187"/>
                  </a:moveTo>
                  <a:lnTo>
                    <a:pt x="9055" y="51758"/>
                  </a:lnTo>
                  <a:cubicBezTo>
                    <a:pt x="673" y="44519"/>
                    <a:pt x="-2470" y="34328"/>
                    <a:pt x="2101" y="28994"/>
                  </a:cubicBezTo>
                  <a:lnTo>
                    <a:pt x="21532" y="6610"/>
                  </a:lnTo>
                  <a:cubicBezTo>
                    <a:pt x="28581" y="-1486"/>
                    <a:pt x="41154" y="-2248"/>
                    <a:pt x="49536" y="4895"/>
                  </a:cubicBezTo>
                  <a:lnTo>
                    <a:pt x="51155" y="6324"/>
                  </a:lnTo>
                  <a:cubicBezTo>
                    <a:pt x="59537" y="13563"/>
                    <a:pt x="60585" y="26136"/>
                    <a:pt x="53632" y="34232"/>
                  </a:cubicBezTo>
                  <a:lnTo>
                    <a:pt x="34201" y="56616"/>
                  </a:lnTo>
                  <a:cubicBezTo>
                    <a:pt x="29629" y="62045"/>
                    <a:pt x="19056" y="60426"/>
                    <a:pt x="10674" y="53187"/>
                  </a:cubicBezTo>
                  <a:close/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Forma Livre: Forma 10">
              <a:extLst>
                <a:ext uri="{FF2B5EF4-FFF2-40B4-BE49-F238E27FC236}">
                  <a16:creationId xmlns:a16="http://schemas.microsoft.com/office/drawing/2014/main" id="{B41161C3-CFCD-948A-2474-D7B57D5CA6DC}"/>
                </a:ext>
              </a:extLst>
            </p:cNvPr>
            <p:cNvSpPr/>
            <p:nvPr/>
          </p:nvSpPr>
          <p:spPr>
            <a:xfrm>
              <a:off x="9735678" y="7576849"/>
              <a:ext cx="57150" cy="57150"/>
            </a:xfrm>
            <a:custGeom>
              <a:avLst/>
              <a:gdLst>
                <a:gd name="connsiteX0" fmla="*/ 10674 w 57150"/>
                <a:gd name="connsiteY0" fmla="*/ 53187 h 57150"/>
                <a:gd name="connsiteX1" fmla="*/ 9055 w 57150"/>
                <a:gd name="connsiteY1" fmla="*/ 51758 h 57150"/>
                <a:gd name="connsiteX2" fmla="*/ 2101 w 57150"/>
                <a:gd name="connsiteY2" fmla="*/ 28994 h 57150"/>
                <a:gd name="connsiteX3" fmla="*/ 21532 w 57150"/>
                <a:gd name="connsiteY3" fmla="*/ 6610 h 57150"/>
                <a:gd name="connsiteX4" fmla="*/ 49536 w 57150"/>
                <a:gd name="connsiteY4" fmla="*/ 4895 h 57150"/>
                <a:gd name="connsiteX5" fmla="*/ 51155 w 57150"/>
                <a:gd name="connsiteY5" fmla="*/ 6324 h 57150"/>
                <a:gd name="connsiteX6" fmla="*/ 53632 w 57150"/>
                <a:gd name="connsiteY6" fmla="*/ 34232 h 57150"/>
                <a:gd name="connsiteX7" fmla="*/ 34201 w 57150"/>
                <a:gd name="connsiteY7" fmla="*/ 56616 h 57150"/>
                <a:gd name="connsiteX8" fmla="*/ 10674 w 57150"/>
                <a:gd name="connsiteY8" fmla="*/ 53187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50" h="57150">
                  <a:moveTo>
                    <a:pt x="10674" y="53187"/>
                  </a:moveTo>
                  <a:lnTo>
                    <a:pt x="9055" y="51758"/>
                  </a:lnTo>
                  <a:cubicBezTo>
                    <a:pt x="673" y="44519"/>
                    <a:pt x="-2470" y="34328"/>
                    <a:pt x="2101" y="28994"/>
                  </a:cubicBezTo>
                  <a:lnTo>
                    <a:pt x="21532" y="6610"/>
                  </a:lnTo>
                  <a:cubicBezTo>
                    <a:pt x="28581" y="-1486"/>
                    <a:pt x="41154" y="-2248"/>
                    <a:pt x="49536" y="4895"/>
                  </a:cubicBezTo>
                  <a:lnTo>
                    <a:pt x="51155" y="6324"/>
                  </a:lnTo>
                  <a:cubicBezTo>
                    <a:pt x="59537" y="13563"/>
                    <a:pt x="60585" y="26136"/>
                    <a:pt x="53632" y="34232"/>
                  </a:cubicBezTo>
                  <a:lnTo>
                    <a:pt x="34201" y="56616"/>
                  </a:lnTo>
                  <a:cubicBezTo>
                    <a:pt x="29629" y="61950"/>
                    <a:pt x="19056" y="60331"/>
                    <a:pt x="10674" y="53187"/>
                  </a:cubicBezTo>
                  <a:close/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orma Livre: Forma 15">
              <a:extLst>
                <a:ext uri="{FF2B5EF4-FFF2-40B4-BE49-F238E27FC236}">
                  <a16:creationId xmlns:a16="http://schemas.microsoft.com/office/drawing/2014/main" id="{785DCEC1-3FF0-81BF-E71B-B36BBE977E63}"/>
                </a:ext>
              </a:extLst>
            </p:cNvPr>
            <p:cNvSpPr/>
            <p:nvPr/>
          </p:nvSpPr>
          <p:spPr>
            <a:xfrm>
              <a:off x="9625860" y="7773578"/>
              <a:ext cx="28575" cy="9525"/>
            </a:xfrm>
            <a:custGeom>
              <a:avLst/>
              <a:gdLst>
                <a:gd name="connsiteX0" fmla="*/ 0 w 28575"/>
                <a:gd name="connsiteY0" fmla="*/ 0 h 0"/>
                <a:gd name="connsiteX1" fmla="*/ 28575 w 2857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">
                  <a:moveTo>
                    <a:pt x="0" y="0"/>
                  </a:moveTo>
                  <a:lnTo>
                    <a:pt x="28575" y="0"/>
                  </a:lnTo>
                </a:path>
              </a:pathLst>
            </a:custGeom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orma Livre: Forma 24">
              <a:extLst>
                <a:ext uri="{FF2B5EF4-FFF2-40B4-BE49-F238E27FC236}">
                  <a16:creationId xmlns:a16="http://schemas.microsoft.com/office/drawing/2014/main" id="{03ADE093-F0F9-29A7-AE55-171FB1BB5D6D}"/>
                </a:ext>
              </a:extLst>
            </p:cNvPr>
            <p:cNvSpPr/>
            <p:nvPr/>
          </p:nvSpPr>
          <p:spPr>
            <a:xfrm>
              <a:off x="9530610" y="7449728"/>
              <a:ext cx="219075" cy="123825"/>
            </a:xfrm>
            <a:custGeom>
              <a:avLst/>
              <a:gdLst>
                <a:gd name="connsiteX0" fmla="*/ 219075 w 219075"/>
                <a:gd name="connsiteY0" fmla="*/ 76200 h 123825"/>
                <a:gd name="connsiteX1" fmla="*/ 219075 w 219075"/>
                <a:gd name="connsiteY1" fmla="*/ 28575 h 123825"/>
                <a:gd name="connsiteX2" fmla="*/ 190500 w 219075"/>
                <a:gd name="connsiteY2" fmla="*/ 0 h 123825"/>
                <a:gd name="connsiteX3" fmla="*/ 28575 w 219075"/>
                <a:gd name="connsiteY3" fmla="*/ 0 h 123825"/>
                <a:gd name="connsiteX4" fmla="*/ 0 w 219075"/>
                <a:gd name="connsiteY4" fmla="*/ 28575 h 123825"/>
                <a:gd name="connsiteX5" fmla="*/ 0 w 219075"/>
                <a:gd name="connsiteY5" fmla="*/ 123825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075" h="123825">
                  <a:moveTo>
                    <a:pt x="219075" y="76200"/>
                  </a:moveTo>
                  <a:lnTo>
                    <a:pt x="219075" y="28575"/>
                  </a:lnTo>
                  <a:cubicBezTo>
                    <a:pt x="219075" y="12763"/>
                    <a:pt x="206312" y="0"/>
                    <a:pt x="190500" y="0"/>
                  </a:cubicBezTo>
                  <a:lnTo>
                    <a:pt x="28575" y="0"/>
                  </a:lnTo>
                  <a:cubicBezTo>
                    <a:pt x="12763" y="0"/>
                    <a:pt x="0" y="12763"/>
                    <a:pt x="0" y="28575"/>
                  </a:cubicBezTo>
                  <a:cubicBezTo>
                    <a:pt x="0" y="56674"/>
                    <a:pt x="0" y="123825"/>
                    <a:pt x="0" y="123825"/>
                  </a:cubicBezTo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orma Livre: Forma 27">
              <a:extLst>
                <a:ext uri="{FF2B5EF4-FFF2-40B4-BE49-F238E27FC236}">
                  <a16:creationId xmlns:a16="http://schemas.microsoft.com/office/drawing/2014/main" id="{79D90BBF-ED00-B022-6752-EA49CBE9B61A}"/>
                </a:ext>
              </a:extLst>
            </p:cNvPr>
            <p:cNvSpPr/>
            <p:nvPr/>
          </p:nvSpPr>
          <p:spPr>
            <a:xfrm>
              <a:off x="9559185" y="7754528"/>
              <a:ext cx="190500" cy="47625"/>
            </a:xfrm>
            <a:custGeom>
              <a:avLst/>
              <a:gdLst>
                <a:gd name="connsiteX0" fmla="*/ 0 w 190500"/>
                <a:gd name="connsiteY0" fmla="*/ 47625 h 47625"/>
                <a:gd name="connsiteX1" fmla="*/ 161925 w 190500"/>
                <a:gd name="connsiteY1" fmla="*/ 47625 h 47625"/>
                <a:gd name="connsiteX2" fmla="*/ 190500 w 190500"/>
                <a:gd name="connsiteY2" fmla="*/ 19050 h 47625"/>
                <a:gd name="connsiteX3" fmla="*/ 190500 w 190500"/>
                <a:gd name="connsiteY3" fmla="*/ 19050 h 47625"/>
                <a:gd name="connsiteX4" fmla="*/ 190500 w 190500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0" h="47625">
                  <a:moveTo>
                    <a:pt x="0" y="47625"/>
                  </a:moveTo>
                  <a:lnTo>
                    <a:pt x="161925" y="47625"/>
                  </a:lnTo>
                  <a:cubicBezTo>
                    <a:pt x="177737" y="47625"/>
                    <a:pt x="190500" y="34862"/>
                    <a:pt x="190500" y="19050"/>
                  </a:cubicBezTo>
                  <a:lnTo>
                    <a:pt x="190500" y="19050"/>
                  </a:lnTo>
                  <a:lnTo>
                    <a:pt x="190500" y="0"/>
                  </a:lnTo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orma Livre: Forma 28">
              <a:extLst>
                <a:ext uri="{FF2B5EF4-FFF2-40B4-BE49-F238E27FC236}">
                  <a16:creationId xmlns:a16="http://schemas.microsoft.com/office/drawing/2014/main" id="{4E77D41D-4263-58E8-9290-D2BDD7B8696F}"/>
                </a:ext>
              </a:extLst>
            </p:cNvPr>
            <p:cNvSpPr/>
            <p:nvPr/>
          </p:nvSpPr>
          <p:spPr>
            <a:xfrm>
              <a:off x="9387735" y="7764053"/>
              <a:ext cx="171450" cy="123825"/>
            </a:xfrm>
            <a:custGeom>
              <a:avLst/>
              <a:gdLst>
                <a:gd name="connsiteX0" fmla="*/ 171450 w 171450"/>
                <a:gd name="connsiteY0" fmla="*/ 123825 h 123825"/>
                <a:gd name="connsiteX1" fmla="*/ 47625 w 171450"/>
                <a:gd name="connsiteY1" fmla="*/ 0 h 123825"/>
                <a:gd name="connsiteX2" fmla="*/ 0 w 171450"/>
                <a:gd name="connsiteY2" fmla="*/ 47625 h 123825"/>
                <a:gd name="connsiteX3" fmla="*/ 76200 w 171450"/>
                <a:gd name="connsiteY3" fmla="*/ 123825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450" h="123825">
                  <a:moveTo>
                    <a:pt x="171450" y="123825"/>
                  </a:moveTo>
                  <a:lnTo>
                    <a:pt x="47625" y="0"/>
                  </a:lnTo>
                  <a:lnTo>
                    <a:pt x="0" y="47625"/>
                  </a:lnTo>
                  <a:lnTo>
                    <a:pt x="76200" y="123825"/>
                  </a:lnTo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orma Livre: Forma 29">
              <a:extLst>
                <a:ext uri="{FF2B5EF4-FFF2-40B4-BE49-F238E27FC236}">
                  <a16:creationId xmlns:a16="http://schemas.microsoft.com/office/drawing/2014/main" id="{9D3BEB27-5C83-E60C-D0C0-CE62EE9D7018}"/>
                </a:ext>
              </a:extLst>
            </p:cNvPr>
            <p:cNvSpPr/>
            <p:nvPr/>
          </p:nvSpPr>
          <p:spPr>
            <a:xfrm>
              <a:off x="9435360" y="7811678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9525 w 9525"/>
                <a:gd name="connsiteY1" fmla="*/ 9525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9525" y="9525"/>
                  </a:lnTo>
                </a:path>
              </a:pathLst>
            </a:custGeom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orma Livre: Forma 30">
              <a:extLst>
                <a:ext uri="{FF2B5EF4-FFF2-40B4-BE49-F238E27FC236}">
                  <a16:creationId xmlns:a16="http://schemas.microsoft.com/office/drawing/2014/main" id="{989F1FAE-3A74-60C9-C326-3413055A4E22}"/>
                </a:ext>
              </a:extLst>
            </p:cNvPr>
            <p:cNvSpPr/>
            <p:nvPr/>
          </p:nvSpPr>
          <p:spPr>
            <a:xfrm>
              <a:off x="9568710" y="7745003"/>
              <a:ext cx="171450" cy="9525"/>
            </a:xfrm>
            <a:custGeom>
              <a:avLst/>
              <a:gdLst>
                <a:gd name="connsiteX0" fmla="*/ 0 w 171450"/>
                <a:gd name="connsiteY0" fmla="*/ 0 h 0"/>
                <a:gd name="connsiteX1" fmla="*/ 171450 w 17145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1450">
                  <a:moveTo>
                    <a:pt x="0" y="0"/>
                  </a:moveTo>
                  <a:lnTo>
                    <a:pt x="171450" y="0"/>
                  </a:lnTo>
                </a:path>
              </a:pathLst>
            </a:custGeom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orma Livre: Forma 31">
              <a:extLst>
                <a:ext uri="{FF2B5EF4-FFF2-40B4-BE49-F238E27FC236}">
                  <a16:creationId xmlns:a16="http://schemas.microsoft.com/office/drawing/2014/main" id="{15EDEF77-68AA-87C6-579F-2172367F31EE}"/>
                </a:ext>
              </a:extLst>
            </p:cNvPr>
            <p:cNvSpPr/>
            <p:nvPr/>
          </p:nvSpPr>
          <p:spPr>
            <a:xfrm>
              <a:off x="9530610" y="7497353"/>
              <a:ext cx="219075" cy="9525"/>
            </a:xfrm>
            <a:custGeom>
              <a:avLst/>
              <a:gdLst>
                <a:gd name="connsiteX0" fmla="*/ 0 w 219075"/>
                <a:gd name="connsiteY0" fmla="*/ 0 h 0"/>
                <a:gd name="connsiteX1" fmla="*/ 219075 w 21907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075">
                  <a:moveTo>
                    <a:pt x="0" y="0"/>
                  </a:moveTo>
                  <a:lnTo>
                    <a:pt x="219075" y="0"/>
                  </a:lnTo>
                </a:path>
              </a:pathLst>
            </a:custGeom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orma Livre: Forma 32">
              <a:extLst>
                <a:ext uri="{FF2B5EF4-FFF2-40B4-BE49-F238E27FC236}">
                  <a16:creationId xmlns:a16="http://schemas.microsoft.com/office/drawing/2014/main" id="{212F129A-B296-D477-1FB7-EDCD5E71E613}"/>
                </a:ext>
              </a:extLst>
            </p:cNvPr>
            <p:cNvSpPr/>
            <p:nvPr/>
          </p:nvSpPr>
          <p:spPr>
            <a:xfrm>
              <a:off x="9597285" y="7525928"/>
              <a:ext cx="95250" cy="190500"/>
            </a:xfrm>
            <a:custGeom>
              <a:avLst/>
              <a:gdLst>
                <a:gd name="connsiteX0" fmla="*/ 47625 w 95250"/>
                <a:gd name="connsiteY0" fmla="*/ 0 h 190500"/>
                <a:gd name="connsiteX1" fmla="*/ 0 w 95250"/>
                <a:gd name="connsiteY1" fmla="*/ 47625 h 190500"/>
                <a:gd name="connsiteX2" fmla="*/ 28575 w 95250"/>
                <a:gd name="connsiteY2" fmla="*/ 91250 h 190500"/>
                <a:gd name="connsiteX3" fmla="*/ 28575 w 95250"/>
                <a:gd name="connsiteY3" fmla="*/ 190500 h 190500"/>
                <a:gd name="connsiteX4" fmla="*/ 47625 w 95250"/>
                <a:gd name="connsiteY4" fmla="*/ 190500 h 190500"/>
                <a:gd name="connsiteX5" fmla="*/ 66675 w 95250"/>
                <a:gd name="connsiteY5" fmla="*/ 171450 h 190500"/>
                <a:gd name="connsiteX6" fmla="*/ 66675 w 95250"/>
                <a:gd name="connsiteY6" fmla="*/ 91250 h 190500"/>
                <a:gd name="connsiteX7" fmla="*/ 95250 w 95250"/>
                <a:gd name="connsiteY7" fmla="*/ 47625 h 190500"/>
                <a:gd name="connsiteX8" fmla="*/ 47625 w 95250"/>
                <a:gd name="connsiteY8" fmla="*/ 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5250" h="190500">
                  <a:moveTo>
                    <a:pt x="47625" y="0"/>
                  </a:moveTo>
                  <a:cubicBezTo>
                    <a:pt x="21336" y="0"/>
                    <a:pt x="0" y="21336"/>
                    <a:pt x="0" y="47625"/>
                  </a:cubicBezTo>
                  <a:cubicBezTo>
                    <a:pt x="0" y="67151"/>
                    <a:pt x="11811" y="83915"/>
                    <a:pt x="28575" y="91250"/>
                  </a:cubicBezTo>
                  <a:lnTo>
                    <a:pt x="28575" y="190500"/>
                  </a:lnTo>
                  <a:lnTo>
                    <a:pt x="47625" y="190500"/>
                  </a:lnTo>
                  <a:lnTo>
                    <a:pt x="66675" y="171450"/>
                  </a:lnTo>
                  <a:lnTo>
                    <a:pt x="66675" y="91250"/>
                  </a:lnTo>
                  <a:cubicBezTo>
                    <a:pt x="83439" y="83915"/>
                    <a:pt x="95250" y="67151"/>
                    <a:pt x="95250" y="47625"/>
                  </a:cubicBezTo>
                  <a:cubicBezTo>
                    <a:pt x="95250" y="21336"/>
                    <a:pt x="73914" y="0"/>
                    <a:pt x="47625" y="0"/>
                  </a:cubicBezTo>
                  <a:close/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orma Livre: Forma 33">
              <a:extLst>
                <a:ext uri="{FF2B5EF4-FFF2-40B4-BE49-F238E27FC236}">
                  <a16:creationId xmlns:a16="http://schemas.microsoft.com/office/drawing/2014/main" id="{D38EC778-DCB2-6DE3-94D8-BD26E0AF6921}"/>
                </a:ext>
              </a:extLst>
            </p:cNvPr>
            <p:cNvSpPr/>
            <p:nvPr/>
          </p:nvSpPr>
          <p:spPr>
            <a:xfrm>
              <a:off x="9635385" y="7554503"/>
              <a:ext cx="19050" cy="9525"/>
            </a:xfrm>
            <a:custGeom>
              <a:avLst/>
              <a:gdLst>
                <a:gd name="connsiteX0" fmla="*/ 0 w 19050"/>
                <a:gd name="connsiteY0" fmla="*/ 0 h 0"/>
                <a:gd name="connsiteX1" fmla="*/ 19050 w 1905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050">
                  <a:moveTo>
                    <a:pt x="0" y="0"/>
                  </a:moveTo>
                  <a:lnTo>
                    <a:pt x="19050" y="0"/>
                  </a:lnTo>
                </a:path>
              </a:pathLst>
            </a:custGeom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6" name="Agrupar 35">
            <a:extLst>
              <a:ext uri="{FF2B5EF4-FFF2-40B4-BE49-F238E27FC236}">
                <a16:creationId xmlns:a16="http://schemas.microsoft.com/office/drawing/2014/main" id="{B6C4A8A9-F0F8-419F-20D4-CF13182FADCD}"/>
              </a:ext>
            </a:extLst>
          </p:cNvPr>
          <p:cNvGrpSpPr/>
          <p:nvPr/>
        </p:nvGrpSpPr>
        <p:grpSpPr>
          <a:xfrm>
            <a:off x="5550599" y="2671206"/>
            <a:ext cx="1090800" cy="1180800"/>
            <a:chOff x="2107977" y="2765790"/>
            <a:chExt cx="405182" cy="438150"/>
          </a:xfrm>
        </p:grpSpPr>
        <p:sp>
          <p:nvSpPr>
            <p:cNvPr id="37" name="Forma Livre: Forma 36">
              <a:extLst>
                <a:ext uri="{FF2B5EF4-FFF2-40B4-BE49-F238E27FC236}">
                  <a16:creationId xmlns:a16="http://schemas.microsoft.com/office/drawing/2014/main" id="{F556D182-5680-A9AA-E3CE-0E93C11EF167}"/>
                </a:ext>
              </a:extLst>
            </p:cNvPr>
            <p:cNvSpPr/>
            <p:nvPr/>
          </p:nvSpPr>
          <p:spPr>
            <a:xfrm>
              <a:off x="2450814" y="2832345"/>
              <a:ext cx="57150" cy="57150"/>
            </a:xfrm>
            <a:custGeom>
              <a:avLst/>
              <a:gdLst>
                <a:gd name="connsiteX0" fmla="*/ 9683 w 57150"/>
                <a:gd name="connsiteY0" fmla="*/ 53651 h 57150"/>
                <a:gd name="connsiteX1" fmla="*/ 8064 w 57150"/>
                <a:gd name="connsiteY1" fmla="*/ 51936 h 57150"/>
                <a:gd name="connsiteX2" fmla="*/ 2921 w 57150"/>
                <a:gd name="connsiteY2" fmla="*/ 26981 h 57150"/>
                <a:gd name="connsiteX3" fmla="*/ 25685 w 57150"/>
                <a:gd name="connsiteY3" fmla="*/ 5454 h 57150"/>
                <a:gd name="connsiteX4" fmla="*/ 55594 w 57150"/>
                <a:gd name="connsiteY4" fmla="*/ 6883 h 57150"/>
                <a:gd name="connsiteX5" fmla="*/ 57213 w 57150"/>
                <a:gd name="connsiteY5" fmla="*/ 8598 h 57150"/>
                <a:gd name="connsiteX6" fmla="*/ 57118 w 57150"/>
                <a:gd name="connsiteY6" fmla="*/ 38506 h 57150"/>
                <a:gd name="connsiteX7" fmla="*/ 34353 w 57150"/>
                <a:gd name="connsiteY7" fmla="*/ 60033 h 57150"/>
                <a:gd name="connsiteX8" fmla="*/ 9683 w 57150"/>
                <a:gd name="connsiteY8" fmla="*/ 53651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50" h="57150">
                  <a:moveTo>
                    <a:pt x="9683" y="53651"/>
                  </a:moveTo>
                  <a:lnTo>
                    <a:pt x="8064" y="51936"/>
                  </a:lnTo>
                  <a:cubicBezTo>
                    <a:pt x="-127" y="43269"/>
                    <a:pt x="-2509" y="32029"/>
                    <a:pt x="2921" y="26981"/>
                  </a:cubicBezTo>
                  <a:lnTo>
                    <a:pt x="25685" y="5454"/>
                  </a:lnTo>
                  <a:cubicBezTo>
                    <a:pt x="33972" y="-2356"/>
                    <a:pt x="47402" y="-1689"/>
                    <a:pt x="55594" y="6883"/>
                  </a:cubicBezTo>
                  <a:lnTo>
                    <a:pt x="57213" y="8598"/>
                  </a:lnTo>
                  <a:cubicBezTo>
                    <a:pt x="65405" y="17265"/>
                    <a:pt x="65405" y="30696"/>
                    <a:pt x="57118" y="38506"/>
                  </a:cubicBezTo>
                  <a:lnTo>
                    <a:pt x="34353" y="60033"/>
                  </a:lnTo>
                  <a:cubicBezTo>
                    <a:pt x="29019" y="65271"/>
                    <a:pt x="17875" y="62319"/>
                    <a:pt x="9683" y="53651"/>
                  </a:cubicBezTo>
                  <a:close/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orma Livre: Forma 37">
              <a:extLst>
                <a:ext uri="{FF2B5EF4-FFF2-40B4-BE49-F238E27FC236}">
                  <a16:creationId xmlns:a16="http://schemas.microsoft.com/office/drawing/2014/main" id="{30D312C9-B357-45E5-ACCD-7B8ED47982C1}"/>
                </a:ext>
              </a:extLst>
            </p:cNvPr>
            <p:cNvSpPr/>
            <p:nvPr/>
          </p:nvSpPr>
          <p:spPr>
            <a:xfrm>
              <a:off x="2269902" y="3118215"/>
              <a:ext cx="142875" cy="85725"/>
            </a:xfrm>
            <a:custGeom>
              <a:avLst/>
              <a:gdLst>
                <a:gd name="connsiteX0" fmla="*/ 0 w 142875"/>
                <a:gd name="connsiteY0" fmla="*/ 85725 h 85725"/>
                <a:gd name="connsiteX1" fmla="*/ 28575 w 142875"/>
                <a:gd name="connsiteY1" fmla="*/ 57150 h 85725"/>
                <a:gd name="connsiteX2" fmla="*/ 142875 w 142875"/>
                <a:gd name="connsiteY2" fmla="*/ 0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2875" h="85725">
                  <a:moveTo>
                    <a:pt x="0" y="85725"/>
                  </a:moveTo>
                  <a:cubicBezTo>
                    <a:pt x="0" y="85725"/>
                    <a:pt x="18574" y="66675"/>
                    <a:pt x="28575" y="57150"/>
                  </a:cubicBezTo>
                  <a:cubicBezTo>
                    <a:pt x="106204" y="62865"/>
                    <a:pt x="135160" y="9049"/>
                    <a:pt x="142875" y="0"/>
                  </a:cubicBezTo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orma Livre: Forma 38">
              <a:extLst>
                <a:ext uri="{FF2B5EF4-FFF2-40B4-BE49-F238E27FC236}">
                  <a16:creationId xmlns:a16="http://schemas.microsoft.com/office/drawing/2014/main" id="{E9EA7F9C-50D6-877B-319A-003B42EF59FB}"/>
                </a:ext>
              </a:extLst>
            </p:cNvPr>
            <p:cNvSpPr/>
            <p:nvPr/>
          </p:nvSpPr>
          <p:spPr>
            <a:xfrm>
              <a:off x="2456009" y="3011964"/>
              <a:ext cx="57150" cy="57150"/>
            </a:xfrm>
            <a:custGeom>
              <a:avLst/>
              <a:gdLst>
                <a:gd name="connsiteX0" fmla="*/ 10489 w 57150"/>
                <a:gd name="connsiteY0" fmla="*/ 52339 h 57150"/>
                <a:gd name="connsiteX1" fmla="*/ 8870 w 57150"/>
                <a:gd name="connsiteY1" fmla="*/ 50910 h 57150"/>
                <a:gd name="connsiteX2" fmla="*/ 2107 w 57150"/>
                <a:gd name="connsiteY2" fmla="*/ 28527 h 57150"/>
                <a:gd name="connsiteX3" fmla="*/ 21253 w 57150"/>
                <a:gd name="connsiteY3" fmla="*/ 6524 h 57150"/>
                <a:gd name="connsiteX4" fmla="*/ 48780 w 57150"/>
                <a:gd name="connsiteY4" fmla="*/ 4905 h 57150"/>
                <a:gd name="connsiteX5" fmla="*/ 50399 w 57150"/>
                <a:gd name="connsiteY5" fmla="*/ 6333 h 57150"/>
                <a:gd name="connsiteX6" fmla="*/ 52780 w 57150"/>
                <a:gd name="connsiteY6" fmla="*/ 33765 h 57150"/>
                <a:gd name="connsiteX7" fmla="*/ 33635 w 57150"/>
                <a:gd name="connsiteY7" fmla="*/ 55768 h 57150"/>
                <a:gd name="connsiteX8" fmla="*/ 10489 w 57150"/>
                <a:gd name="connsiteY8" fmla="*/ 52339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50" h="57150">
                  <a:moveTo>
                    <a:pt x="10489" y="52339"/>
                  </a:moveTo>
                  <a:lnTo>
                    <a:pt x="8870" y="50910"/>
                  </a:lnTo>
                  <a:cubicBezTo>
                    <a:pt x="679" y="43767"/>
                    <a:pt x="-2465" y="33765"/>
                    <a:pt x="2107" y="28527"/>
                  </a:cubicBezTo>
                  <a:lnTo>
                    <a:pt x="21253" y="6524"/>
                  </a:lnTo>
                  <a:cubicBezTo>
                    <a:pt x="28111" y="-1477"/>
                    <a:pt x="40493" y="-2239"/>
                    <a:pt x="48780" y="4905"/>
                  </a:cubicBezTo>
                  <a:lnTo>
                    <a:pt x="50399" y="6333"/>
                  </a:lnTo>
                  <a:cubicBezTo>
                    <a:pt x="58591" y="13477"/>
                    <a:pt x="59734" y="25764"/>
                    <a:pt x="52780" y="33765"/>
                  </a:cubicBezTo>
                  <a:lnTo>
                    <a:pt x="33635" y="55768"/>
                  </a:lnTo>
                  <a:cubicBezTo>
                    <a:pt x="29063" y="61007"/>
                    <a:pt x="18681" y="59483"/>
                    <a:pt x="10489" y="52339"/>
                  </a:cubicBezTo>
                  <a:close/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orma Livre: Forma 39">
              <a:extLst>
                <a:ext uri="{FF2B5EF4-FFF2-40B4-BE49-F238E27FC236}">
                  <a16:creationId xmlns:a16="http://schemas.microsoft.com/office/drawing/2014/main" id="{19262994-E502-72ED-AD85-3BE9048B6DE2}"/>
                </a:ext>
              </a:extLst>
            </p:cNvPr>
            <p:cNvSpPr/>
            <p:nvPr/>
          </p:nvSpPr>
          <p:spPr>
            <a:xfrm>
              <a:off x="2174652" y="2887385"/>
              <a:ext cx="104775" cy="247650"/>
            </a:xfrm>
            <a:custGeom>
              <a:avLst/>
              <a:gdLst>
                <a:gd name="connsiteX0" fmla="*/ 104775 w 104775"/>
                <a:gd name="connsiteY0" fmla="*/ 249880 h 247650"/>
                <a:gd name="connsiteX1" fmla="*/ 86487 w 104775"/>
                <a:gd name="connsiteY1" fmla="*/ 114149 h 247650"/>
                <a:gd name="connsiteX2" fmla="*/ 100203 w 104775"/>
                <a:gd name="connsiteY2" fmla="*/ 45950 h 247650"/>
                <a:gd name="connsiteX3" fmla="*/ 87916 w 104775"/>
                <a:gd name="connsiteY3" fmla="*/ 6421 h 247650"/>
                <a:gd name="connsiteX4" fmla="*/ 59531 w 104775"/>
                <a:gd name="connsiteY4" fmla="*/ 9945 h 247650"/>
                <a:gd name="connsiteX5" fmla="*/ 31433 w 104775"/>
                <a:gd name="connsiteY5" fmla="*/ 98337 h 247650"/>
                <a:gd name="connsiteX6" fmla="*/ 21431 w 104775"/>
                <a:gd name="connsiteY6" fmla="*/ 177109 h 247650"/>
                <a:gd name="connsiteX7" fmla="*/ 0 w 104775"/>
                <a:gd name="connsiteY7" fmla="*/ 211780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775" h="247650">
                  <a:moveTo>
                    <a:pt x="104775" y="249880"/>
                  </a:moveTo>
                  <a:cubicBezTo>
                    <a:pt x="125444" y="190825"/>
                    <a:pt x="105251" y="137771"/>
                    <a:pt x="86487" y="114149"/>
                  </a:cubicBezTo>
                  <a:cubicBezTo>
                    <a:pt x="94298" y="90527"/>
                    <a:pt x="97536" y="73668"/>
                    <a:pt x="100203" y="45950"/>
                  </a:cubicBezTo>
                  <a:cubicBezTo>
                    <a:pt x="101727" y="29948"/>
                    <a:pt x="94964" y="16327"/>
                    <a:pt x="87916" y="6421"/>
                  </a:cubicBezTo>
                  <a:cubicBezTo>
                    <a:pt x="80677" y="-3675"/>
                    <a:pt x="63056" y="-1389"/>
                    <a:pt x="59531" y="9945"/>
                  </a:cubicBezTo>
                  <a:cubicBezTo>
                    <a:pt x="43910" y="59761"/>
                    <a:pt x="41053" y="73382"/>
                    <a:pt x="31433" y="98337"/>
                  </a:cubicBezTo>
                  <a:cubicBezTo>
                    <a:pt x="20669" y="126341"/>
                    <a:pt x="26860" y="165584"/>
                    <a:pt x="21431" y="177109"/>
                  </a:cubicBezTo>
                  <a:cubicBezTo>
                    <a:pt x="20383" y="179395"/>
                    <a:pt x="0" y="211780"/>
                    <a:pt x="0" y="211780"/>
                  </a:cubicBezTo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orma Livre: Forma 40">
              <a:extLst>
                <a:ext uri="{FF2B5EF4-FFF2-40B4-BE49-F238E27FC236}">
                  <a16:creationId xmlns:a16="http://schemas.microsoft.com/office/drawing/2014/main" id="{B1002409-97B9-0E58-AC56-A211F25FA5ED}"/>
                </a:ext>
              </a:extLst>
            </p:cNvPr>
            <p:cNvSpPr/>
            <p:nvPr/>
          </p:nvSpPr>
          <p:spPr>
            <a:xfrm>
              <a:off x="2455919" y="2951204"/>
              <a:ext cx="57150" cy="57150"/>
            </a:xfrm>
            <a:custGeom>
              <a:avLst/>
              <a:gdLst>
                <a:gd name="connsiteX0" fmla="*/ 10674 w 57150"/>
                <a:gd name="connsiteY0" fmla="*/ 53187 h 57150"/>
                <a:gd name="connsiteX1" fmla="*/ 9055 w 57150"/>
                <a:gd name="connsiteY1" fmla="*/ 51758 h 57150"/>
                <a:gd name="connsiteX2" fmla="*/ 2102 w 57150"/>
                <a:gd name="connsiteY2" fmla="*/ 28994 h 57150"/>
                <a:gd name="connsiteX3" fmla="*/ 21533 w 57150"/>
                <a:gd name="connsiteY3" fmla="*/ 6610 h 57150"/>
                <a:gd name="connsiteX4" fmla="*/ 49536 w 57150"/>
                <a:gd name="connsiteY4" fmla="*/ 4895 h 57150"/>
                <a:gd name="connsiteX5" fmla="*/ 51155 w 57150"/>
                <a:gd name="connsiteY5" fmla="*/ 6324 h 57150"/>
                <a:gd name="connsiteX6" fmla="*/ 53632 w 57150"/>
                <a:gd name="connsiteY6" fmla="*/ 34232 h 57150"/>
                <a:gd name="connsiteX7" fmla="*/ 34201 w 57150"/>
                <a:gd name="connsiteY7" fmla="*/ 56616 h 57150"/>
                <a:gd name="connsiteX8" fmla="*/ 10674 w 57150"/>
                <a:gd name="connsiteY8" fmla="*/ 53187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50" h="57150">
                  <a:moveTo>
                    <a:pt x="10674" y="53187"/>
                  </a:moveTo>
                  <a:lnTo>
                    <a:pt x="9055" y="51758"/>
                  </a:lnTo>
                  <a:cubicBezTo>
                    <a:pt x="673" y="44519"/>
                    <a:pt x="-2471" y="34328"/>
                    <a:pt x="2102" y="28994"/>
                  </a:cubicBezTo>
                  <a:lnTo>
                    <a:pt x="21533" y="6610"/>
                  </a:lnTo>
                  <a:cubicBezTo>
                    <a:pt x="28581" y="-1486"/>
                    <a:pt x="41154" y="-2248"/>
                    <a:pt x="49536" y="4895"/>
                  </a:cubicBezTo>
                  <a:lnTo>
                    <a:pt x="51155" y="6324"/>
                  </a:lnTo>
                  <a:cubicBezTo>
                    <a:pt x="59537" y="13563"/>
                    <a:pt x="60585" y="26136"/>
                    <a:pt x="53632" y="34232"/>
                  </a:cubicBezTo>
                  <a:lnTo>
                    <a:pt x="34201" y="56616"/>
                  </a:lnTo>
                  <a:cubicBezTo>
                    <a:pt x="29629" y="62045"/>
                    <a:pt x="19056" y="60426"/>
                    <a:pt x="10674" y="53187"/>
                  </a:cubicBezTo>
                  <a:close/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orma Livre: Forma 41">
              <a:extLst>
                <a:ext uri="{FF2B5EF4-FFF2-40B4-BE49-F238E27FC236}">
                  <a16:creationId xmlns:a16="http://schemas.microsoft.com/office/drawing/2014/main" id="{7419A89B-7AAB-7F57-B598-F2463C9604BB}"/>
                </a:ext>
              </a:extLst>
            </p:cNvPr>
            <p:cNvSpPr/>
            <p:nvPr/>
          </p:nvSpPr>
          <p:spPr>
            <a:xfrm>
              <a:off x="2455919" y="2892911"/>
              <a:ext cx="57150" cy="57150"/>
            </a:xfrm>
            <a:custGeom>
              <a:avLst/>
              <a:gdLst>
                <a:gd name="connsiteX0" fmla="*/ 10674 w 57150"/>
                <a:gd name="connsiteY0" fmla="*/ 53187 h 57150"/>
                <a:gd name="connsiteX1" fmla="*/ 9055 w 57150"/>
                <a:gd name="connsiteY1" fmla="*/ 51758 h 57150"/>
                <a:gd name="connsiteX2" fmla="*/ 2102 w 57150"/>
                <a:gd name="connsiteY2" fmla="*/ 28994 h 57150"/>
                <a:gd name="connsiteX3" fmla="*/ 21533 w 57150"/>
                <a:gd name="connsiteY3" fmla="*/ 6610 h 57150"/>
                <a:gd name="connsiteX4" fmla="*/ 49536 w 57150"/>
                <a:gd name="connsiteY4" fmla="*/ 4895 h 57150"/>
                <a:gd name="connsiteX5" fmla="*/ 51155 w 57150"/>
                <a:gd name="connsiteY5" fmla="*/ 6324 h 57150"/>
                <a:gd name="connsiteX6" fmla="*/ 53632 w 57150"/>
                <a:gd name="connsiteY6" fmla="*/ 34232 h 57150"/>
                <a:gd name="connsiteX7" fmla="*/ 34201 w 57150"/>
                <a:gd name="connsiteY7" fmla="*/ 56616 h 57150"/>
                <a:gd name="connsiteX8" fmla="*/ 10674 w 57150"/>
                <a:gd name="connsiteY8" fmla="*/ 53187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50" h="57150">
                  <a:moveTo>
                    <a:pt x="10674" y="53187"/>
                  </a:moveTo>
                  <a:lnTo>
                    <a:pt x="9055" y="51758"/>
                  </a:lnTo>
                  <a:cubicBezTo>
                    <a:pt x="673" y="44519"/>
                    <a:pt x="-2471" y="34328"/>
                    <a:pt x="2102" y="28994"/>
                  </a:cubicBezTo>
                  <a:lnTo>
                    <a:pt x="21533" y="6610"/>
                  </a:lnTo>
                  <a:cubicBezTo>
                    <a:pt x="28581" y="-1486"/>
                    <a:pt x="41154" y="-2248"/>
                    <a:pt x="49536" y="4895"/>
                  </a:cubicBezTo>
                  <a:lnTo>
                    <a:pt x="51155" y="6324"/>
                  </a:lnTo>
                  <a:cubicBezTo>
                    <a:pt x="59537" y="13563"/>
                    <a:pt x="60585" y="26136"/>
                    <a:pt x="53632" y="34232"/>
                  </a:cubicBezTo>
                  <a:lnTo>
                    <a:pt x="34201" y="56616"/>
                  </a:lnTo>
                  <a:cubicBezTo>
                    <a:pt x="29629" y="61950"/>
                    <a:pt x="19056" y="60331"/>
                    <a:pt x="10674" y="53187"/>
                  </a:cubicBezTo>
                  <a:close/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orma Livre: Forma 42">
              <a:extLst>
                <a:ext uri="{FF2B5EF4-FFF2-40B4-BE49-F238E27FC236}">
                  <a16:creationId xmlns:a16="http://schemas.microsoft.com/office/drawing/2014/main" id="{3CF61D46-44C0-0CA0-E090-7FAF4708E67C}"/>
                </a:ext>
              </a:extLst>
            </p:cNvPr>
            <p:cNvSpPr/>
            <p:nvPr/>
          </p:nvSpPr>
          <p:spPr>
            <a:xfrm>
              <a:off x="2346102" y="3089640"/>
              <a:ext cx="28575" cy="9525"/>
            </a:xfrm>
            <a:custGeom>
              <a:avLst/>
              <a:gdLst>
                <a:gd name="connsiteX0" fmla="*/ 0 w 28575"/>
                <a:gd name="connsiteY0" fmla="*/ 0 h 0"/>
                <a:gd name="connsiteX1" fmla="*/ 28575 w 2857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">
                  <a:moveTo>
                    <a:pt x="0" y="0"/>
                  </a:moveTo>
                  <a:lnTo>
                    <a:pt x="28575" y="0"/>
                  </a:lnTo>
                </a:path>
              </a:pathLst>
            </a:custGeom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orma Livre: Forma 43">
              <a:extLst>
                <a:ext uri="{FF2B5EF4-FFF2-40B4-BE49-F238E27FC236}">
                  <a16:creationId xmlns:a16="http://schemas.microsoft.com/office/drawing/2014/main" id="{DCB34C1D-EE37-85CD-4824-68E3FE528740}"/>
                </a:ext>
              </a:extLst>
            </p:cNvPr>
            <p:cNvSpPr/>
            <p:nvPr/>
          </p:nvSpPr>
          <p:spPr>
            <a:xfrm>
              <a:off x="2250852" y="2765790"/>
              <a:ext cx="219075" cy="123825"/>
            </a:xfrm>
            <a:custGeom>
              <a:avLst/>
              <a:gdLst>
                <a:gd name="connsiteX0" fmla="*/ 219075 w 219075"/>
                <a:gd name="connsiteY0" fmla="*/ 76200 h 123825"/>
                <a:gd name="connsiteX1" fmla="*/ 219075 w 219075"/>
                <a:gd name="connsiteY1" fmla="*/ 28575 h 123825"/>
                <a:gd name="connsiteX2" fmla="*/ 190500 w 219075"/>
                <a:gd name="connsiteY2" fmla="*/ 0 h 123825"/>
                <a:gd name="connsiteX3" fmla="*/ 28575 w 219075"/>
                <a:gd name="connsiteY3" fmla="*/ 0 h 123825"/>
                <a:gd name="connsiteX4" fmla="*/ 0 w 219075"/>
                <a:gd name="connsiteY4" fmla="*/ 28575 h 123825"/>
                <a:gd name="connsiteX5" fmla="*/ 0 w 219075"/>
                <a:gd name="connsiteY5" fmla="*/ 123825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075" h="123825">
                  <a:moveTo>
                    <a:pt x="219075" y="76200"/>
                  </a:moveTo>
                  <a:lnTo>
                    <a:pt x="219075" y="28575"/>
                  </a:lnTo>
                  <a:cubicBezTo>
                    <a:pt x="219075" y="12763"/>
                    <a:pt x="206312" y="0"/>
                    <a:pt x="190500" y="0"/>
                  </a:cubicBezTo>
                  <a:lnTo>
                    <a:pt x="28575" y="0"/>
                  </a:lnTo>
                  <a:cubicBezTo>
                    <a:pt x="12763" y="0"/>
                    <a:pt x="0" y="12763"/>
                    <a:pt x="0" y="28575"/>
                  </a:cubicBezTo>
                  <a:cubicBezTo>
                    <a:pt x="0" y="56674"/>
                    <a:pt x="0" y="123825"/>
                    <a:pt x="0" y="123825"/>
                  </a:cubicBezTo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orma Livre: Forma 44">
              <a:extLst>
                <a:ext uri="{FF2B5EF4-FFF2-40B4-BE49-F238E27FC236}">
                  <a16:creationId xmlns:a16="http://schemas.microsoft.com/office/drawing/2014/main" id="{7673BE8F-13EE-BC14-8C95-04421B7DE74C}"/>
                </a:ext>
              </a:extLst>
            </p:cNvPr>
            <p:cNvSpPr/>
            <p:nvPr/>
          </p:nvSpPr>
          <p:spPr>
            <a:xfrm>
              <a:off x="2279427" y="3070590"/>
              <a:ext cx="190500" cy="47625"/>
            </a:xfrm>
            <a:custGeom>
              <a:avLst/>
              <a:gdLst>
                <a:gd name="connsiteX0" fmla="*/ 0 w 190500"/>
                <a:gd name="connsiteY0" fmla="*/ 47625 h 47625"/>
                <a:gd name="connsiteX1" fmla="*/ 161925 w 190500"/>
                <a:gd name="connsiteY1" fmla="*/ 47625 h 47625"/>
                <a:gd name="connsiteX2" fmla="*/ 190500 w 190500"/>
                <a:gd name="connsiteY2" fmla="*/ 19050 h 47625"/>
                <a:gd name="connsiteX3" fmla="*/ 190500 w 190500"/>
                <a:gd name="connsiteY3" fmla="*/ 19050 h 47625"/>
                <a:gd name="connsiteX4" fmla="*/ 190500 w 190500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0" h="47625">
                  <a:moveTo>
                    <a:pt x="0" y="47625"/>
                  </a:moveTo>
                  <a:lnTo>
                    <a:pt x="161925" y="47625"/>
                  </a:lnTo>
                  <a:cubicBezTo>
                    <a:pt x="177737" y="47625"/>
                    <a:pt x="190500" y="34862"/>
                    <a:pt x="190500" y="19050"/>
                  </a:cubicBezTo>
                  <a:lnTo>
                    <a:pt x="190500" y="19050"/>
                  </a:lnTo>
                  <a:lnTo>
                    <a:pt x="190500" y="0"/>
                  </a:lnTo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orma Livre: Forma 45">
              <a:extLst>
                <a:ext uri="{FF2B5EF4-FFF2-40B4-BE49-F238E27FC236}">
                  <a16:creationId xmlns:a16="http://schemas.microsoft.com/office/drawing/2014/main" id="{B193A2E5-F511-B33E-9D8D-3CBCCDAC4BC3}"/>
                </a:ext>
              </a:extLst>
            </p:cNvPr>
            <p:cNvSpPr/>
            <p:nvPr/>
          </p:nvSpPr>
          <p:spPr>
            <a:xfrm>
              <a:off x="2107977" y="3080115"/>
              <a:ext cx="171450" cy="123825"/>
            </a:xfrm>
            <a:custGeom>
              <a:avLst/>
              <a:gdLst>
                <a:gd name="connsiteX0" fmla="*/ 171450 w 171450"/>
                <a:gd name="connsiteY0" fmla="*/ 123825 h 123825"/>
                <a:gd name="connsiteX1" fmla="*/ 47625 w 171450"/>
                <a:gd name="connsiteY1" fmla="*/ 0 h 123825"/>
                <a:gd name="connsiteX2" fmla="*/ 0 w 171450"/>
                <a:gd name="connsiteY2" fmla="*/ 47625 h 123825"/>
                <a:gd name="connsiteX3" fmla="*/ 76200 w 171450"/>
                <a:gd name="connsiteY3" fmla="*/ 123825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450" h="123825">
                  <a:moveTo>
                    <a:pt x="171450" y="123825"/>
                  </a:moveTo>
                  <a:lnTo>
                    <a:pt x="47625" y="0"/>
                  </a:lnTo>
                  <a:lnTo>
                    <a:pt x="0" y="47625"/>
                  </a:lnTo>
                  <a:lnTo>
                    <a:pt x="76200" y="123825"/>
                  </a:lnTo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orma Livre: Forma 46">
              <a:extLst>
                <a:ext uri="{FF2B5EF4-FFF2-40B4-BE49-F238E27FC236}">
                  <a16:creationId xmlns:a16="http://schemas.microsoft.com/office/drawing/2014/main" id="{C181C1C0-FD93-EB8E-9775-A494DB66C588}"/>
                </a:ext>
              </a:extLst>
            </p:cNvPr>
            <p:cNvSpPr/>
            <p:nvPr/>
          </p:nvSpPr>
          <p:spPr>
            <a:xfrm>
              <a:off x="2155602" y="3127740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9525 w 9525"/>
                <a:gd name="connsiteY1" fmla="*/ 9525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9525" y="9525"/>
                  </a:lnTo>
                </a:path>
              </a:pathLst>
            </a:custGeom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orma Livre: Forma 47">
              <a:extLst>
                <a:ext uri="{FF2B5EF4-FFF2-40B4-BE49-F238E27FC236}">
                  <a16:creationId xmlns:a16="http://schemas.microsoft.com/office/drawing/2014/main" id="{E7477957-A932-293B-C28F-BF6699B87E1D}"/>
                </a:ext>
              </a:extLst>
            </p:cNvPr>
            <p:cNvSpPr/>
            <p:nvPr/>
          </p:nvSpPr>
          <p:spPr>
            <a:xfrm>
              <a:off x="2288952" y="3061065"/>
              <a:ext cx="171450" cy="9525"/>
            </a:xfrm>
            <a:custGeom>
              <a:avLst/>
              <a:gdLst>
                <a:gd name="connsiteX0" fmla="*/ 0 w 171450"/>
                <a:gd name="connsiteY0" fmla="*/ 0 h 0"/>
                <a:gd name="connsiteX1" fmla="*/ 171450 w 17145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1450">
                  <a:moveTo>
                    <a:pt x="0" y="0"/>
                  </a:moveTo>
                  <a:lnTo>
                    <a:pt x="171450" y="0"/>
                  </a:lnTo>
                </a:path>
              </a:pathLst>
            </a:custGeom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orma Livre: Forma 48">
              <a:extLst>
                <a:ext uri="{FF2B5EF4-FFF2-40B4-BE49-F238E27FC236}">
                  <a16:creationId xmlns:a16="http://schemas.microsoft.com/office/drawing/2014/main" id="{AA9EEC17-2243-22B1-D6B7-02FA663DB9A9}"/>
                </a:ext>
              </a:extLst>
            </p:cNvPr>
            <p:cNvSpPr/>
            <p:nvPr/>
          </p:nvSpPr>
          <p:spPr>
            <a:xfrm>
              <a:off x="2250852" y="2813415"/>
              <a:ext cx="219075" cy="9525"/>
            </a:xfrm>
            <a:custGeom>
              <a:avLst/>
              <a:gdLst>
                <a:gd name="connsiteX0" fmla="*/ 0 w 219075"/>
                <a:gd name="connsiteY0" fmla="*/ 0 h 0"/>
                <a:gd name="connsiteX1" fmla="*/ 219075 w 21907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075">
                  <a:moveTo>
                    <a:pt x="0" y="0"/>
                  </a:moveTo>
                  <a:lnTo>
                    <a:pt x="219075" y="0"/>
                  </a:lnTo>
                </a:path>
              </a:pathLst>
            </a:custGeom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orma Livre: Forma 49">
              <a:extLst>
                <a:ext uri="{FF2B5EF4-FFF2-40B4-BE49-F238E27FC236}">
                  <a16:creationId xmlns:a16="http://schemas.microsoft.com/office/drawing/2014/main" id="{371E1845-74C8-E181-EC34-91AE198B6A61}"/>
                </a:ext>
              </a:extLst>
            </p:cNvPr>
            <p:cNvSpPr/>
            <p:nvPr/>
          </p:nvSpPr>
          <p:spPr>
            <a:xfrm>
              <a:off x="2308764" y="2866469"/>
              <a:ext cx="104775" cy="104775"/>
            </a:xfrm>
            <a:custGeom>
              <a:avLst/>
              <a:gdLst>
                <a:gd name="connsiteX0" fmla="*/ 56388 w 104775"/>
                <a:gd name="connsiteY0" fmla="*/ 0 h 104775"/>
                <a:gd name="connsiteX1" fmla="*/ 76009 w 104775"/>
                <a:gd name="connsiteY1" fmla="*/ 34290 h 104775"/>
                <a:gd name="connsiteX2" fmla="*/ 112776 w 104775"/>
                <a:gd name="connsiteY2" fmla="*/ 40957 h 104775"/>
                <a:gd name="connsiteX3" fmla="*/ 88201 w 104775"/>
                <a:gd name="connsiteY3" fmla="*/ 73628 h 104775"/>
                <a:gd name="connsiteX4" fmla="*/ 91250 w 104775"/>
                <a:gd name="connsiteY4" fmla="*/ 109156 h 104775"/>
                <a:gd name="connsiteX5" fmla="*/ 56388 w 104775"/>
                <a:gd name="connsiteY5" fmla="*/ 98203 h 104775"/>
                <a:gd name="connsiteX6" fmla="*/ 21526 w 104775"/>
                <a:gd name="connsiteY6" fmla="*/ 109633 h 104775"/>
                <a:gd name="connsiteX7" fmla="*/ 24575 w 104775"/>
                <a:gd name="connsiteY7" fmla="*/ 73533 h 104775"/>
                <a:gd name="connsiteX8" fmla="*/ 0 w 104775"/>
                <a:gd name="connsiteY8" fmla="*/ 40957 h 104775"/>
                <a:gd name="connsiteX9" fmla="*/ 36767 w 104775"/>
                <a:gd name="connsiteY9" fmla="*/ 34290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" h="104775">
                  <a:moveTo>
                    <a:pt x="56388" y="0"/>
                  </a:moveTo>
                  <a:lnTo>
                    <a:pt x="76009" y="34290"/>
                  </a:lnTo>
                  <a:lnTo>
                    <a:pt x="112776" y="40957"/>
                  </a:lnTo>
                  <a:lnTo>
                    <a:pt x="88201" y="73628"/>
                  </a:lnTo>
                  <a:lnTo>
                    <a:pt x="91250" y="109156"/>
                  </a:lnTo>
                  <a:lnTo>
                    <a:pt x="56388" y="98203"/>
                  </a:lnTo>
                  <a:lnTo>
                    <a:pt x="21526" y="109633"/>
                  </a:lnTo>
                  <a:lnTo>
                    <a:pt x="24575" y="73533"/>
                  </a:lnTo>
                  <a:lnTo>
                    <a:pt x="0" y="40957"/>
                  </a:lnTo>
                  <a:lnTo>
                    <a:pt x="36767" y="34290"/>
                  </a:lnTo>
                  <a:close/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9" name="Agrupar 58">
            <a:extLst>
              <a:ext uri="{FF2B5EF4-FFF2-40B4-BE49-F238E27FC236}">
                <a16:creationId xmlns:a16="http://schemas.microsoft.com/office/drawing/2014/main" id="{ADB5F301-CDF3-A9AF-D013-F79317FFF5A3}"/>
              </a:ext>
            </a:extLst>
          </p:cNvPr>
          <p:cNvGrpSpPr/>
          <p:nvPr/>
        </p:nvGrpSpPr>
        <p:grpSpPr>
          <a:xfrm>
            <a:off x="9166652" y="2654131"/>
            <a:ext cx="1090800" cy="1180800"/>
            <a:chOff x="2107977" y="2765790"/>
            <a:chExt cx="405182" cy="438150"/>
          </a:xfrm>
        </p:grpSpPr>
        <p:sp>
          <p:nvSpPr>
            <p:cNvPr id="60" name="Forma Livre: Forma 59">
              <a:extLst>
                <a:ext uri="{FF2B5EF4-FFF2-40B4-BE49-F238E27FC236}">
                  <a16:creationId xmlns:a16="http://schemas.microsoft.com/office/drawing/2014/main" id="{42FCCA12-E21C-7F63-C437-983A1DA4EFA7}"/>
                </a:ext>
              </a:extLst>
            </p:cNvPr>
            <p:cNvSpPr/>
            <p:nvPr/>
          </p:nvSpPr>
          <p:spPr>
            <a:xfrm>
              <a:off x="2450814" y="2832345"/>
              <a:ext cx="57150" cy="57150"/>
            </a:xfrm>
            <a:custGeom>
              <a:avLst/>
              <a:gdLst>
                <a:gd name="connsiteX0" fmla="*/ 9683 w 57150"/>
                <a:gd name="connsiteY0" fmla="*/ 53651 h 57150"/>
                <a:gd name="connsiteX1" fmla="*/ 8064 w 57150"/>
                <a:gd name="connsiteY1" fmla="*/ 51936 h 57150"/>
                <a:gd name="connsiteX2" fmla="*/ 2921 w 57150"/>
                <a:gd name="connsiteY2" fmla="*/ 26981 h 57150"/>
                <a:gd name="connsiteX3" fmla="*/ 25685 w 57150"/>
                <a:gd name="connsiteY3" fmla="*/ 5454 h 57150"/>
                <a:gd name="connsiteX4" fmla="*/ 55594 w 57150"/>
                <a:gd name="connsiteY4" fmla="*/ 6883 h 57150"/>
                <a:gd name="connsiteX5" fmla="*/ 57213 w 57150"/>
                <a:gd name="connsiteY5" fmla="*/ 8598 h 57150"/>
                <a:gd name="connsiteX6" fmla="*/ 57118 w 57150"/>
                <a:gd name="connsiteY6" fmla="*/ 38506 h 57150"/>
                <a:gd name="connsiteX7" fmla="*/ 34353 w 57150"/>
                <a:gd name="connsiteY7" fmla="*/ 60033 h 57150"/>
                <a:gd name="connsiteX8" fmla="*/ 9683 w 57150"/>
                <a:gd name="connsiteY8" fmla="*/ 53651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50" h="57150">
                  <a:moveTo>
                    <a:pt x="9683" y="53651"/>
                  </a:moveTo>
                  <a:lnTo>
                    <a:pt x="8064" y="51936"/>
                  </a:lnTo>
                  <a:cubicBezTo>
                    <a:pt x="-127" y="43269"/>
                    <a:pt x="-2509" y="32029"/>
                    <a:pt x="2921" y="26981"/>
                  </a:cubicBezTo>
                  <a:lnTo>
                    <a:pt x="25685" y="5454"/>
                  </a:lnTo>
                  <a:cubicBezTo>
                    <a:pt x="33972" y="-2356"/>
                    <a:pt x="47402" y="-1689"/>
                    <a:pt x="55594" y="6883"/>
                  </a:cubicBezTo>
                  <a:lnTo>
                    <a:pt x="57213" y="8598"/>
                  </a:lnTo>
                  <a:cubicBezTo>
                    <a:pt x="65405" y="17265"/>
                    <a:pt x="65405" y="30696"/>
                    <a:pt x="57118" y="38506"/>
                  </a:cubicBezTo>
                  <a:lnTo>
                    <a:pt x="34353" y="60033"/>
                  </a:lnTo>
                  <a:cubicBezTo>
                    <a:pt x="29019" y="65271"/>
                    <a:pt x="17875" y="62319"/>
                    <a:pt x="9683" y="53651"/>
                  </a:cubicBezTo>
                  <a:close/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orma Livre: Forma 60">
              <a:extLst>
                <a:ext uri="{FF2B5EF4-FFF2-40B4-BE49-F238E27FC236}">
                  <a16:creationId xmlns:a16="http://schemas.microsoft.com/office/drawing/2014/main" id="{0D6EDFDA-B642-DAF6-EDD3-4561F3888BFA}"/>
                </a:ext>
              </a:extLst>
            </p:cNvPr>
            <p:cNvSpPr/>
            <p:nvPr/>
          </p:nvSpPr>
          <p:spPr>
            <a:xfrm>
              <a:off x="2269902" y="3118215"/>
              <a:ext cx="142875" cy="85725"/>
            </a:xfrm>
            <a:custGeom>
              <a:avLst/>
              <a:gdLst>
                <a:gd name="connsiteX0" fmla="*/ 0 w 142875"/>
                <a:gd name="connsiteY0" fmla="*/ 85725 h 85725"/>
                <a:gd name="connsiteX1" fmla="*/ 28575 w 142875"/>
                <a:gd name="connsiteY1" fmla="*/ 57150 h 85725"/>
                <a:gd name="connsiteX2" fmla="*/ 142875 w 142875"/>
                <a:gd name="connsiteY2" fmla="*/ 0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2875" h="85725">
                  <a:moveTo>
                    <a:pt x="0" y="85725"/>
                  </a:moveTo>
                  <a:cubicBezTo>
                    <a:pt x="0" y="85725"/>
                    <a:pt x="18574" y="66675"/>
                    <a:pt x="28575" y="57150"/>
                  </a:cubicBezTo>
                  <a:cubicBezTo>
                    <a:pt x="106204" y="62865"/>
                    <a:pt x="135160" y="9049"/>
                    <a:pt x="142875" y="0"/>
                  </a:cubicBezTo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orma Livre: Forma 61">
              <a:extLst>
                <a:ext uri="{FF2B5EF4-FFF2-40B4-BE49-F238E27FC236}">
                  <a16:creationId xmlns:a16="http://schemas.microsoft.com/office/drawing/2014/main" id="{91B81908-2B0B-2F0E-3A78-2269EDA1F9AF}"/>
                </a:ext>
              </a:extLst>
            </p:cNvPr>
            <p:cNvSpPr/>
            <p:nvPr/>
          </p:nvSpPr>
          <p:spPr>
            <a:xfrm>
              <a:off x="2456009" y="3011964"/>
              <a:ext cx="57150" cy="57150"/>
            </a:xfrm>
            <a:custGeom>
              <a:avLst/>
              <a:gdLst>
                <a:gd name="connsiteX0" fmla="*/ 10489 w 57150"/>
                <a:gd name="connsiteY0" fmla="*/ 52339 h 57150"/>
                <a:gd name="connsiteX1" fmla="*/ 8870 w 57150"/>
                <a:gd name="connsiteY1" fmla="*/ 50910 h 57150"/>
                <a:gd name="connsiteX2" fmla="*/ 2107 w 57150"/>
                <a:gd name="connsiteY2" fmla="*/ 28527 h 57150"/>
                <a:gd name="connsiteX3" fmla="*/ 21253 w 57150"/>
                <a:gd name="connsiteY3" fmla="*/ 6524 h 57150"/>
                <a:gd name="connsiteX4" fmla="*/ 48780 w 57150"/>
                <a:gd name="connsiteY4" fmla="*/ 4905 h 57150"/>
                <a:gd name="connsiteX5" fmla="*/ 50399 w 57150"/>
                <a:gd name="connsiteY5" fmla="*/ 6333 h 57150"/>
                <a:gd name="connsiteX6" fmla="*/ 52780 w 57150"/>
                <a:gd name="connsiteY6" fmla="*/ 33765 h 57150"/>
                <a:gd name="connsiteX7" fmla="*/ 33635 w 57150"/>
                <a:gd name="connsiteY7" fmla="*/ 55768 h 57150"/>
                <a:gd name="connsiteX8" fmla="*/ 10489 w 57150"/>
                <a:gd name="connsiteY8" fmla="*/ 52339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50" h="57150">
                  <a:moveTo>
                    <a:pt x="10489" y="52339"/>
                  </a:moveTo>
                  <a:lnTo>
                    <a:pt x="8870" y="50910"/>
                  </a:lnTo>
                  <a:cubicBezTo>
                    <a:pt x="679" y="43767"/>
                    <a:pt x="-2465" y="33765"/>
                    <a:pt x="2107" y="28527"/>
                  </a:cubicBezTo>
                  <a:lnTo>
                    <a:pt x="21253" y="6524"/>
                  </a:lnTo>
                  <a:cubicBezTo>
                    <a:pt x="28111" y="-1477"/>
                    <a:pt x="40493" y="-2239"/>
                    <a:pt x="48780" y="4905"/>
                  </a:cubicBezTo>
                  <a:lnTo>
                    <a:pt x="50399" y="6333"/>
                  </a:lnTo>
                  <a:cubicBezTo>
                    <a:pt x="58591" y="13477"/>
                    <a:pt x="59734" y="25764"/>
                    <a:pt x="52780" y="33765"/>
                  </a:cubicBezTo>
                  <a:lnTo>
                    <a:pt x="33635" y="55768"/>
                  </a:lnTo>
                  <a:cubicBezTo>
                    <a:pt x="29063" y="61007"/>
                    <a:pt x="18681" y="59483"/>
                    <a:pt x="10489" y="52339"/>
                  </a:cubicBezTo>
                  <a:close/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orma Livre: Forma 62">
              <a:extLst>
                <a:ext uri="{FF2B5EF4-FFF2-40B4-BE49-F238E27FC236}">
                  <a16:creationId xmlns:a16="http://schemas.microsoft.com/office/drawing/2014/main" id="{06E2B52F-363E-8226-F114-50FC97F0FD04}"/>
                </a:ext>
              </a:extLst>
            </p:cNvPr>
            <p:cNvSpPr/>
            <p:nvPr/>
          </p:nvSpPr>
          <p:spPr>
            <a:xfrm>
              <a:off x="2174652" y="2887385"/>
              <a:ext cx="104775" cy="247650"/>
            </a:xfrm>
            <a:custGeom>
              <a:avLst/>
              <a:gdLst>
                <a:gd name="connsiteX0" fmla="*/ 104775 w 104775"/>
                <a:gd name="connsiteY0" fmla="*/ 249880 h 247650"/>
                <a:gd name="connsiteX1" fmla="*/ 86487 w 104775"/>
                <a:gd name="connsiteY1" fmla="*/ 114149 h 247650"/>
                <a:gd name="connsiteX2" fmla="*/ 100203 w 104775"/>
                <a:gd name="connsiteY2" fmla="*/ 45950 h 247650"/>
                <a:gd name="connsiteX3" fmla="*/ 87916 w 104775"/>
                <a:gd name="connsiteY3" fmla="*/ 6421 h 247650"/>
                <a:gd name="connsiteX4" fmla="*/ 59531 w 104775"/>
                <a:gd name="connsiteY4" fmla="*/ 9945 h 247650"/>
                <a:gd name="connsiteX5" fmla="*/ 31433 w 104775"/>
                <a:gd name="connsiteY5" fmla="*/ 98337 h 247650"/>
                <a:gd name="connsiteX6" fmla="*/ 21431 w 104775"/>
                <a:gd name="connsiteY6" fmla="*/ 177109 h 247650"/>
                <a:gd name="connsiteX7" fmla="*/ 0 w 104775"/>
                <a:gd name="connsiteY7" fmla="*/ 211780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775" h="247650">
                  <a:moveTo>
                    <a:pt x="104775" y="249880"/>
                  </a:moveTo>
                  <a:cubicBezTo>
                    <a:pt x="125444" y="190825"/>
                    <a:pt x="105251" y="137771"/>
                    <a:pt x="86487" y="114149"/>
                  </a:cubicBezTo>
                  <a:cubicBezTo>
                    <a:pt x="94298" y="90527"/>
                    <a:pt x="97536" y="73668"/>
                    <a:pt x="100203" y="45950"/>
                  </a:cubicBezTo>
                  <a:cubicBezTo>
                    <a:pt x="101727" y="29948"/>
                    <a:pt x="94964" y="16327"/>
                    <a:pt x="87916" y="6421"/>
                  </a:cubicBezTo>
                  <a:cubicBezTo>
                    <a:pt x="80677" y="-3675"/>
                    <a:pt x="63056" y="-1389"/>
                    <a:pt x="59531" y="9945"/>
                  </a:cubicBezTo>
                  <a:cubicBezTo>
                    <a:pt x="43910" y="59761"/>
                    <a:pt x="41053" y="73382"/>
                    <a:pt x="31433" y="98337"/>
                  </a:cubicBezTo>
                  <a:cubicBezTo>
                    <a:pt x="20669" y="126341"/>
                    <a:pt x="26860" y="165584"/>
                    <a:pt x="21431" y="177109"/>
                  </a:cubicBezTo>
                  <a:cubicBezTo>
                    <a:pt x="20383" y="179395"/>
                    <a:pt x="0" y="211780"/>
                    <a:pt x="0" y="211780"/>
                  </a:cubicBezTo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orma Livre: Forma 63">
              <a:extLst>
                <a:ext uri="{FF2B5EF4-FFF2-40B4-BE49-F238E27FC236}">
                  <a16:creationId xmlns:a16="http://schemas.microsoft.com/office/drawing/2014/main" id="{58D9CC6D-C46B-CD86-8250-57FBE22D929A}"/>
                </a:ext>
              </a:extLst>
            </p:cNvPr>
            <p:cNvSpPr/>
            <p:nvPr/>
          </p:nvSpPr>
          <p:spPr>
            <a:xfrm>
              <a:off x="2455919" y="2951204"/>
              <a:ext cx="57150" cy="57150"/>
            </a:xfrm>
            <a:custGeom>
              <a:avLst/>
              <a:gdLst>
                <a:gd name="connsiteX0" fmla="*/ 10674 w 57150"/>
                <a:gd name="connsiteY0" fmla="*/ 53187 h 57150"/>
                <a:gd name="connsiteX1" fmla="*/ 9055 w 57150"/>
                <a:gd name="connsiteY1" fmla="*/ 51758 h 57150"/>
                <a:gd name="connsiteX2" fmla="*/ 2102 w 57150"/>
                <a:gd name="connsiteY2" fmla="*/ 28994 h 57150"/>
                <a:gd name="connsiteX3" fmla="*/ 21533 w 57150"/>
                <a:gd name="connsiteY3" fmla="*/ 6610 h 57150"/>
                <a:gd name="connsiteX4" fmla="*/ 49536 w 57150"/>
                <a:gd name="connsiteY4" fmla="*/ 4895 h 57150"/>
                <a:gd name="connsiteX5" fmla="*/ 51155 w 57150"/>
                <a:gd name="connsiteY5" fmla="*/ 6324 h 57150"/>
                <a:gd name="connsiteX6" fmla="*/ 53632 w 57150"/>
                <a:gd name="connsiteY6" fmla="*/ 34232 h 57150"/>
                <a:gd name="connsiteX7" fmla="*/ 34201 w 57150"/>
                <a:gd name="connsiteY7" fmla="*/ 56616 h 57150"/>
                <a:gd name="connsiteX8" fmla="*/ 10674 w 57150"/>
                <a:gd name="connsiteY8" fmla="*/ 53187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50" h="57150">
                  <a:moveTo>
                    <a:pt x="10674" y="53187"/>
                  </a:moveTo>
                  <a:lnTo>
                    <a:pt x="9055" y="51758"/>
                  </a:lnTo>
                  <a:cubicBezTo>
                    <a:pt x="673" y="44519"/>
                    <a:pt x="-2471" y="34328"/>
                    <a:pt x="2102" y="28994"/>
                  </a:cubicBezTo>
                  <a:lnTo>
                    <a:pt x="21533" y="6610"/>
                  </a:lnTo>
                  <a:cubicBezTo>
                    <a:pt x="28581" y="-1486"/>
                    <a:pt x="41154" y="-2248"/>
                    <a:pt x="49536" y="4895"/>
                  </a:cubicBezTo>
                  <a:lnTo>
                    <a:pt x="51155" y="6324"/>
                  </a:lnTo>
                  <a:cubicBezTo>
                    <a:pt x="59537" y="13563"/>
                    <a:pt x="60585" y="26136"/>
                    <a:pt x="53632" y="34232"/>
                  </a:cubicBezTo>
                  <a:lnTo>
                    <a:pt x="34201" y="56616"/>
                  </a:lnTo>
                  <a:cubicBezTo>
                    <a:pt x="29629" y="62045"/>
                    <a:pt x="19056" y="60426"/>
                    <a:pt x="10674" y="53187"/>
                  </a:cubicBezTo>
                  <a:close/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orma Livre: Forma 64">
              <a:extLst>
                <a:ext uri="{FF2B5EF4-FFF2-40B4-BE49-F238E27FC236}">
                  <a16:creationId xmlns:a16="http://schemas.microsoft.com/office/drawing/2014/main" id="{B8C8CA28-5E88-087F-B8A8-C1710A67E462}"/>
                </a:ext>
              </a:extLst>
            </p:cNvPr>
            <p:cNvSpPr/>
            <p:nvPr/>
          </p:nvSpPr>
          <p:spPr>
            <a:xfrm>
              <a:off x="2455919" y="2892911"/>
              <a:ext cx="57150" cy="57150"/>
            </a:xfrm>
            <a:custGeom>
              <a:avLst/>
              <a:gdLst>
                <a:gd name="connsiteX0" fmla="*/ 10674 w 57150"/>
                <a:gd name="connsiteY0" fmla="*/ 53187 h 57150"/>
                <a:gd name="connsiteX1" fmla="*/ 9055 w 57150"/>
                <a:gd name="connsiteY1" fmla="*/ 51758 h 57150"/>
                <a:gd name="connsiteX2" fmla="*/ 2102 w 57150"/>
                <a:gd name="connsiteY2" fmla="*/ 28994 h 57150"/>
                <a:gd name="connsiteX3" fmla="*/ 21533 w 57150"/>
                <a:gd name="connsiteY3" fmla="*/ 6610 h 57150"/>
                <a:gd name="connsiteX4" fmla="*/ 49536 w 57150"/>
                <a:gd name="connsiteY4" fmla="*/ 4895 h 57150"/>
                <a:gd name="connsiteX5" fmla="*/ 51155 w 57150"/>
                <a:gd name="connsiteY5" fmla="*/ 6324 h 57150"/>
                <a:gd name="connsiteX6" fmla="*/ 53632 w 57150"/>
                <a:gd name="connsiteY6" fmla="*/ 34232 h 57150"/>
                <a:gd name="connsiteX7" fmla="*/ 34201 w 57150"/>
                <a:gd name="connsiteY7" fmla="*/ 56616 h 57150"/>
                <a:gd name="connsiteX8" fmla="*/ 10674 w 57150"/>
                <a:gd name="connsiteY8" fmla="*/ 53187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50" h="57150">
                  <a:moveTo>
                    <a:pt x="10674" y="53187"/>
                  </a:moveTo>
                  <a:lnTo>
                    <a:pt x="9055" y="51758"/>
                  </a:lnTo>
                  <a:cubicBezTo>
                    <a:pt x="673" y="44519"/>
                    <a:pt x="-2471" y="34328"/>
                    <a:pt x="2102" y="28994"/>
                  </a:cubicBezTo>
                  <a:lnTo>
                    <a:pt x="21533" y="6610"/>
                  </a:lnTo>
                  <a:cubicBezTo>
                    <a:pt x="28581" y="-1486"/>
                    <a:pt x="41154" y="-2248"/>
                    <a:pt x="49536" y="4895"/>
                  </a:cubicBezTo>
                  <a:lnTo>
                    <a:pt x="51155" y="6324"/>
                  </a:lnTo>
                  <a:cubicBezTo>
                    <a:pt x="59537" y="13563"/>
                    <a:pt x="60585" y="26136"/>
                    <a:pt x="53632" y="34232"/>
                  </a:cubicBezTo>
                  <a:lnTo>
                    <a:pt x="34201" y="56616"/>
                  </a:lnTo>
                  <a:cubicBezTo>
                    <a:pt x="29629" y="61950"/>
                    <a:pt x="19056" y="60331"/>
                    <a:pt x="10674" y="53187"/>
                  </a:cubicBezTo>
                  <a:close/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orma Livre: Forma 65">
              <a:extLst>
                <a:ext uri="{FF2B5EF4-FFF2-40B4-BE49-F238E27FC236}">
                  <a16:creationId xmlns:a16="http://schemas.microsoft.com/office/drawing/2014/main" id="{87D1648A-AE20-9BAC-080A-452264460B53}"/>
                </a:ext>
              </a:extLst>
            </p:cNvPr>
            <p:cNvSpPr/>
            <p:nvPr/>
          </p:nvSpPr>
          <p:spPr>
            <a:xfrm>
              <a:off x="2346102" y="3089640"/>
              <a:ext cx="28575" cy="9525"/>
            </a:xfrm>
            <a:custGeom>
              <a:avLst/>
              <a:gdLst>
                <a:gd name="connsiteX0" fmla="*/ 0 w 28575"/>
                <a:gd name="connsiteY0" fmla="*/ 0 h 0"/>
                <a:gd name="connsiteX1" fmla="*/ 28575 w 2857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">
                  <a:moveTo>
                    <a:pt x="0" y="0"/>
                  </a:moveTo>
                  <a:lnTo>
                    <a:pt x="28575" y="0"/>
                  </a:lnTo>
                </a:path>
              </a:pathLst>
            </a:custGeom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orma Livre: Forma 66">
              <a:extLst>
                <a:ext uri="{FF2B5EF4-FFF2-40B4-BE49-F238E27FC236}">
                  <a16:creationId xmlns:a16="http://schemas.microsoft.com/office/drawing/2014/main" id="{224A9F7B-60C6-D0ED-4B99-96D75431BCF9}"/>
                </a:ext>
              </a:extLst>
            </p:cNvPr>
            <p:cNvSpPr/>
            <p:nvPr/>
          </p:nvSpPr>
          <p:spPr>
            <a:xfrm>
              <a:off x="2250852" y="2765790"/>
              <a:ext cx="219075" cy="123825"/>
            </a:xfrm>
            <a:custGeom>
              <a:avLst/>
              <a:gdLst>
                <a:gd name="connsiteX0" fmla="*/ 219075 w 219075"/>
                <a:gd name="connsiteY0" fmla="*/ 76200 h 123825"/>
                <a:gd name="connsiteX1" fmla="*/ 219075 w 219075"/>
                <a:gd name="connsiteY1" fmla="*/ 28575 h 123825"/>
                <a:gd name="connsiteX2" fmla="*/ 190500 w 219075"/>
                <a:gd name="connsiteY2" fmla="*/ 0 h 123825"/>
                <a:gd name="connsiteX3" fmla="*/ 28575 w 219075"/>
                <a:gd name="connsiteY3" fmla="*/ 0 h 123825"/>
                <a:gd name="connsiteX4" fmla="*/ 0 w 219075"/>
                <a:gd name="connsiteY4" fmla="*/ 28575 h 123825"/>
                <a:gd name="connsiteX5" fmla="*/ 0 w 219075"/>
                <a:gd name="connsiteY5" fmla="*/ 123825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075" h="123825">
                  <a:moveTo>
                    <a:pt x="219075" y="76200"/>
                  </a:moveTo>
                  <a:lnTo>
                    <a:pt x="219075" y="28575"/>
                  </a:lnTo>
                  <a:cubicBezTo>
                    <a:pt x="219075" y="12763"/>
                    <a:pt x="206312" y="0"/>
                    <a:pt x="190500" y="0"/>
                  </a:cubicBezTo>
                  <a:lnTo>
                    <a:pt x="28575" y="0"/>
                  </a:lnTo>
                  <a:cubicBezTo>
                    <a:pt x="12763" y="0"/>
                    <a:pt x="0" y="12763"/>
                    <a:pt x="0" y="28575"/>
                  </a:cubicBezTo>
                  <a:cubicBezTo>
                    <a:pt x="0" y="56674"/>
                    <a:pt x="0" y="123825"/>
                    <a:pt x="0" y="123825"/>
                  </a:cubicBezTo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orma Livre: Forma 67">
              <a:extLst>
                <a:ext uri="{FF2B5EF4-FFF2-40B4-BE49-F238E27FC236}">
                  <a16:creationId xmlns:a16="http://schemas.microsoft.com/office/drawing/2014/main" id="{8688BDA1-F368-684C-186B-C8E66D6F94B4}"/>
                </a:ext>
              </a:extLst>
            </p:cNvPr>
            <p:cNvSpPr/>
            <p:nvPr/>
          </p:nvSpPr>
          <p:spPr>
            <a:xfrm>
              <a:off x="2279427" y="3070590"/>
              <a:ext cx="190500" cy="47625"/>
            </a:xfrm>
            <a:custGeom>
              <a:avLst/>
              <a:gdLst>
                <a:gd name="connsiteX0" fmla="*/ 0 w 190500"/>
                <a:gd name="connsiteY0" fmla="*/ 47625 h 47625"/>
                <a:gd name="connsiteX1" fmla="*/ 161925 w 190500"/>
                <a:gd name="connsiteY1" fmla="*/ 47625 h 47625"/>
                <a:gd name="connsiteX2" fmla="*/ 190500 w 190500"/>
                <a:gd name="connsiteY2" fmla="*/ 19050 h 47625"/>
                <a:gd name="connsiteX3" fmla="*/ 190500 w 190500"/>
                <a:gd name="connsiteY3" fmla="*/ 19050 h 47625"/>
                <a:gd name="connsiteX4" fmla="*/ 190500 w 190500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0" h="47625">
                  <a:moveTo>
                    <a:pt x="0" y="47625"/>
                  </a:moveTo>
                  <a:lnTo>
                    <a:pt x="161925" y="47625"/>
                  </a:lnTo>
                  <a:cubicBezTo>
                    <a:pt x="177737" y="47625"/>
                    <a:pt x="190500" y="34862"/>
                    <a:pt x="190500" y="19050"/>
                  </a:cubicBezTo>
                  <a:lnTo>
                    <a:pt x="190500" y="19050"/>
                  </a:lnTo>
                  <a:lnTo>
                    <a:pt x="190500" y="0"/>
                  </a:lnTo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orma Livre: Forma 68">
              <a:extLst>
                <a:ext uri="{FF2B5EF4-FFF2-40B4-BE49-F238E27FC236}">
                  <a16:creationId xmlns:a16="http://schemas.microsoft.com/office/drawing/2014/main" id="{27C72009-44F9-3F9A-8C89-FBD732B5E5B3}"/>
                </a:ext>
              </a:extLst>
            </p:cNvPr>
            <p:cNvSpPr/>
            <p:nvPr/>
          </p:nvSpPr>
          <p:spPr>
            <a:xfrm>
              <a:off x="2107977" y="3080115"/>
              <a:ext cx="171450" cy="123825"/>
            </a:xfrm>
            <a:custGeom>
              <a:avLst/>
              <a:gdLst>
                <a:gd name="connsiteX0" fmla="*/ 171450 w 171450"/>
                <a:gd name="connsiteY0" fmla="*/ 123825 h 123825"/>
                <a:gd name="connsiteX1" fmla="*/ 47625 w 171450"/>
                <a:gd name="connsiteY1" fmla="*/ 0 h 123825"/>
                <a:gd name="connsiteX2" fmla="*/ 0 w 171450"/>
                <a:gd name="connsiteY2" fmla="*/ 47625 h 123825"/>
                <a:gd name="connsiteX3" fmla="*/ 76200 w 171450"/>
                <a:gd name="connsiteY3" fmla="*/ 123825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450" h="123825">
                  <a:moveTo>
                    <a:pt x="171450" y="123825"/>
                  </a:moveTo>
                  <a:lnTo>
                    <a:pt x="47625" y="0"/>
                  </a:lnTo>
                  <a:lnTo>
                    <a:pt x="0" y="47625"/>
                  </a:lnTo>
                  <a:lnTo>
                    <a:pt x="76200" y="123825"/>
                  </a:lnTo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orma Livre: Forma 69">
              <a:extLst>
                <a:ext uri="{FF2B5EF4-FFF2-40B4-BE49-F238E27FC236}">
                  <a16:creationId xmlns:a16="http://schemas.microsoft.com/office/drawing/2014/main" id="{DA73DB9A-7DCF-76BB-655D-A42FB613D2E6}"/>
                </a:ext>
              </a:extLst>
            </p:cNvPr>
            <p:cNvSpPr/>
            <p:nvPr/>
          </p:nvSpPr>
          <p:spPr>
            <a:xfrm>
              <a:off x="2155602" y="3127740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9525 w 9525"/>
                <a:gd name="connsiteY1" fmla="*/ 9525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9525" y="9525"/>
                  </a:lnTo>
                </a:path>
              </a:pathLst>
            </a:custGeom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orma Livre: Forma 70">
              <a:extLst>
                <a:ext uri="{FF2B5EF4-FFF2-40B4-BE49-F238E27FC236}">
                  <a16:creationId xmlns:a16="http://schemas.microsoft.com/office/drawing/2014/main" id="{A56AD4E6-08DA-5FA5-41FD-E72BEC88AFD1}"/>
                </a:ext>
              </a:extLst>
            </p:cNvPr>
            <p:cNvSpPr/>
            <p:nvPr/>
          </p:nvSpPr>
          <p:spPr>
            <a:xfrm>
              <a:off x="2288952" y="3061065"/>
              <a:ext cx="171450" cy="9525"/>
            </a:xfrm>
            <a:custGeom>
              <a:avLst/>
              <a:gdLst>
                <a:gd name="connsiteX0" fmla="*/ 0 w 171450"/>
                <a:gd name="connsiteY0" fmla="*/ 0 h 0"/>
                <a:gd name="connsiteX1" fmla="*/ 171450 w 17145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1450">
                  <a:moveTo>
                    <a:pt x="0" y="0"/>
                  </a:moveTo>
                  <a:lnTo>
                    <a:pt x="171450" y="0"/>
                  </a:lnTo>
                </a:path>
              </a:pathLst>
            </a:custGeom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orma Livre: Forma 71">
              <a:extLst>
                <a:ext uri="{FF2B5EF4-FFF2-40B4-BE49-F238E27FC236}">
                  <a16:creationId xmlns:a16="http://schemas.microsoft.com/office/drawing/2014/main" id="{CBB6F9F1-E984-DDEC-B364-13ECF6DDA8C5}"/>
                </a:ext>
              </a:extLst>
            </p:cNvPr>
            <p:cNvSpPr/>
            <p:nvPr/>
          </p:nvSpPr>
          <p:spPr>
            <a:xfrm>
              <a:off x="2250852" y="2813415"/>
              <a:ext cx="219075" cy="9525"/>
            </a:xfrm>
            <a:custGeom>
              <a:avLst/>
              <a:gdLst>
                <a:gd name="connsiteX0" fmla="*/ 0 w 219075"/>
                <a:gd name="connsiteY0" fmla="*/ 0 h 0"/>
                <a:gd name="connsiteX1" fmla="*/ 219075 w 21907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075">
                  <a:moveTo>
                    <a:pt x="0" y="0"/>
                  </a:moveTo>
                  <a:lnTo>
                    <a:pt x="219075" y="0"/>
                  </a:lnTo>
                </a:path>
              </a:pathLst>
            </a:custGeom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orma Livre: Forma 74">
              <a:extLst>
                <a:ext uri="{FF2B5EF4-FFF2-40B4-BE49-F238E27FC236}">
                  <a16:creationId xmlns:a16="http://schemas.microsoft.com/office/drawing/2014/main" id="{56FA4CA1-232A-FE10-CC0F-E4B1233728D1}"/>
                </a:ext>
              </a:extLst>
            </p:cNvPr>
            <p:cNvSpPr/>
            <p:nvPr/>
          </p:nvSpPr>
          <p:spPr>
            <a:xfrm>
              <a:off x="2308764" y="2866469"/>
              <a:ext cx="104775" cy="104775"/>
            </a:xfrm>
            <a:custGeom>
              <a:avLst/>
              <a:gdLst>
                <a:gd name="connsiteX0" fmla="*/ 56388 w 104775"/>
                <a:gd name="connsiteY0" fmla="*/ 0 h 104775"/>
                <a:gd name="connsiteX1" fmla="*/ 76009 w 104775"/>
                <a:gd name="connsiteY1" fmla="*/ 34290 h 104775"/>
                <a:gd name="connsiteX2" fmla="*/ 112776 w 104775"/>
                <a:gd name="connsiteY2" fmla="*/ 40957 h 104775"/>
                <a:gd name="connsiteX3" fmla="*/ 88201 w 104775"/>
                <a:gd name="connsiteY3" fmla="*/ 73628 h 104775"/>
                <a:gd name="connsiteX4" fmla="*/ 91250 w 104775"/>
                <a:gd name="connsiteY4" fmla="*/ 109156 h 104775"/>
                <a:gd name="connsiteX5" fmla="*/ 56388 w 104775"/>
                <a:gd name="connsiteY5" fmla="*/ 98203 h 104775"/>
                <a:gd name="connsiteX6" fmla="*/ 21526 w 104775"/>
                <a:gd name="connsiteY6" fmla="*/ 109633 h 104775"/>
                <a:gd name="connsiteX7" fmla="*/ 24575 w 104775"/>
                <a:gd name="connsiteY7" fmla="*/ 73533 h 104775"/>
                <a:gd name="connsiteX8" fmla="*/ 0 w 104775"/>
                <a:gd name="connsiteY8" fmla="*/ 40957 h 104775"/>
                <a:gd name="connsiteX9" fmla="*/ 36767 w 104775"/>
                <a:gd name="connsiteY9" fmla="*/ 34290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" h="104775">
                  <a:moveTo>
                    <a:pt x="56388" y="0"/>
                  </a:moveTo>
                  <a:lnTo>
                    <a:pt x="76009" y="34290"/>
                  </a:lnTo>
                  <a:lnTo>
                    <a:pt x="112776" y="40957"/>
                  </a:lnTo>
                  <a:lnTo>
                    <a:pt x="88201" y="73628"/>
                  </a:lnTo>
                  <a:lnTo>
                    <a:pt x="91250" y="109156"/>
                  </a:lnTo>
                  <a:lnTo>
                    <a:pt x="56388" y="98203"/>
                  </a:lnTo>
                  <a:lnTo>
                    <a:pt x="21526" y="109633"/>
                  </a:lnTo>
                  <a:lnTo>
                    <a:pt x="24575" y="73533"/>
                  </a:lnTo>
                  <a:lnTo>
                    <a:pt x="0" y="40957"/>
                  </a:lnTo>
                  <a:lnTo>
                    <a:pt x="36767" y="34290"/>
                  </a:lnTo>
                  <a:close/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1" name="Agrupar 50">
            <a:extLst>
              <a:ext uri="{FF2B5EF4-FFF2-40B4-BE49-F238E27FC236}">
                <a16:creationId xmlns:a16="http://schemas.microsoft.com/office/drawing/2014/main" id="{301B4CCF-0412-4799-56DF-A53C3007F6C5}"/>
              </a:ext>
            </a:extLst>
          </p:cNvPr>
          <p:cNvGrpSpPr>
            <a:grpSpLocks noChangeAspect="1"/>
          </p:cNvGrpSpPr>
          <p:nvPr/>
        </p:nvGrpSpPr>
        <p:grpSpPr>
          <a:xfrm>
            <a:off x="9681995" y="2898514"/>
            <a:ext cx="376429" cy="350763"/>
            <a:chOff x="2118113" y="7513995"/>
            <a:chExt cx="419100" cy="390525"/>
          </a:xfrm>
          <a:solidFill>
            <a:schemeClr val="bg1"/>
          </a:solidFill>
        </p:grpSpPr>
        <p:sp>
          <p:nvSpPr>
            <p:cNvPr id="52" name="Forma Livre: Forma 51">
              <a:extLst>
                <a:ext uri="{FF2B5EF4-FFF2-40B4-BE49-F238E27FC236}">
                  <a16:creationId xmlns:a16="http://schemas.microsoft.com/office/drawing/2014/main" id="{AC0DCE43-C597-6061-8B13-BE54991432A6}"/>
                </a:ext>
              </a:extLst>
            </p:cNvPr>
            <p:cNvSpPr/>
            <p:nvPr/>
          </p:nvSpPr>
          <p:spPr>
            <a:xfrm>
              <a:off x="2118113" y="7590195"/>
              <a:ext cx="114300" cy="28575"/>
            </a:xfrm>
            <a:custGeom>
              <a:avLst/>
              <a:gdLst>
                <a:gd name="connsiteX0" fmla="*/ 114300 w 114300"/>
                <a:gd name="connsiteY0" fmla="*/ 0 h 28575"/>
                <a:gd name="connsiteX1" fmla="*/ 28575 w 114300"/>
                <a:gd name="connsiteY1" fmla="*/ 0 h 28575"/>
                <a:gd name="connsiteX2" fmla="*/ 0 w 114300"/>
                <a:gd name="connsiteY2" fmla="*/ 28575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4300" h="28575">
                  <a:moveTo>
                    <a:pt x="114300" y="0"/>
                  </a:moveTo>
                  <a:lnTo>
                    <a:pt x="28575" y="0"/>
                  </a:lnTo>
                  <a:cubicBezTo>
                    <a:pt x="12383" y="0"/>
                    <a:pt x="0" y="12478"/>
                    <a:pt x="0" y="28575"/>
                  </a:cubicBezTo>
                </a:path>
              </a:pathLst>
            </a:custGeom>
            <a:grp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orma Livre: Forma 52">
              <a:extLst>
                <a:ext uri="{FF2B5EF4-FFF2-40B4-BE49-F238E27FC236}">
                  <a16:creationId xmlns:a16="http://schemas.microsoft.com/office/drawing/2014/main" id="{111F86D6-A0E5-2C88-3519-FBE399DF0F4C}"/>
                </a:ext>
              </a:extLst>
            </p:cNvPr>
            <p:cNvSpPr/>
            <p:nvPr/>
          </p:nvSpPr>
          <p:spPr>
            <a:xfrm>
              <a:off x="2384813" y="7590195"/>
              <a:ext cx="85725" cy="57150"/>
            </a:xfrm>
            <a:custGeom>
              <a:avLst/>
              <a:gdLst>
                <a:gd name="connsiteX0" fmla="*/ 85725 w 85725"/>
                <a:gd name="connsiteY0" fmla="*/ 57150 h 57150"/>
                <a:gd name="connsiteX1" fmla="*/ 85725 w 85725"/>
                <a:gd name="connsiteY1" fmla="*/ 0 h 57150"/>
                <a:gd name="connsiteX2" fmla="*/ 0 w 85725"/>
                <a:gd name="connsiteY2" fmla="*/ 0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5725" h="57150">
                  <a:moveTo>
                    <a:pt x="85725" y="57150"/>
                  </a:moveTo>
                  <a:lnTo>
                    <a:pt x="85725" y="0"/>
                  </a:lnTo>
                  <a:lnTo>
                    <a:pt x="0" y="0"/>
                  </a:lnTo>
                </a:path>
              </a:pathLst>
            </a:custGeom>
            <a:grp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orma Livre: Forma 53">
              <a:extLst>
                <a:ext uri="{FF2B5EF4-FFF2-40B4-BE49-F238E27FC236}">
                  <a16:creationId xmlns:a16="http://schemas.microsoft.com/office/drawing/2014/main" id="{690D5E9D-2423-E341-8931-BA774353F33B}"/>
                </a:ext>
              </a:extLst>
            </p:cNvPr>
            <p:cNvSpPr/>
            <p:nvPr/>
          </p:nvSpPr>
          <p:spPr>
            <a:xfrm>
              <a:off x="2175263" y="7513995"/>
              <a:ext cx="266700" cy="133350"/>
            </a:xfrm>
            <a:custGeom>
              <a:avLst/>
              <a:gdLst>
                <a:gd name="connsiteX0" fmla="*/ 266700 w 266700"/>
                <a:gd name="connsiteY0" fmla="*/ 133350 h 133350"/>
                <a:gd name="connsiteX1" fmla="*/ 133350 w 266700"/>
                <a:gd name="connsiteY1" fmla="*/ 0 h 133350"/>
                <a:gd name="connsiteX2" fmla="*/ 0 w 266700"/>
                <a:gd name="connsiteY2" fmla="*/ 13335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6700" h="133350">
                  <a:moveTo>
                    <a:pt x="266700" y="133350"/>
                  </a:moveTo>
                  <a:lnTo>
                    <a:pt x="133350" y="0"/>
                  </a:lnTo>
                  <a:lnTo>
                    <a:pt x="0" y="133350"/>
                  </a:lnTo>
                </a:path>
              </a:pathLst>
            </a:custGeom>
            <a:grp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orma Livre: Forma 54">
              <a:extLst>
                <a:ext uri="{FF2B5EF4-FFF2-40B4-BE49-F238E27FC236}">
                  <a16:creationId xmlns:a16="http://schemas.microsoft.com/office/drawing/2014/main" id="{F81777A0-2FE7-1C56-396F-69882FC24093}"/>
                </a:ext>
              </a:extLst>
            </p:cNvPr>
            <p:cNvSpPr/>
            <p:nvPr/>
          </p:nvSpPr>
          <p:spPr>
            <a:xfrm>
              <a:off x="2241938" y="7600673"/>
              <a:ext cx="133350" cy="38100"/>
            </a:xfrm>
            <a:custGeom>
              <a:avLst/>
              <a:gdLst>
                <a:gd name="connsiteX0" fmla="*/ 133350 w 133350"/>
                <a:gd name="connsiteY0" fmla="*/ 46672 h 38100"/>
                <a:gd name="connsiteX1" fmla="*/ 86963 w 133350"/>
                <a:gd name="connsiteY1" fmla="*/ 0 h 38100"/>
                <a:gd name="connsiteX2" fmla="*/ 46577 w 133350"/>
                <a:gd name="connsiteY2" fmla="*/ 0 h 38100"/>
                <a:gd name="connsiteX3" fmla="*/ 0 w 133350"/>
                <a:gd name="connsiteY3" fmla="*/ 46672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350" h="38100">
                  <a:moveTo>
                    <a:pt x="133350" y="46672"/>
                  </a:moveTo>
                  <a:lnTo>
                    <a:pt x="86963" y="0"/>
                  </a:lnTo>
                  <a:cubicBezTo>
                    <a:pt x="73533" y="13430"/>
                    <a:pt x="60008" y="13525"/>
                    <a:pt x="46577" y="0"/>
                  </a:cubicBezTo>
                  <a:lnTo>
                    <a:pt x="0" y="46672"/>
                  </a:lnTo>
                </a:path>
              </a:pathLst>
            </a:custGeom>
            <a:grp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orma Livre: Forma 55">
              <a:extLst>
                <a:ext uri="{FF2B5EF4-FFF2-40B4-BE49-F238E27FC236}">
                  <a16:creationId xmlns:a16="http://schemas.microsoft.com/office/drawing/2014/main" id="{96EB6EF0-F858-2681-FB8C-DDA2483B34CE}"/>
                </a:ext>
              </a:extLst>
            </p:cNvPr>
            <p:cNvSpPr/>
            <p:nvPr/>
          </p:nvSpPr>
          <p:spPr>
            <a:xfrm>
              <a:off x="2118113" y="7618770"/>
              <a:ext cx="400050" cy="285750"/>
            </a:xfrm>
            <a:custGeom>
              <a:avLst/>
              <a:gdLst>
                <a:gd name="connsiteX0" fmla="*/ 400050 w 400050"/>
                <a:gd name="connsiteY0" fmla="*/ 209550 h 285750"/>
                <a:gd name="connsiteX1" fmla="*/ 400050 w 400050"/>
                <a:gd name="connsiteY1" fmla="*/ 285750 h 285750"/>
                <a:gd name="connsiteX2" fmla="*/ 28575 w 400050"/>
                <a:gd name="connsiteY2" fmla="*/ 285750 h 285750"/>
                <a:gd name="connsiteX3" fmla="*/ 0 w 400050"/>
                <a:gd name="connsiteY3" fmla="*/ 257175 h 285750"/>
                <a:gd name="connsiteX4" fmla="*/ 0 w 400050"/>
                <a:gd name="connsiteY4" fmla="*/ 0 h 285750"/>
                <a:gd name="connsiteX5" fmla="*/ 28575 w 400050"/>
                <a:gd name="connsiteY5" fmla="*/ 28575 h 285750"/>
                <a:gd name="connsiteX6" fmla="*/ 400050 w 400050"/>
                <a:gd name="connsiteY6" fmla="*/ 28575 h 285750"/>
                <a:gd name="connsiteX7" fmla="*/ 400050 w 400050"/>
                <a:gd name="connsiteY7" fmla="*/ 9525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0050" h="285750">
                  <a:moveTo>
                    <a:pt x="400050" y="209550"/>
                  </a:moveTo>
                  <a:lnTo>
                    <a:pt x="400050" y="285750"/>
                  </a:lnTo>
                  <a:lnTo>
                    <a:pt x="28575" y="285750"/>
                  </a:lnTo>
                  <a:cubicBezTo>
                    <a:pt x="12383" y="285750"/>
                    <a:pt x="0" y="273272"/>
                    <a:pt x="0" y="257175"/>
                  </a:cubicBezTo>
                  <a:lnTo>
                    <a:pt x="0" y="0"/>
                  </a:lnTo>
                  <a:cubicBezTo>
                    <a:pt x="0" y="16097"/>
                    <a:pt x="12383" y="28575"/>
                    <a:pt x="28575" y="28575"/>
                  </a:cubicBezTo>
                  <a:lnTo>
                    <a:pt x="400050" y="28575"/>
                  </a:lnTo>
                  <a:lnTo>
                    <a:pt x="400050" y="95250"/>
                  </a:lnTo>
                </a:path>
              </a:pathLst>
            </a:custGeom>
            <a:grp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orma Livre: Forma 56">
              <a:extLst>
                <a:ext uri="{FF2B5EF4-FFF2-40B4-BE49-F238E27FC236}">
                  <a16:creationId xmlns:a16="http://schemas.microsoft.com/office/drawing/2014/main" id="{4CDC1FD4-72C2-81F6-D38B-4DE17007F17A}"/>
                </a:ext>
              </a:extLst>
            </p:cNvPr>
            <p:cNvSpPr/>
            <p:nvPr/>
          </p:nvSpPr>
          <p:spPr>
            <a:xfrm>
              <a:off x="2356238" y="7714020"/>
              <a:ext cx="180975" cy="114300"/>
            </a:xfrm>
            <a:custGeom>
              <a:avLst/>
              <a:gdLst>
                <a:gd name="connsiteX0" fmla="*/ 47625 w 180975"/>
                <a:gd name="connsiteY0" fmla="*/ 19050 h 114300"/>
                <a:gd name="connsiteX1" fmla="*/ 0 w 180975"/>
                <a:gd name="connsiteY1" fmla="*/ 66675 h 114300"/>
                <a:gd name="connsiteX2" fmla="*/ 47625 w 180975"/>
                <a:gd name="connsiteY2" fmla="*/ 114300 h 114300"/>
                <a:gd name="connsiteX3" fmla="*/ 152400 w 180975"/>
                <a:gd name="connsiteY3" fmla="*/ 114300 h 114300"/>
                <a:gd name="connsiteX4" fmla="*/ 180975 w 180975"/>
                <a:gd name="connsiteY4" fmla="*/ 85725 h 114300"/>
                <a:gd name="connsiteX5" fmla="*/ 180975 w 180975"/>
                <a:gd name="connsiteY5" fmla="*/ 9525 h 114300"/>
                <a:gd name="connsiteX6" fmla="*/ 171450 w 180975"/>
                <a:gd name="connsiteY6" fmla="*/ 0 h 114300"/>
                <a:gd name="connsiteX7" fmla="*/ 161925 w 180975"/>
                <a:gd name="connsiteY7" fmla="*/ 0 h 114300"/>
                <a:gd name="connsiteX8" fmla="*/ 142875 w 180975"/>
                <a:gd name="connsiteY8" fmla="*/ 19050 h 114300"/>
                <a:gd name="connsiteX9" fmla="*/ 114300 w 180975"/>
                <a:gd name="connsiteY9" fmla="*/ 19050 h 114300"/>
                <a:gd name="connsiteX10" fmla="*/ 47625 w 180975"/>
                <a:gd name="connsiteY10" fmla="*/ 1905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0975" h="114300">
                  <a:moveTo>
                    <a:pt x="47625" y="19050"/>
                  </a:moveTo>
                  <a:cubicBezTo>
                    <a:pt x="18669" y="19050"/>
                    <a:pt x="0" y="40386"/>
                    <a:pt x="0" y="66675"/>
                  </a:cubicBezTo>
                  <a:cubicBezTo>
                    <a:pt x="0" y="92964"/>
                    <a:pt x="18669" y="114300"/>
                    <a:pt x="47625" y="114300"/>
                  </a:cubicBezTo>
                  <a:lnTo>
                    <a:pt x="152400" y="114300"/>
                  </a:lnTo>
                  <a:cubicBezTo>
                    <a:pt x="168212" y="114300"/>
                    <a:pt x="180975" y="101537"/>
                    <a:pt x="180975" y="85725"/>
                  </a:cubicBezTo>
                  <a:lnTo>
                    <a:pt x="180975" y="9525"/>
                  </a:lnTo>
                  <a:cubicBezTo>
                    <a:pt x="180975" y="4286"/>
                    <a:pt x="176689" y="0"/>
                    <a:pt x="171450" y="0"/>
                  </a:cubicBezTo>
                  <a:lnTo>
                    <a:pt x="161925" y="0"/>
                  </a:lnTo>
                  <a:cubicBezTo>
                    <a:pt x="161925" y="10096"/>
                    <a:pt x="151543" y="19050"/>
                    <a:pt x="142875" y="19050"/>
                  </a:cubicBezTo>
                  <a:lnTo>
                    <a:pt x="114300" y="19050"/>
                  </a:lnTo>
                  <a:lnTo>
                    <a:pt x="47625" y="19050"/>
                  </a:lnTo>
                </a:path>
              </a:pathLst>
            </a:custGeom>
            <a:grp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orma Livre: Forma 57">
              <a:extLst>
                <a:ext uri="{FF2B5EF4-FFF2-40B4-BE49-F238E27FC236}">
                  <a16:creationId xmlns:a16="http://schemas.microsoft.com/office/drawing/2014/main" id="{9F499BE8-B1C2-00E1-32F9-41E5AE9270F4}"/>
                </a:ext>
              </a:extLst>
            </p:cNvPr>
            <p:cNvSpPr/>
            <p:nvPr/>
          </p:nvSpPr>
          <p:spPr>
            <a:xfrm>
              <a:off x="2394338" y="7780695"/>
              <a:ext cx="19050" cy="9525"/>
            </a:xfrm>
            <a:custGeom>
              <a:avLst/>
              <a:gdLst>
                <a:gd name="connsiteX0" fmla="*/ 0 w 19050"/>
                <a:gd name="connsiteY0" fmla="*/ 0 h 0"/>
                <a:gd name="connsiteX1" fmla="*/ 19050 w 1905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050">
                  <a:moveTo>
                    <a:pt x="0" y="0"/>
                  </a:moveTo>
                  <a:lnTo>
                    <a:pt x="19050" y="0"/>
                  </a:lnTo>
                </a:path>
              </a:pathLst>
            </a:custGeom>
            <a:grp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6" name="CaixaDeTexto 75">
            <a:extLst>
              <a:ext uri="{FF2B5EF4-FFF2-40B4-BE49-F238E27FC236}">
                <a16:creationId xmlns:a16="http://schemas.microsoft.com/office/drawing/2014/main" id="{DE7D5EE9-FF87-ED9F-C920-E8E7CD7D97AC}"/>
              </a:ext>
            </a:extLst>
          </p:cNvPr>
          <p:cNvSpPr txBox="1"/>
          <p:nvPr/>
        </p:nvSpPr>
        <p:spPr>
          <a:xfrm>
            <a:off x="214239" y="354165"/>
            <a:ext cx="11397845" cy="434740"/>
          </a:xfrm>
          <a:prstGeom prst="rect">
            <a:avLst/>
          </a:prstGeom>
        </p:spPr>
        <p:txBody>
          <a:bodyPr vert="horz" lIns="91440" tIns="0" rIns="91440" bIns="45721" rtlCol="0" anchor="t">
            <a:noAutofit/>
          </a:bodyPr>
          <a:lstStyle>
            <a:defPPr>
              <a:defRPr lang="pt-BR"/>
            </a:defPPr>
            <a:lvl1pPr marR="0" lvl="0" indent="0" defTabSz="914411" fontAlgn="auto">
              <a:lnSpc>
                <a:spcPct val="10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3000" b="1" i="0" u="none" strike="noStrike" cap="none" spc="0" normalizeH="0" baseline="0">
                <a:ln>
                  <a:noFill/>
                </a:ln>
                <a:solidFill>
                  <a:srgbClr val="FF7800"/>
                </a:solidFill>
                <a:effectLst/>
                <a:uLnTx/>
                <a:uFillTx/>
                <a:latin typeface="Itau Display"/>
              </a:defRPr>
            </a:lvl1pPr>
            <a:lvl2pPr marL="539756" indent="-182566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>
                <a:solidFill>
                  <a:schemeClr val="accent6"/>
                </a:solidFill>
              </a:defRPr>
            </a:lvl2pPr>
            <a:lvl3pPr marL="898536" indent="-184152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accent6"/>
                </a:solidFill>
              </a:defRPr>
            </a:lvl3pPr>
            <a:lvl4pPr marL="1255729" indent="-184152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>
                <a:solidFill>
                  <a:schemeClr val="accent6"/>
                </a:solidFill>
              </a:defRPr>
            </a:lvl4pPr>
            <a:lvl5pPr marL="1612920" indent="-174628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>
                <a:solidFill>
                  <a:schemeClr val="accent6"/>
                </a:solidFill>
              </a:defRPr>
            </a:lvl5pPr>
            <a:lvl6pPr marL="2514632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6pPr>
            <a:lvl7pPr marL="2971838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7pPr>
            <a:lvl8pPr marL="3429044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8pPr>
            <a:lvl9pPr marL="3886249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9pPr>
          </a:lstStyle>
          <a:p>
            <a:pPr marL="0" marR="0" lvl="0" indent="0" algn="l" defTabSz="914411" rtl="0" eaLnBrk="1" fontAlgn="auto" latinLnBrk="0" hangingPunct="1">
              <a:lnSpc>
                <a:spcPct val="10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2800" b="1" i="0" u="none" strike="noStrike" kern="1200" cap="none" spc="0" normalizeH="0" baseline="0" noProof="0">
                <a:ln>
                  <a:noFill/>
                </a:ln>
                <a:solidFill>
                  <a:srgbClr val="FF8C00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  <a:cs typeface="Itau Display Heavy" panose="020B0803020204020204" pitchFamily="34" charset="0"/>
              </a:rPr>
              <a:t>_meus documentos</a:t>
            </a:r>
            <a:endParaRPr kumimoji="0" lang="pt-BR" sz="2800" b="0" i="0" u="none" strike="noStrike" kern="1200" cap="none" spc="0" normalizeH="0" baseline="0" noProof="0">
              <a:ln>
                <a:noFill/>
              </a:ln>
              <a:solidFill>
                <a:srgbClr val="FF8C00"/>
              </a:solidFill>
              <a:effectLst/>
              <a:uLnTx/>
              <a:uFillTx/>
              <a:latin typeface="Itau Display Light" panose="020B0403020204020204" pitchFamily="34" charset="0"/>
              <a:ea typeface="+mn-ea"/>
              <a:cs typeface="Itau Display Light" panose="020B04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041158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tângulo 45">
            <a:extLst>
              <a:ext uri="{FF2B5EF4-FFF2-40B4-BE49-F238E27FC236}">
                <a16:creationId xmlns:a16="http://schemas.microsoft.com/office/drawing/2014/main" id="{9CE4711D-11A9-26F6-F42E-D82FE99E9EDF}"/>
              </a:ext>
            </a:extLst>
          </p:cNvPr>
          <p:cNvSpPr/>
          <p:nvPr/>
        </p:nvSpPr>
        <p:spPr>
          <a:xfrm>
            <a:off x="1" y="2"/>
            <a:ext cx="4368788" cy="6858000"/>
          </a:xfrm>
          <a:prstGeom prst="rect">
            <a:avLst/>
          </a:prstGeom>
          <a:gradFill flip="none" rotWithShape="1">
            <a:gsLst>
              <a:gs pos="0">
                <a:srgbClr val="FF7500"/>
              </a:gs>
              <a:gs pos="100000">
                <a:srgbClr val="FD9D00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1" b="0" i="0" u="none" strike="noStrike" kern="1200" cap="none" spc="0" normalizeH="0" baseline="0" noProof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2" name="Retângulo 91">
            <a:extLst>
              <a:ext uri="{FF2B5EF4-FFF2-40B4-BE49-F238E27FC236}">
                <a16:creationId xmlns:a16="http://schemas.microsoft.com/office/drawing/2014/main" id="{1F537FC0-F8FA-B860-690C-F40547966EB4}"/>
              </a:ext>
            </a:extLst>
          </p:cNvPr>
          <p:cNvSpPr/>
          <p:nvPr/>
        </p:nvSpPr>
        <p:spPr>
          <a:xfrm>
            <a:off x="-29376" y="173740"/>
            <a:ext cx="216000" cy="72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1" b="0" i="0" u="none" strike="noStrike" kern="1200" cap="none" spc="0" normalizeH="0" baseline="0" noProof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3" name="Gráfico 42" descr="Smartphone com preenchimento sólido">
            <a:extLst>
              <a:ext uri="{FF2B5EF4-FFF2-40B4-BE49-F238E27FC236}">
                <a16:creationId xmlns:a16="http://schemas.microsoft.com/office/drawing/2014/main" id="{D15065DE-ED85-3402-3E4F-3219E86E87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1063063" y="363060"/>
            <a:ext cx="6157268" cy="6640400"/>
          </a:xfrm>
          <a:prstGeom prst="rect">
            <a:avLst/>
          </a:prstGeom>
        </p:spPr>
      </p:pic>
      <p:sp>
        <p:nvSpPr>
          <p:cNvPr id="47" name="Retângulo 46">
            <a:extLst>
              <a:ext uri="{FF2B5EF4-FFF2-40B4-BE49-F238E27FC236}">
                <a16:creationId xmlns:a16="http://schemas.microsoft.com/office/drawing/2014/main" id="{41323331-B3AD-D04E-A2F8-686653F30A1A}"/>
              </a:ext>
            </a:extLst>
          </p:cNvPr>
          <p:cNvSpPr/>
          <p:nvPr/>
        </p:nvSpPr>
        <p:spPr>
          <a:xfrm>
            <a:off x="1445727" y="871426"/>
            <a:ext cx="1139687" cy="3435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1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Retângulo: Cantos Arredondados 47">
            <a:extLst>
              <a:ext uri="{FF2B5EF4-FFF2-40B4-BE49-F238E27FC236}">
                <a16:creationId xmlns:a16="http://schemas.microsoft.com/office/drawing/2014/main" id="{526A159E-BDEE-C911-08EC-F5F1D3197CE5}"/>
              </a:ext>
            </a:extLst>
          </p:cNvPr>
          <p:cNvSpPr/>
          <p:nvPr/>
        </p:nvSpPr>
        <p:spPr>
          <a:xfrm>
            <a:off x="1617581" y="856003"/>
            <a:ext cx="768626" cy="45719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1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AA1422D7-65F4-DABA-ED2B-C79BA39E24D0}"/>
              </a:ext>
            </a:extLst>
          </p:cNvPr>
          <p:cNvSpPr/>
          <p:nvPr/>
        </p:nvSpPr>
        <p:spPr>
          <a:xfrm>
            <a:off x="5765604" y="3785228"/>
            <a:ext cx="5937788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0" cap="none" spc="30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Black" panose="020B0903020204020204" pitchFamily="34" charset="0"/>
                <a:ea typeface="+mn-ea"/>
                <a:cs typeface="Itau Display Black" panose="020B0903020204020204" pitchFamily="34" charset="0"/>
              </a:rPr>
              <a:t>Seguranç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0" cap="none" spc="30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_</a:t>
            </a:r>
            <a:r>
              <a:rPr kumimoji="0" lang="pt-BR" sz="1400" b="0" i="0" u="none" strike="noStrike" kern="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jornada integrada ao app com a garantia de segurança Itaú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_conteúdos disponíveis em área logada</a:t>
            </a:r>
          </a:p>
        </p:txBody>
      </p:sp>
      <p:grpSp>
        <p:nvGrpSpPr>
          <p:cNvPr id="14" name="Agrupar 13">
            <a:extLst>
              <a:ext uri="{FF2B5EF4-FFF2-40B4-BE49-F238E27FC236}">
                <a16:creationId xmlns:a16="http://schemas.microsoft.com/office/drawing/2014/main" id="{ADADF500-B109-D3FE-796A-555A75670676}"/>
              </a:ext>
            </a:extLst>
          </p:cNvPr>
          <p:cNvGrpSpPr>
            <a:grpSpLocks noChangeAspect="1"/>
          </p:cNvGrpSpPr>
          <p:nvPr/>
        </p:nvGrpSpPr>
        <p:grpSpPr>
          <a:xfrm>
            <a:off x="4862865" y="3886195"/>
            <a:ext cx="488571" cy="683999"/>
            <a:chOff x="1348603" y="8226384"/>
            <a:chExt cx="285750" cy="400050"/>
          </a:xfrm>
        </p:grpSpPr>
        <p:sp>
          <p:nvSpPr>
            <p:cNvPr id="15" name="Forma Livre: Forma 14">
              <a:extLst>
                <a:ext uri="{FF2B5EF4-FFF2-40B4-BE49-F238E27FC236}">
                  <a16:creationId xmlns:a16="http://schemas.microsoft.com/office/drawing/2014/main" id="{143D7C70-1576-DD2B-5111-606BDD5D2934}"/>
                </a:ext>
              </a:extLst>
            </p:cNvPr>
            <p:cNvSpPr/>
            <p:nvPr/>
          </p:nvSpPr>
          <p:spPr>
            <a:xfrm>
              <a:off x="1348603" y="8407359"/>
              <a:ext cx="285750" cy="219075"/>
            </a:xfrm>
            <a:custGeom>
              <a:avLst/>
              <a:gdLst>
                <a:gd name="connsiteX0" fmla="*/ 285750 w 285750"/>
                <a:gd name="connsiteY0" fmla="*/ 200025 h 219075"/>
                <a:gd name="connsiteX1" fmla="*/ 266700 w 285750"/>
                <a:gd name="connsiteY1" fmla="*/ 219075 h 219075"/>
                <a:gd name="connsiteX2" fmla="*/ 19050 w 285750"/>
                <a:gd name="connsiteY2" fmla="*/ 219075 h 219075"/>
                <a:gd name="connsiteX3" fmla="*/ 0 w 285750"/>
                <a:gd name="connsiteY3" fmla="*/ 200025 h 219075"/>
                <a:gd name="connsiteX4" fmla="*/ 0 w 285750"/>
                <a:gd name="connsiteY4" fmla="*/ 19050 h 219075"/>
                <a:gd name="connsiteX5" fmla="*/ 19050 w 285750"/>
                <a:gd name="connsiteY5" fmla="*/ 0 h 219075"/>
                <a:gd name="connsiteX6" fmla="*/ 266700 w 285750"/>
                <a:gd name="connsiteY6" fmla="*/ 0 h 219075"/>
                <a:gd name="connsiteX7" fmla="*/ 285750 w 285750"/>
                <a:gd name="connsiteY7" fmla="*/ 19050 h 219075"/>
                <a:gd name="connsiteX8" fmla="*/ 285750 w 285750"/>
                <a:gd name="connsiteY8" fmla="*/ 200025 h 219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5750" h="219075">
                  <a:moveTo>
                    <a:pt x="285750" y="200025"/>
                  </a:moveTo>
                  <a:cubicBezTo>
                    <a:pt x="285750" y="210503"/>
                    <a:pt x="277178" y="219075"/>
                    <a:pt x="266700" y="219075"/>
                  </a:cubicBezTo>
                  <a:lnTo>
                    <a:pt x="19050" y="219075"/>
                  </a:lnTo>
                  <a:cubicBezTo>
                    <a:pt x="8573" y="219075"/>
                    <a:pt x="0" y="210503"/>
                    <a:pt x="0" y="200025"/>
                  </a:cubicBezTo>
                  <a:lnTo>
                    <a:pt x="0" y="19050"/>
                  </a:lnTo>
                  <a:cubicBezTo>
                    <a:pt x="0" y="8572"/>
                    <a:pt x="8573" y="0"/>
                    <a:pt x="19050" y="0"/>
                  </a:cubicBezTo>
                  <a:lnTo>
                    <a:pt x="266700" y="0"/>
                  </a:lnTo>
                  <a:cubicBezTo>
                    <a:pt x="277178" y="0"/>
                    <a:pt x="285750" y="8572"/>
                    <a:pt x="285750" y="19050"/>
                  </a:cubicBezTo>
                  <a:lnTo>
                    <a:pt x="285750" y="200025"/>
                  </a:lnTo>
                  <a:close/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orma Livre: Forma 15">
              <a:extLst>
                <a:ext uri="{FF2B5EF4-FFF2-40B4-BE49-F238E27FC236}">
                  <a16:creationId xmlns:a16="http://schemas.microsoft.com/office/drawing/2014/main" id="{370C80B2-A254-87EF-96E0-39245C900861}"/>
                </a:ext>
              </a:extLst>
            </p:cNvPr>
            <p:cNvSpPr/>
            <p:nvPr/>
          </p:nvSpPr>
          <p:spPr>
            <a:xfrm>
              <a:off x="1396228" y="8226384"/>
              <a:ext cx="190500" cy="180975"/>
            </a:xfrm>
            <a:custGeom>
              <a:avLst/>
              <a:gdLst>
                <a:gd name="connsiteX0" fmla="*/ 0 w 190500"/>
                <a:gd name="connsiteY0" fmla="*/ 180975 h 180975"/>
                <a:gd name="connsiteX1" fmla="*/ 0 w 190500"/>
                <a:gd name="connsiteY1" fmla="*/ 95250 h 180975"/>
                <a:gd name="connsiteX2" fmla="*/ 95250 w 190500"/>
                <a:gd name="connsiteY2" fmla="*/ 0 h 180975"/>
                <a:gd name="connsiteX3" fmla="*/ 95250 w 190500"/>
                <a:gd name="connsiteY3" fmla="*/ 0 h 180975"/>
                <a:gd name="connsiteX4" fmla="*/ 190500 w 190500"/>
                <a:gd name="connsiteY4" fmla="*/ 95250 h 180975"/>
                <a:gd name="connsiteX5" fmla="*/ 190500 w 190500"/>
                <a:gd name="connsiteY5" fmla="*/ 180975 h 18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0500" h="180975">
                  <a:moveTo>
                    <a:pt x="0" y="180975"/>
                  </a:moveTo>
                  <a:lnTo>
                    <a:pt x="0" y="95250"/>
                  </a:lnTo>
                  <a:cubicBezTo>
                    <a:pt x="0" y="42672"/>
                    <a:pt x="42672" y="0"/>
                    <a:pt x="95250" y="0"/>
                  </a:cubicBezTo>
                  <a:lnTo>
                    <a:pt x="95250" y="0"/>
                  </a:lnTo>
                  <a:cubicBezTo>
                    <a:pt x="147828" y="0"/>
                    <a:pt x="190500" y="42672"/>
                    <a:pt x="190500" y="95250"/>
                  </a:cubicBezTo>
                  <a:lnTo>
                    <a:pt x="190500" y="180975"/>
                  </a:lnTo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Retângulo 1">
            <a:extLst>
              <a:ext uri="{FF2B5EF4-FFF2-40B4-BE49-F238E27FC236}">
                <a16:creationId xmlns:a16="http://schemas.microsoft.com/office/drawing/2014/main" id="{D2C4E727-2122-5EAE-DC05-A9ABAEAE680A}"/>
              </a:ext>
            </a:extLst>
          </p:cNvPr>
          <p:cNvSpPr/>
          <p:nvPr/>
        </p:nvSpPr>
        <p:spPr>
          <a:xfrm>
            <a:off x="5765604" y="2063321"/>
            <a:ext cx="5937788" cy="11849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0" cap="none" spc="300" normalizeH="0" baseline="0" noProof="0" dirty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Black" panose="020B0903020204020204" pitchFamily="34" charset="0"/>
                <a:ea typeface="+mn-ea"/>
                <a:cs typeface="Itau Display Black" panose="020B0903020204020204" pitchFamily="34" charset="0"/>
              </a:rPr>
              <a:t>Integração e simplicida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_possibilidade de baixar e visualizar os conteúdos no próprio dispositivo mobi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_compartilhamento com outros apps como </a:t>
            </a:r>
            <a:r>
              <a:rPr kumimoji="0" lang="pt-BR" sz="1400" b="0" i="0" u="none" strike="noStrike" kern="0" cap="none" spc="0" normalizeH="0" baseline="0" noProof="0" dirty="0" err="1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Whatsapp</a:t>
            </a: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, </a:t>
            </a:r>
            <a:r>
              <a:rPr kumimoji="0" lang="pt-BR" sz="1400" b="0" i="0" u="none" strike="noStrike" kern="0" cap="none" spc="0" normalizeH="0" baseline="0" noProof="0" dirty="0" err="1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telegram</a:t>
            </a: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, </a:t>
            </a:r>
            <a:r>
              <a:rPr kumimoji="0" lang="pt-BR" sz="1400" b="0" i="0" u="none" strike="noStrike" kern="0" cap="none" spc="0" normalizeH="0" baseline="0" noProof="0" dirty="0" err="1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gmail</a:t>
            </a: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, </a:t>
            </a:r>
            <a:r>
              <a:rPr kumimoji="0" lang="pt-BR" sz="1400" b="0" i="0" u="none" strike="noStrike" kern="0" cap="none" spc="0" normalizeH="0" baseline="0" noProof="0" dirty="0" err="1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outlook,etc</a:t>
            </a: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100" b="0" i="0" u="none" strike="noStrike" kern="0" cap="none" spc="300" normalizeH="0" baseline="0" noProof="0" dirty="0">
              <a:ln>
                <a:noFill/>
              </a:ln>
              <a:solidFill>
                <a:srgbClr val="5F6062"/>
              </a:solidFill>
              <a:effectLst/>
              <a:uLnTx/>
              <a:uFillTx/>
              <a:latin typeface="Itau Display Black" panose="020B0903020204020204" pitchFamily="34" charset="0"/>
              <a:ea typeface="+mn-ea"/>
              <a:cs typeface="Itau Display Black" panose="020B0903020204020204" pitchFamily="34" charset="0"/>
            </a:endParaRPr>
          </a:p>
        </p:txBody>
      </p:sp>
      <p:grpSp>
        <p:nvGrpSpPr>
          <p:cNvPr id="17" name="Agrupar 16">
            <a:extLst>
              <a:ext uri="{FF2B5EF4-FFF2-40B4-BE49-F238E27FC236}">
                <a16:creationId xmlns:a16="http://schemas.microsoft.com/office/drawing/2014/main" id="{DB1E4682-7C4E-C11B-FE6E-95C301DFF702}"/>
              </a:ext>
            </a:extLst>
          </p:cNvPr>
          <p:cNvGrpSpPr/>
          <p:nvPr/>
        </p:nvGrpSpPr>
        <p:grpSpPr>
          <a:xfrm>
            <a:off x="4801170" y="2392674"/>
            <a:ext cx="612001" cy="612001"/>
            <a:chOff x="7771032" y="1279890"/>
            <a:chExt cx="400050" cy="400050"/>
          </a:xfrm>
        </p:grpSpPr>
        <p:sp>
          <p:nvSpPr>
            <p:cNvPr id="18" name="Forma Livre: Forma 17">
              <a:extLst>
                <a:ext uri="{FF2B5EF4-FFF2-40B4-BE49-F238E27FC236}">
                  <a16:creationId xmlns:a16="http://schemas.microsoft.com/office/drawing/2014/main" id="{5DCEE5E7-6864-C63F-1F76-BB25F284565A}"/>
                </a:ext>
              </a:extLst>
            </p:cNvPr>
            <p:cNvSpPr/>
            <p:nvPr/>
          </p:nvSpPr>
          <p:spPr>
            <a:xfrm>
              <a:off x="7894857" y="1403715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orma Livre: Forma 18">
              <a:extLst>
                <a:ext uri="{FF2B5EF4-FFF2-40B4-BE49-F238E27FC236}">
                  <a16:creationId xmlns:a16="http://schemas.microsoft.com/office/drawing/2014/main" id="{56BA4002-3C49-5C51-9445-194A6E795EF0}"/>
                </a:ext>
              </a:extLst>
            </p:cNvPr>
            <p:cNvSpPr/>
            <p:nvPr/>
          </p:nvSpPr>
          <p:spPr>
            <a:xfrm>
              <a:off x="7942482" y="1279890"/>
              <a:ext cx="57150" cy="57150"/>
            </a:xfrm>
            <a:custGeom>
              <a:avLst/>
              <a:gdLst>
                <a:gd name="connsiteX0" fmla="*/ 57150 w 57150"/>
                <a:gd name="connsiteY0" fmla="*/ 28575 h 57150"/>
                <a:gd name="connsiteX1" fmla="*/ 28575 w 57150"/>
                <a:gd name="connsiteY1" fmla="*/ 57150 h 57150"/>
                <a:gd name="connsiteX2" fmla="*/ 0 w 57150"/>
                <a:gd name="connsiteY2" fmla="*/ 28575 h 57150"/>
                <a:gd name="connsiteX3" fmla="*/ 28575 w 57150"/>
                <a:gd name="connsiteY3" fmla="*/ 0 h 57150"/>
                <a:gd name="connsiteX4" fmla="*/ 57150 w 57150"/>
                <a:gd name="connsiteY4" fmla="*/ 28575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57150">
                  <a:moveTo>
                    <a:pt x="57150" y="28575"/>
                  </a:moveTo>
                  <a:cubicBezTo>
                    <a:pt x="57150" y="44357"/>
                    <a:pt x="44357" y="57150"/>
                    <a:pt x="28575" y="57150"/>
                  </a:cubicBezTo>
                  <a:cubicBezTo>
                    <a:pt x="12793" y="57150"/>
                    <a:pt x="0" y="44357"/>
                    <a:pt x="0" y="28575"/>
                  </a:cubicBezTo>
                  <a:cubicBezTo>
                    <a:pt x="0" y="12793"/>
                    <a:pt x="12793" y="0"/>
                    <a:pt x="28575" y="0"/>
                  </a:cubicBezTo>
                  <a:cubicBezTo>
                    <a:pt x="44357" y="0"/>
                    <a:pt x="57150" y="12793"/>
                    <a:pt x="57150" y="28575"/>
                  </a:cubicBezTo>
                  <a:close/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orma Livre: Forma 19">
              <a:extLst>
                <a:ext uri="{FF2B5EF4-FFF2-40B4-BE49-F238E27FC236}">
                  <a16:creationId xmlns:a16="http://schemas.microsoft.com/office/drawing/2014/main" id="{C7074D0E-99F3-41C7-AEA6-7A2D1780010C}"/>
                </a:ext>
              </a:extLst>
            </p:cNvPr>
            <p:cNvSpPr/>
            <p:nvPr/>
          </p:nvSpPr>
          <p:spPr>
            <a:xfrm>
              <a:off x="7942482" y="1622790"/>
              <a:ext cx="57150" cy="57150"/>
            </a:xfrm>
            <a:custGeom>
              <a:avLst/>
              <a:gdLst>
                <a:gd name="connsiteX0" fmla="*/ 57150 w 57150"/>
                <a:gd name="connsiteY0" fmla="*/ 28575 h 57150"/>
                <a:gd name="connsiteX1" fmla="*/ 28575 w 57150"/>
                <a:gd name="connsiteY1" fmla="*/ 57150 h 57150"/>
                <a:gd name="connsiteX2" fmla="*/ 0 w 57150"/>
                <a:gd name="connsiteY2" fmla="*/ 28575 h 57150"/>
                <a:gd name="connsiteX3" fmla="*/ 28575 w 57150"/>
                <a:gd name="connsiteY3" fmla="*/ 0 h 57150"/>
                <a:gd name="connsiteX4" fmla="*/ 57150 w 57150"/>
                <a:gd name="connsiteY4" fmla="*/ 28575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57150">
                  <a:moveTo>
                    <a:pt x="57150" y="28575"/>
                  </a:moveTo>
                  <a:cubicBezTo>
                    <a:pt x="57150" y="44357"/>
                    <a:pt x="44357" y="57150"/>
                    <a:pt x="28575" y="57150"/>
                  </a:cubicBezTo>
                  <a:cubicBezTo>
                    <a:pt x="12793" y="57150"/>
                    <a:pt x="0" y="44357"/>
                    <a:pt x="0" y="28575"/>
                  </a:cubicBezTo>
                  <a:cubicBezTo>
                    <a:pt x="0" y="12793"/>
                    <a:pt x="12793" y="0"/>
                    <a:pt x="28575" y="0"/>
                  </a:cubicBezTo>
                  <a:cubicBezTo>
                    <a:pt x="44357" y="0"/>
                    <a:pt x="57150" y="12793"/>
                    <a:pt x="57150" y="28575"/>
                  </a:cubicBezTo>
                  <a:close/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orma Livre: Forma 20">
              <a:extLst>
                <a:ext uri="{FF2B5EF4-FFF2-40B4-BE49-F238E27FC236}">
                  <a16:creationId xmlns:a16="http://schemas.microsoft.com/office/drawing/2014/main" id="{A872307E-316D-8233-F085-9CBC4B022D78}"/>
                </a:ext>
              </a:extLst>
            </p:cNvPr>
            <p:cNvSpPr/>
            <p:nvPr/>
          </p:nvSpPr>
          <p:spPr>
            <a:xfrm>
              <a:off x="8094882" y="1308465"/>
              <a:ext cx="57150" cy="57150"/>
            </a:xfrm>
            <a:custGeom>
              <a:avLst/>
              <a:gdLst>
                <a:gd name="connsiteX0" fmla="*/ 57150 w 57150"/>
                <a:gd name="connsiteY0" fmla="*/ 28575 h 57150"/>
                <a:gd name="connsiteX1" fmla="*/ 28575 w 57150"/>
                <a:gd name="connsiteY1" fmla="*/ 57150 h 57150"/>
                <a:gd name="connsiteX2" fmla="*/ 0 w 57150"/>
                <a:gd name="connsiteY2" fmla="*/ 28575 h 57150"/>
                <a:gd name="connsiteX3" fmla="*/ 28575 w 57150"/>
                <a:gd name="connsiteY3" fmla="*/ 0 h 57150"/>
                <a:gd name="connsiteX4" fmla="*/ 57150 w 57150"/>
                <a:gd name="connsiteY4" fmla="*/ 28575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57150">
                  <a:moveTo>
                    <a:pt x="57150" y="28575"/>
                  </a:moveTo>
                  <a:cubicBezTo>
                    <a:pt x="57150" y="44387"/>
                    <a:pt x="44387" y="57150"/>
                    <a:pt x="28575" y="57150"/>
                  </a:cubicBezTo>
                  <a:cubicBezTo>
                    <a:pt x="12763" y="57150"/>
                    <a:pt x="0" y="44387"/>
                    <a:pt x="0" y="28575"/>
                  </a:cubicBezTo>
                  <a:cubicBezTo>
                    <a:pt x="0" y="12764"/>
                    <a:pt x="12763" y="0"/>
                    <a:pt x="28575" y="0"/>
                  </a:cubicBezTo>
                  <a:cubicBezTo>
                    <a:pt x="44387" y="0"/>
                    <a:pt x="57150" y="12764"/>
                    <a:pt x="57150" y="28575"/>
                  </a:cubicBezTo>
                  <a:close/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orma Livre: Forma 21">
              <a:extLst>
                <a:ext uri="{FF2B5EF4-FFF2-40B4-BE49-F238E27FC236}">
                  <a16:creationId xmlns:a16="http://schemas.microsoft.com/office/drawing/2014/main" id="{ACE3B92D-77B4-0C77-033D-2644E94EB5E6}"/>
                </a:ext>
              </a:extLst>
            </p:cNvPr>
            <p:cNvSpPr/>
            <p:nvPr/>
          </p:nvSpPr>
          <p:spPr>
            <a:xfrm>
              <a:off x="8113932" y="1451340"/>
              <a:ext cx="57150" cy="57150"/>
            </a:xfrm>
            <a:custGeom>
              <a:avLst/>
              <a:gdLst>
                <a:gd name="connsiteX0" fmla="*/ 57150 w 57150"/>
                <a:gd name="connsiteY0" fmla="*/ 28575 h 57150"/>
                <a:gd name="connsiteX1" fmla="*/ 28575 w 57150"/>
                <a:gd name="connsiteY1" fmla="*/ 57150 h 57150"/>
                <a:gd name="connsiteX2" fmla="*/ 0 w 57150"/>
                <a:gd name="connsiteY2" fmla="*/ 28575 h 57150"/>
                <a:gd name="connsiteX3" fmla="*/ 28575 w 57150"/>
                <a:gd name="connsiteY3" fmla="*/ 0 h 57150"/>
                <a:gd name="connsiteX4" fmla="*/ 57150 w 57150"/>
                <a:gd name="connsiteY4" fmla="*/ 28575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57150">
                  <a:moveTo>
                    <a:pt x="57150" y="28575"/>
                  </a:moveTo>
                  <a:cubicBezTo>
                    <a:pt x="57150" y="44387"/>
                    <a:pt x="44387" y="57150"/>
                    <a:pt x="28575" y="57150"/>
                  </a:cubicBezTo>
                  <a:cubicBezTo>
                    <a:pt x="12763" y="57150"/>
                    <a:pt x="0" y="44387"/>
                    <a:pt x="0" y="28575"/>
                  </a:cubicBezTo>
                  <a:cubicBezTo>
                    <a:pt x="0" y="12764"/>
                    <a:pt x="12763" y="0"/>
                    <a:pt x="28575" y="0"/>
                  </a:cubicBezTo>
                  <a:cubicBezTo>
                    <a:pt x="44387" y="0"/>
                    <a:pt x="57150" y="12764"/>
                    <a:pt x="57150" y="28575"/>
                  </a:cubicBezTo>
                  <a:close/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orma Livre: Forma 22">
              <a:extLst>
                <a:ext uri="{FF2B5EF4-FFF2-40B4-BE49-F238E27FC236}">
                  <a16:creationId xmlns:a16="http://schemas.microsoft.com/office/drawing/2014/main" id="{AE0E0AF1-45F6-A5AA-4E03-FCB653E55A55}"/>
                </a:ext>
              </a:extLst>
            </p:cNvPr>
            <p:cNvSpPr/>
            <p:nvPr/>
          </p:nvSpPr>
          <p:spPr>
            <a:xfrm>
              <a:off x="7771032" y="1451340"/>
              <a:ext cx="57150" cy="57150"/>
            </a:xfrm>
            <a:custGeom>
              <a:avLst/>
              <a:gdLst>
                <a:gd name="connsiteX0" fmla="*/ 57150 w 57150"/>
                <a:gd name="connsiteY0" fmla="*/ 28575 h 57150"/>
                <a:gd name="connsiteX1" fmla="*/ 28575 w 57150"/>
                <a:gd name="connsiteY1" fmla="*/ 57150 h 57150"/>
                <a:gd name="connsiteX2" fmla="*/ 0 w 57150"/>
                <a:gd name="connsiteY2" fmla="*/ 28575 h 57150"/>
                <a:gd name="connsiteX3" fmla="*/ 28575 w 57150"/>
                <a:gd name="connsiteY3" fmla="*/ 0 h 57150"/>
                <a:gd name="connsiteX4" fmla="*/ 57150 w 57150"/>
                <a:gd name="connsiteY4" fmla="*/ 28575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57150">
                  <a:moveTo>
                    <a:pt x="57150" y="28575"/>
                  </a:moveTo>
                  <a:cubicBezTo>
                    <a:pt x="57150" y="44387"/>
                    <a:pt x="44387" y="57150"/>
                    <a:pt x="28575" y="57150"/>
                  </a:cubicBezTo>
                  <a:cubicBezTo>
                    <a:pt x="12763" y="57150"/>
                    <a:pt x="0" y="44387"/>
                    <a:pt x="0" y="28575"/>
                  </a:cubicBezTo>
                  <a:cubicBezTo>
                    <a:pt x="0" y="12764"/>
                    <a:pt x="12763" y="0"/>
                    <a:pt x="28575" y="0"/>
                  </a:cubicBezTo>
                  <a:cubicBezTo>
                    <a:pt x="44387" y="0"/>
                    <a:pt x="57150" y="12764"/>
                    <a:pt x="57150" y="28575"/>
                  </a:cubicBezTo>
                  <a:close/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orma Livre: Forma 23">
              <a:extLst>
                <a:ext uri="{FF2B5EF4-FFF2-40B4-BE49-F238E27FC236}">
                  <a16:creationId xmlns:a16="http://schemas.microsoft.com/office/drawing/2014/main" id="{A5BFF78A-862B-6587-CB56-6334AC26A627}"/>
                </a:ext>
              </a:extLst>
            </p:cNvPr>
            <p:cNvSpPr/>
            <p:nvPr/>
          </p:nvSpPr>
          <p:spPr>
            <a:xfrm>
              <a:off x="7790082" y="1308465"/>
              <a:ext cx="57150" cy="57150"/>
            </a:xfrm>
            <a:custGeom>
              <a:avLst/>
              <a:gdLst>
                <a:gd name="connsiteX0" fmla="*/ 57150 w 57150"/>
                <a:gd name="connsiteY0" fmla="*/ 28575 h 57150"/>
                <a:gd name="connsiteX1" fmla="*/ 28575 w 57150"/>
                <a:gd name="connsiteY1" fmla="*/ 57150 h 57150"/>
                <a:gd name="connsiteX2" fmla="*/ 0 w 57150"/>
                <a:gd name="connsiteY2" fmla="*/ 28575 h 57150"/>
                <a:gd name="connsiteX3" fmla="*/ 28575 w 57150"/>
                <a:gd name="connsiteY3" fmla="*/ 0 h 57150"/>
                <a:gd name="connsiteX4" fmla="*/ 57150 w 57150"/>
                <a:gd name="connsiteY4" fmla="*/ 28575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57150">
                  <a:moveTo>
                    <a:pt x="57150" y="28575"/>
                  </a:moveTo>
                  <a:cubicBezTo>
                    <a:pt x="57150" y="44387"/>
                    <a:pt x="44387" y="57150"/>
                    <a:pt x="28575" y="57150"/>
                  </a:cubicBezTo>
                  <a:cubicBezTo>
                    <a:pt x="12763" y="57150"/>
                    <a:pt x="0" y="44387"/>
                    <a:pt x="0" y="28575"/>
                  </a:cubicBezTo>
                  <a:cubicBezTo>
                    <a:pt x="0" y="12764"/>
                    <a:pt x="12763" y="0"/>
                    <a:pt x="28575" y="0"/>
                  </a:cubicBezTo>
                  <a:cubicBezTo>
                    <a:pt x="44387" y="0"/>
                    <a:pt x="57150" y="12764"/>
                    <a:pt x="57150" y="28575"/>
                  </a:cubicBezTo>
                  <a:close/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orma Livre: Forma 24">
              <a:extLst>
                <a:ext uri="{FF2B5EF4-FFF2-40B4-BE49-F238E27FC236}">
                  <a16:creationId xmlns:a16="http://schemas.microsoft.com/office/drawing/2014/main" id="{FD2DD319-EB3C-66AC-516B-098AFAC36FEA}"/>
                </a:ext>
              </a:extLst>
            </p:cNvPr>
            <p:cNvSpPr/>
            <p:nvPr/>
          </p:nvSpPr>
          <p:spPr>
            <a:xfrm>
              <a:off x="8094882" y="1594215"/>
              <a:ext cx="57150" cy="57150"/>
            </a:xfrm>
            <a:custGeom>
              <a:avLst/>
              <a:gdLst>
                <a:gd name="connsiteX0" fmla="*/ 57150 w 57150"/>
                <a:gd name="connsiteY0" fmla="*/ 28575 h 57150"/>
                <a:gd name="connsiteX1" fmla="*/ 28575 w 57150"/>
                <a:gd name="connsiteY1" fmla="*/ 57150 h 57150"/>
                <a:gd name="connsiteX2" fmla="*/ 0 w 57150"/>
                <a:gd name="connsiteY2" fmla="*/ 28575 h 57150"/>
                <a:gd name="connsiteX3" fmla="*/ 28575 w 57150"/>
                <a:gd name="connsiteY3" fmla="*/ 0 h 57150"/>
                <a:gd name="connsiteX4" fmla="*/ 57150 w 57150"/>
                <a:gd name="connsiteY4" fmla="*/ 28575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57150">
                  <a:moveTo>
                    <a:pt x="57150" y="28575"/>
                  </a:moveTo>
                  <a:cubicBezTo>
                    <a:pt x="57150" y="44387"/>
                    <a:pt x="44387" y="57150"/>
                    <a:pt x="28575" y="57150"/>
                  </a:cubicBezTo>
                  <a:cubicBezTo>
                    <a:pt x="12763" y="57150"/>
                    <a:pt x="0" y="44387"/>
                    <a:pt x="0" y="28575"/>
                  </a:cubicBezTo>
                  <a:cubicBezTo>
                    <a:pt x="0" y="12764"/>
                    <a:pt x="12763" y="0"/>
                    <a:pt x="28575" y="0"/>
                  </a:cubicBezTo>
                  <a:cubicBezTo>
                    <a:pt x="44387" y="0"/>
                    <a:pt x="57150" y="12764"/>
                    <a:pt x="57150" y="28575"/>
                  </a:cubicBezTo>
                  <a:close/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orma Livre: Forma 25">
              <a:extLst>
                <a:ext uri="{FF2B5EF4-FFF2-40B4-BE49-F238E27FC236}">
                  <a16:creationId xmlns:a16="http://schemas.microsoft.com/office/drawing/2014/main" id="{FC73B43F-7152-D93F-82C9-EB894EA691D8}"/>
                </a:ext>
              </a:extLst>
            </p:cNvPr>
            <p:cNvSpPr/>
            <p:nvPr/>
          </p:nvSpPr>
          <p:spPr>
            <a:xfrm>
              <a:off x="7790082" y="1594215"/>
              <a:ext cx="57150" cy="57150"/>
            </a:xfrm>
            <a:custGeom>
              <a:avLst/>
              <a:gdLst>
                <a:gd name="connsiteX0" fmla="*/ 57150 w 57150"/>
                <a:gd name="connsiteY0" fmla="*/ 28575 h 57150"/>
                <a:gd name="connsiteX1" fmla="*/ 28575 w 57150"/>
                <a:gd name="connsiteY1" fmla="*/ 57150 h 57150"/>
                <a:gd name="connsiteX2" fmla="*/ 0 w 57150"/>
                <a:gd name="connsiteY2" fmla="*/ 28575 h 57150"/>
                <a:gd name="connsiteX3" fmla="*/ 28575 w 57150"/>
                <a:gd name="connsiteY3" fmla="*/ 0 h 57150"/>
                <a:gd name="connsiteX4" fmla="*/ 57150 w 57150"/>
                <a:gd name="connsiteY4" fmla="*/ 28575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57150">
                  <a:moveTo>
                    <a:pt x="57150" y="28575"/>
                  </a:moveTo>
                  <a:cubicBezTo>
                    <a:pt x="57150" y="44387"/>
                    <a:pt x="44387" y="57150"/>
                    <a:pt x="28575" y="57150"/>
                  </a:cubicBezTo>
                  <a:cubicBezTo>
                    <a:pt x="12763" y="57150"/>
                    <a:pt x="0" y="44387"/>
                    <a:pt x="0" y="28575"/>
                  </a:cubicBezTo>
                  <a:cubicBezTo>
                    <a:pt x="0" y="12764"/>
                    <a:pt x="12763" y="0"/>
                    <a:pt x="28575" y="0"/>
                  </a:cubicBezTo>
                  <a:cubicBezTo>
                    <a:pt x="44387" y="0"/>
                    <a:pt x="57150" y="12764"/>
                    <a:pt x="57150" y="28575"/>
                  </a:cubicBezTo>
                  <a:close/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orma Livre: Forma 26">
              <a:extLst>
                <a:ext uri="{FF2B5EF4-FFF2-40B4-BE49-F238E27FC236}">
                  <a16:creationId xmlns:a16="http://schemas.microsoft.com/office/drawing/2014/main" id="{0661757F-3587-81B7-F408-8B4ACC9C2F1D}"/>
                </a:ext>
              </a:extLst>
            </p:cNvPr>
            <p:cNvSpPr/>
            <p:nvPr/>
          </p:nvSpPr>
          <p:spPr>
            <a:xfrm>
              <a:off x="7971057" y="1337040"/>
              <a:ext cx="9525" cy="47625"/>
            </a:xfrm>
            <a:custGeom>
              <a:avLst/>
              <a:gdLst>
                <a:gd name="connsiteX0" fmla="*/ 0 w 0"/>
                <a:gd name="connsiteY0" fmla="*/ 0 h 47625"/>
                <a:gd name="connsiteX1" fmla="*/ 0 w 0"/>
                <a:gd name="connsiteY1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47625">
                  <a:moveTo>
                    <a:pt x="0" y="0"/>
                  </a:moveTo>
                  <a:lnTo>
                    <a:pt x="0" y="47625"/>
                  </a:lnTo>
                </a:path>
              </a:pathLst>
            </a:custGeom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orma Livre: Forma 27">
              <a:extLst>
                <a:ext uri="{FF2B5EF4-FFF2-40B4-BE49-F238E27FC236}">
                  <a16:creationId xmlns:a16="http://schemas.microsoft.com/office/drawing/2014/main" id="{9E0C38B3-2CF7-25B0-5741-F37F458EE6A3}"/>
                </a:ext>
              </a:extLst>
            </p:cNvPr>
            <p:cNvSpPr/>
            <p:nvPr/>
          </p:nvSpPr>
          <p:spPr>
            <a:xfrm>
              <a:off x="7971057" y="1575165"/>
              <a:ext cx="9525" cy="47625"/>
            </a:xfrm>
            <a:custGeom>
              <a:avLst/>
              <a:gdLst>
                <a:gd name="connsiteX0" fmla="*/ 0 w 0"/>
                <a:gd name="connsiteY0" fmla="*/ 0 h 47625"/>
                <a:gd name="connsiteX1" fmla="*/ 0 w 0"/>
                <a:gd name="connsiteY1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47625">
                  <a:moveTo>
                    <a:pt x="0" y="0"/>
                  </a:moveTo>
                  <a:lnTo>
                    <a:pt x="0" y="47625"/>
                  </a:lnTo>
                </a:path>
              </a:pathLst>
            </a:custGeom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orma Livre: Forma 28">
              <a:extLst>
                <a:ext uri="{FF2B5EF4-FFF2-40B4-BE49-F238E27FC236}">
                  <a16:creationId xmlns:a16="http://schemas.microsoft.com/office/drawing/2014/main" id="{C9D7B1E3-CB44-DABD-A1CD-E0B6435572E4}"/>
                </a:ext>
              </a:extLst>
            </p:cNvPr>
            <p:cNvSpPr/>
            <p:nvPr/>
          </p:nvSpPr>
          <p:spPr>
            <a:xfrm>
              <a:off x="7837707" y="1356090"/>
              <a:ext cx="57150" cy="57150"/>
            </a:xfrm>
            <a:custGeom>
              <a:avLst/>
              <a:gdLst>
                <a:gd name="connsiteX0" fmla="*/ 0 w 57150"/>
                <a:gd name="connsiteY0" fmla="*/ 0 h 57150"/>
                <a:gd name="connsiteX1" fmla="*/ 57150 w 57150"/>
                <a:gd name="connsiteY1" fmla="*/ 57150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150" h="57150">
                  <a:moveTo>
                    <a:pt x="0" y="0"/>
                  </a:moveTo>
                  <a:lnTo>
                    <a:pt x="57150" y="57150"/>
                  </a:lnTo>
                </a:path>
              </a:pathLst>
            </a:custGeom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orma Livre: Forma 29">
              <a:extLst>
                <a:ext uri="{FF2B5EF4-FFF2-40B4-BE49-F238E27FC236}">
                  <a16:creationId xmlns:a16="http://schemas.microsoft.com/office/drawing/2014/main" id="{2E479686-A14F-A03B-3248-443EC16B114E}"/>
                </a:ext>
              </a:extLst>
            </p:cNvPr>
            <p:cNvSpPr/>
            <p:nvPr/>
          </p:nvSpPr>
          <p:spPr>
            <a:xfrm>
              <a:off x="8047257" y="1356090"/>
              <a:ext cx="57150" cy="57150"/>
            </a:xfrm>
            <a:custGeom>
              <a:avLst/>
              <a:gdLst>
                <a:gd name="connsiteX0" fmla="*/ 57150 w 57150"/>
                <a:gd name="connsiteY0" fmla="*/ 0 h 57150"/>
                <a:gd name="connsiteX1" fmla="*/ 0 w 57150"/>
                <a:gd name="connsiteY1" fmla="*/ 57150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150" h="57150">
                  <a:moveTo>
                    <a:pt x="57150" y="0"/>
                  </a:moveTo>
                  <a:lnTo>
                    <a:pt x="0" y="57150"/>
                  </a:lnTo>
                </a:path>
              </a:pathLst>
            </a:custGeom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orma Livre: Forma 30">
              <a:extLst>
                <a:ext uri="{FF2B5EF4-FFF2-40B4-BE49-F238E27FC236}">
                  <a16:creationId xmlns:a16="http://schemas.microsoft.com/office/drawing/2014/main" id="{F51EECFA-F6ED-93B9-27EF-84A8BE126B29}"/>
                </a:ext>
              </a:extLst>
            </p:cNvPr>
            <p:cNvSpPr/>
            <p:nvPr/>
          </p:nvSpPr>
          <p:spPr>
            <a:xfrm>
              <a:off x="7837707" y="1546590"/>
              <a:ext cx="57150" cy="57150"/>
            </a:xfrm>
            <a:custGeom>
              <a:avLst/>
              <a:gdLst>
                <a:gd name="connsiteX0" fmla="*/ 0 w 57150"/>
                <a:gd name="connsiteY0" fmla="*/ 57150 h 57150"/>
                <a:gd name="connsiteX1" fmla="*/ 57150 w 57150"/>
                <a:gd name="connsiteY1" fmla="*/ 0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150" h="57150">
                  <a:moveTo>
                    <a:pt x="0" y="57150"/>
                  </a:moveTo>
                  <a:lnTo>
                    <a:pt x="57150" y="0"/>
                  </a:lnTo>
                </a:path>
              </a:pathLst>
            </a:custGeom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orma Livre: Forma 31">
              <a:extLst>
                <a:ext uri="{FF2B5EF4-FFF2-40B4-BE49-F238E27FC236}">
                  <a16:creationId xmlns:a16="http://schemas.microsoft.com/office/drawing/2014/main" id="{603BF68C-5A6D-5695-9DC2-C6BC6A680417}"/>
                </a:ext>
              </a:extLst>
            </p:cNvPr>
            <p:cNvSpPr/>
            <p:nvPr/>
          </p:nvSpPr>
          <p:spPr>
            <a:xfrm>
              <a:off x="8047257" y="1546590"/>
              <a:ext cx="57150" cy="57150"/>
            </a:xfrm>
            <a:custGeom>
              <a:avLst/>
              <a:gdLst>
                <a:gd name="connsiteX0" fmla="*/ 57150 w 57150"/>
                <a:gd name="connsiteY0" fmla="*/ 57150 h 57150"/>
                <a:gd name="connsiteX1" fmla="*/ 0 w 57150"/>
                <a:gd name="connsiteY1" fmla="*/ 0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150" h="57150">
                  <a:moveTo>
                    <a:pt x="57150" y="57150"/>
                  </a:moveTo>
                  <a:lnTo>
                    <a:pt x="0" y="0"/>
                  </a:lnTo>
                </a:path>
              </a:pathLst>
            </a:custGeom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orma Livre: Forma 32">
              <a:extLst>
                <a:ext uri="{FF2B5EF4-FFF2-40B4-BE49-F238E27FC236}">
                  <a16:creationId xmlns:a16="http://schemas.microsoft.com/office/drawing/2014/main" id="{73D589C4-4B68-D2F5-4068-BA6226158E9B}"/>
                </a:ext>
              </a:extLst>
            </p:cNvPr>
            <p:cNvSpPr/>
            <p:nvPr/>
          </p:nvSpPr>
          <p:spPr>
            <a:xfrm>
              <a:off x="7828182" y="1479915"/>
              <a:ext cx="47625" cy="9525"/>
            </a:xfrm>
            <a:custGeom>
              <a:avLst/>
              <a:gdLst>
                <a:gd name="connsiteX0" fmla="*/ 0 w 47625"/>
                <a:gd name="connsiteY0" fmla="*/ 0 h 0"/>
                <a:gd name="connsiteX1" fmla="*/ 47625 w 4762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5">
                  <a:moveTo>
                    <a:pt x="0" y="0"/>
                  </a:moveTo>
                  <a:lnTo>
                    <a:pt x="47625" y="0"/>
                  </a:lnTo>
                </a:path>
              </a:pathLst>
            </a:custGeom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orma Livre: Forma 33">
              <a:extLst>
                <a:ext uri="{FF2B5EF4-FFF2-40B4-BE49-F238E27FC236}">
                  <a16:creationId xmlns:a16="http://schemas.microsoft.com/office/drawing/2014/main" id="{F162393D-F9DD-CDF7-6477-FE10292006D7}"/>
                </a:ext>
              </a:extLst>
            </p:cNvPr>
            <p:cNvSpPr/>
            <p:nvPr/>
          </p:nvSpPr>
          <p:spPr>
            <a:xfrm>
              <a:off x="8066307" y="1479915"/>
              <a:ext cx="47625" cy="9525"/>
            </a:xfrm>
            <a:custGeom>
              <a:avLst/>
              <a:gdLst>
                <a:gd name="connsiteX0" fmla="*/ 0 w 47625"/>
                <a:gd name="connsiteY0" fmla="*/ 0 h 0"/>
                <a:gd name="connsiteX1" fmla="*/ 47625 w 4762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5">
                  <a:moveTo>
                    <a:pt x="0" y="0"/>
                  </a:moveTo>
                  <a:lnTo>
                    <a:pt x="47625" y="0"/>
                  </a:lnTo>
                </a:path>
              </a:pathLst>
            </a:custGeom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" name="Retângulo 3">
            <a:extLst>
              <a:ext uri="{FF2B5EF4-FFF2-40B4-BE49-F238E27FC236}">
                <a16:creationId xmlns:a16="http://schemas.microsoft.com/office/drawing/2014/main" id="{962020C4-3130-693C-235E-185FDAC85B0C}"/>
              </a:ext>
            </a:extLst>
          </p:cNvPr>
          <p:cNvSpPr/>
          <p:nvPr/>
        </p:nvSpPr>
        <p:spPr>
          <a:xfrm>
            <a:off x="5765604" y="5122415"/>
            <a:ext cx="5937788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0" cap="none" spc="300" normalizeH="0" baseline="0" noProof="0" dirty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Black" panose="020B0903020204020204" pitchFamily="34" charset="0"/>
                <a:ea typeface="+mn-ea"/>
                <a:cs typeface="Itau Display Black" panose="020B0903020204020204" pitchFamily="34" charset="0"/>
              </a:rPr>
              <a:t>Monitoramento e evolução contínu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_</a:t>
            </a:r>
            <a:r>
              <a:rPr kumimoji="0" lang="pt-BR" sz="1400" b="0" i="0" u="none" strike="noStrike" kern="0" cap="none" spc="0" normalizeH="0" baseline="0" noProof="0" dirty="0" err="1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analytics</a:t>
            </a: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 </a:t>
            </a:r>
            <a:r>
              <a:rPr kumimoji="0" lang="pt-BR" sz="1400" b="0" i="0" u="none" strike="noStrike" kern="0" cap="none" spc="0" normalizeH="0" baseline="0" noProof="0" dirty="0" err="1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by</a:t>
            </a: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 desig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_monitoramento de dados de navegação e consum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_pesquisa de satisfação (CSAT) e esforço (CES) embarcadas no próprio app</a:t>
            </a:r>
          </a:p>
        </p:txBody>
      </p:sp>
      <p:grpSp>
        <p:nvGrpSpPr>
          <p:cNvPr id="36" name="Agrupar 35">
            <a:extLst>
              <a:ext uri="{FF2B5EF4-FFF2-40B4-BE49-F238E27FC236}">
                <a16:creationId xmlns:a16="http://schemas.microsoft.com/office/drawing/2014/main" id="{4762708A-B000-5299-B7A1-BF74C35A7950}"/>
              </a:ext>
            </a:extLst>
          </p:cNvPr>
          <p:cNvGrpSpPr>
            <a:grpSpLocks noChangeAspect="1"/>
          </p:cNvGrpSpPr>
          <p:nvPr/>
        </p:nvGrpSpPr>
        <p:grpSpPr>
          <a:xfrm>
            <a:off x="4807696" y="5367133"/>
            <a:ext cx="598849" cy="612001"/>
            <a:chOff x="12734106" y="3549332"/>
            <a:chExt cx="438055" cy="447675"/>
          </a:xfrm>
        </p:grpSpPr>
        <p:sp>
          <p:nvSpPr>
            <p:cNvPr id="37" name="Forma Livre: Forma 36">
              <a:extLst>
                <a:ext uri="{FF2B5EF4-FFF2-40B4-BE49-F238E27FC236}">
                  <a16:creationId xmlns:a16="http://schemas.microsoft.com/office/drawing/2014/main" id="{379EF919-0249-C27A-E1CE-2FD34777D67E}"/>
                </a:ext>
              </a:extLst>
            </p:cNvPr>
            <p:cNvSpPr/>
            <p:nvPr/>
          </p:nvSpPr>
          <p:spPr>
            <a:xfrm>
              <a:off x="12734106" y="3549332"/>
              <a:ext cx="161925" cy="161925"/>
            </a:xfrm>
            <a:custGeom>
              <a:avLst/>
              <a:gdLst>
                <a:gd name="connsiteX0" fmla="*/ 161925 w 161925"/>
                <a:gd name="connsiteY0" fmla="*/ 80963 h 161925"/>
                <a:gd name="connsiteX1" fmla="*/ 80963 w 161925"/>
                <a:gd name="connsiteY1" fmla="*/ 161925 h 161925"/>
                <a:gd name="connsiteX2" fmla="*/ 0 w 161925"/>
                <a:gd name="connsiteY2" fmla="*/ 80963 h 161925"/>
                <a:gd name="connsiteX3" fmla="*/ 80963 w 161925"/>
                <a:gd name="connsiteY3" fmla="*/ 0 h 161925"/>
                <a:gd name="connsiteX4" fmla="*/ 161925 w 161925"/>
                <a:gd name="connsiteY4" fmla="*/ 80963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925" h="161925">
                  <a:moveTo>
                    <a:pt x="161925" y="80963"/>
                  </a:moveTo>
                  <a:cubicBezTo>
                    <a:pt x="161925" y="125677"/>
                    <a:pt x="125677" y="161925"/>
                    <a:pt x="80963" y="161925"/>
                  </a:cubicBezTo>
                  <a:cubicBezTo>
                    <a:pt x="36248" y="161925"/>
                    <a:pt x="0" y="125677"/>
                    <a:pt x="0" y="80963"/>
                  </a:cubicBezTo>
                  <a:cubicBezTo>
                    <a:pt x="0" y="36248"/>
                    <a:pt x="36248" y="0"/>
                    <a:pt x="80963" y="0"/>
                  </a:cubicBezTo>
                  <a:cubicBezTo>
                    <a:pt x="125677" y="0"/>
                    <a:pt x="161925" y="36248"/>
                    <a:pt x="161925" y="80963"/>
                  </a:cubicBezTo>
                  <a:close/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orma Livre: Forma 37">
              <a:extLst>
                <a:ext uri="{FF2B5EF4-FFF2-40B4-BE49-F238E27FC236}">
                  <a16:creationId xmlns:a16="http://schemas.microsoft.com/office/drawing/2014/main" id="{747015B9-1627-02BB-0BD3-367149579267}"/>
                </a:ext>
              </a:extLst>
            </p:cNvPr>
            <p:cNvSpPr/>
            <p:nvPr/>
          </p:nvSpPr>
          <p:spPr>
            <a:xfrm>
              <a:off x="12791256" y="3587432"/>
              <a:ext cx="9525" cy="38100"/>
            </a:xfrm>
            <a:custGeom>
              <a:avLst/>
              <a:gdLst>
                <a:gd name="connsiteX0" fmla="*/ 0 w 0"/>
                <a:gd name="connsiteY0" fmla="*/ 0 h 38100"/>
                <a:gd name="connsiteX1" fmla="*/ 0 w 0"/>
                <a:gd name="connsiteY1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8100">
                  <a:moveTo>
                    <a:pt x="0" y="0"/>
                  </a:moveTo>
                  <a:lnTo>
                    <a:pt x="0" y="38100"/>
                  </a:lnTo>
                </a:path>
              </a:pathLst>
            </a:custGeom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orma Livre: Forma 38">
              <a:extLst>
                <a:ext uri="{FF2B5EF4-FFF2-40B4-BE49-F238E27FC236}">
                  <a16:creationId xmlns:a16="http://schemas.microsoft.com/office/drawing/2014/main" id="{0EA42ED8-96AB-2BD3-824A-9A0E93F23C0A}"/>
                </a:ext>
              </a:extLst>
            </p:cNvPr>
            <p:cNvSpPr/>
            <p:nvPr/>
          </p:nvSpPr>
          <p:spPr>
            <a:xfrm>
              <a:off x="12838881" y="3587432"/>
              <a:ext cx="9525" cy="38100"/>
            </a:xfrm>
            <a:custGeom>
              <a:avLst/>
              <a:gdLst>
                <a:gd name="connsiteX0" fmla="*/ 0 w 0"/>
                <a:gd name="connsiteY0" fmla="*/ 0 h 38100"/>
                <a:gd name="connsiteX1" fmla="*/ 0 w 0"/>
                <a:gd name="connsiteY1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8100">
                  <a:moveTo>
                    <a:pt x="0" y="0"/>
                  </a:moveTo>
                  <a:lnTo>
                    <a:pt x="0" y="38100"/>
                  </a:lnTo>
                </a:path>
              </a:pathLst>
            </a:custGeom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orma Livre: Forma 39">
              <a:extLst>
                <a:ext uri="{FF2B5EF4-FFF2-40B4-BE49-F238E27FC236}">
                  <a16:creationId xmlns:a16="http://schemas.microsoft.com/office/drawing/2014/main" id="{51CD90BA-E12B-ED33-1111-EE690A6A7D9A}"/>
                </a:ext>
              </a:extLst>
            </p:cNvPr>
            <p:cNvSpPr/>
            <p:nvPr/>
          </p:nvSpPr>
          <p:spPr>
            <a:xfrm>
              <a:off x="12772206" y="3644582"/>
              <a:ext cx="85725" cy="28575"/>
            </a:xfrm>
            <a:custGeom>
              <a:avLst/>
              <a:gdLst>
                <a:gd name="connsiteX0" fmla="*/ 85725 w 85725"/>
                <a:gd name="connsiteY0" fmla="*/ 0 h 28575"/>
                <a:gd name="connsiteX1" fmla="*/ 42863 w 85725"/>
                <a:gd name="connsiteY1" fmla="*/ 28575 h 28575"/>
                <a:gd name="connsiteX2" fmla="*/ 0 w 85725"/>
                <a:gd name="connsiteY2" fmla="*/ 0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5725" h="28575">
                  <a:moveTo>
                    <a:pt x="85725" y="0"/>
                  </a:moveTo>
                  <a:cubicBezTo>
                    <a:pt x="78677" y="16764"/>
                    <a:pt x="62103" y="28575"/>
                    <a:pt x="42863" y="28575"/>
                  </a:cubicBezTo>
                  <a:cubicBezTo>
                    <a:pt x="23622" y="28575"/>
                    <a:pt x="7048" y="16764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orma Livre: Forma 41">
              <a:extLst>
                <a:ext uri="{FF2B5EF4-FFF2-40B4-BE49-F238E27FC236}">
                  <a16:creationId xmlns:a16="http://schemas.microsoft.com/office/drawing/2014/main" id="{CC4861B8-163E-8AF6-AFE9-77B60AAE355A}"/>
                </a:ext>
              </a:extLst>
            </p:cNvPr>
            <p:cNvSpPr/>
            <p:nvPr/>
          </p:nvSpPr>
          <p:spPr>
            <a:xfrm>
              <a:off x="12905270" y="3549332"/>
              <a:ext cx="133350" cy="161925"/>
            </a:xfrm>
            <a:custGeom>
              <a:avLst/>
              <a:gdLst>
                <a:gd name="connsiteX0" fmla="*/ 0 w 133350"/>
                <a:gd name="connsiteY0" fmla="*/ 19431 h 161925"/>
                <a:gd name="connsiteX1" fmla="*/ 52673 w 133350"/>
                <a:gd name="connsiteY1" fmla="*/ 0 h 161925"/>
                <a:gd name="connsiteX2" fmla="*/ 133636 w 133350"/>
                <a:gd name="connsiteY2" fmla="*/ 80963 h 161925"/>
                <a:gd name="connsiteX3" fmla="*/ 52673 w 133350"/>
                <a:gd name="connsiteY3" fmla="*/ 161925 h 161925"/>
                <a:gd name="connsiteX4" fmla="*/ 1619 w 133350"/>
                <a:gd name="connsiteY4" fmla="*/ 143828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350" h="161925">
                  <a:moveTo>
                    <a:pt x="0" y="19431"/>
                  </a:moveTo>
                  <a:cubicBezTo>
                    <a:pt x="14192" y="7334"/>
                    <a:pt x="32576" y="0"/>
                    <a:pt x="52673" y="0"/>
                  </a:cubicBezTo>
                  <a:cubicBezTo>
                    <a:pt x="97346" y="0"/>
                    <a:pt x="133636" y="36290"/>
                    <a:pt x="133636" y="80963"/>
                  </a:cubicBezTo>
                  <a:cubicBezTo>
                    <a:pt x="133636" y="125635"/>
                    <a:pt x="97346" y="161925"/>
                    <a:pt x="52673" y="161925"/>
                  </a:cubicBezTo>
                  <a:cubicBezTo>
                    <a:pt x="33338" y="161925"/>
                    <a:pt x="15621" y="155162"/>
                    <a:pt x="1619" y="143828"/>
                  </a:cubicBezTo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orma Livre: Forma 48">
              <a:extLst>
                <a:ext uri="{FF2B5EF4-FFF2-40B4-BE49-F238E27FC236}">
                  <a16:creationId xmlns:a16="http://schemas.microsoft.com/office/drawing/2014/main" id="{E5F3B4DA-24EF-0E82-FF48-5FEEF4F95F2A}"/>
                </a:ext>
              </a:extLst>
            </p:cNvPr>
            <p:cNvSpPr/>
            <p:nvPr/>
          </p:nvSpPr>
          <p:spPr>
            <a:xfrm>
              <a:off x="12934131" y="3587432"/>
              <a:ext cx="9525" cy="38100"/>
            </a:xfrm>
            <a:custGeom>
              <a:avLst/>
              <a:gdLst>
                <a:gd name="connsiteX0" fmla="*/ 0 w 0"/>
                <a:gd name="connsiteY0" fmla="*/ 0 h 38100"/>
                <a:gd name="connsiteX1" fmla="*/ 0 w 0"/>
                <a:gd name="connsiteY1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8100">
                  <a:moveTo>
                    <a:pt x="0" y="0"/>
                  </a:moveTo>
                  <a:lnTo>
                    <a:pt x="0" y="38100"/>
                  </a:lnTo>
                </a:path>
              </a:pathLst>
            </a:custGeom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orma Livre: Forma 49">
              <a:extLst>
                <a:ext uri="{FF2B5EF4-FFF2-40B4-BE49-F238E27FC236}">
                  <a16:creationId xmlns:a16="http://schemas.microsoft.com/office/drawing/2014/main" id="{E09FA94B-FB8D-6998-C6D5-55933FFDA0CA}"/>
                </a:ext>
              </a:extLst>
            </p:cNvPr>
            <p:cNvSpPr/>
            <p:nvPr/>
          </p:nvSpPr>
          <p:spPr>
            <a:xfrm>
              <a:off x="12981756" y="3587432"/>
              <a:ext cx="9525" cy="38100"/>
            </a:xfrm>
            <a:custGeom>
              <a:avLst/>
              <a:gdLst>
                <a:gd name="connsiteX0" fmla="*/ 0 w 0"/>
                <a:gd name="connsiteY0" fmla="*/ 0 h 38100"/>
                <a:gd name="connsiteX1" fmla="*/ 0 w 0"/>
                <a:gd name="connsiteY1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8100">
                  <a:moveTo>
                    <a:pt x="0" y="0"/>
                  </a:moveTo>
                  <a:lnTo>
                    <a:pt x="0" y="38100"/>
                  </a:lnTo>
                </a:path>
              </a:pathLst>
            </a:custGeom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orma Livre: Forma 50">
              <a:extLst>
                <a:ext uri="{FF2B5EF4-FFF2-40B4-BE49-F238E27FC236}">
                  <a16:creationId xmlns:a16="http://schemas.microsoft.com/office/drawing/2014/main" id="{29C4C3CE-64A0-3669-2E56-E509EA343969}"/>
                </a:ext>
              </a:extLst>
            </p:cNvPr>
            <p:cNvSpPr/>
            <p:nvPr/>
          </p:nvSpPr>
          <p:spPr>
            <a:xfrm>
              <a:off x="13067386" y="3654107"/>
              <a:ext cx="57150" cy="9525"/>
            </a:xfrm>
            <a:custGeom>
              <a:avLst/>
              <a:gdLst>
                <a:gd name="connsiteX0" fmla="*/ 57340 w 57150"/>
                <a:gd name="connsiteY0" fmla="*/ 9525 h 9525"/>
                <a:gd name="connsiteX1" fmla="*/ 23908 w 57150"/>
                <a:gd name="connsiteY1" fmla="*/ 0 h 9525"/>
                <a:gd name="connsiteX2" fmla="*/ 0 w 57150"/>
                <a:gd name="connsiteY2" fmla="*/ 4477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150" h="9525">
                  <a:moveTo>
                    <a:pt x="57340" y="9525"/>
                  </a:moveTo>
                  <a:cubicBezTo>
                    <a:pt x="48863" y="3620"/>
                    <a:pt x="37052" y="0"/>
                    <a:pt x="23908" y="0"/>
                  </a:cubicBezTo>
                  <a:cubicBezTo>
                    <a:pt x="15145" y="0"/>
                    <a:pt x="6953" y="1619"/>
                    <a:pt x="0" y="4477"/>
                  </a:cubicBezTo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orma Livre: Forma 55">
              <a:extLst>
                <a:ext uri="{FF2B5EF4-FFF2-40B4-BE49-F238E27FC236}">
                  <a16:creationId xmlns:a16="http://schemas.microsoft.com/office/drawing/2014/main" id="{9F313925-1BBE-7A4D-9A9F-0644917CF849}"/>
                </a:ext>
              </a:extLst>
            </p:cNvPr>
            <p:cNvSpPr/>
            <p:nvPr/>
          </p:nvSpPr>
          <p:spPr>
            <a:xfrm>
              <a:off x="13048336" y="3549332"/>
              <a:ext cx="123825" cy="161925"/>
            </a:xfrm>
            <a:custGeom>
              <a:avLst/>
              <a:gdLst>
                <a:gd name="connsiteX0" fmla="*/ 95 w 123825"/>
                <a:gd name="connsiteY0" fmla="*/ 12287 h 161925"/>
                <a:gd name="connsiteX1" fmla="*/ 42958 w 123825"/>
                <a:gd name="connsiteY1" fmla="*/ 0 h 161925"/>
                <a:gd name="connsiteX2" fmla="*/ 123920 w 123825"/>
                <a:gd name="connsiteY2" fmla="*/ 80963 h 161925"/>
                <a:gd name="connsiteX3" fmla="*/ 42958 w 123825"/>
                <a:gd name="connsiteY3" fmla="*/ 161925 h 161925"/>
                <a:gd name="connsiteX4" fmla="*/ 0 w 123825"/>
                <a:gd name="connsiteY4" fmla="*/ 149638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825" h="161925">
                  <a:moveTo>
                    <a:pt x="95" y="12287"/>
                  </a:moveTo>
                  <a:cubicBezTo>
                    <a:pt x="12573" y="4477"/>
                    <a:pt x="27241" y="0"/>
                    <a:pt x="42958" y="0"/>
                  </a:cubicBezTo>
                  <a:cubicBezTo>
                    <a:pt x="87630" y="0"/>
                    <a:pt x="123920" y="36290"/>
                    <a:pt x="123920" y="80963"/>
                  </a:cubicBezTo>
                  <a:cubicBezTo>
                    <a:pt x="123920" y="125635"/>
                    <a:pt x="87630" y="161925"/>
                    <a:pt x="42958" y="161925"/>
                  </a:cubicBezTo>
                  <a:cubicBezTo>
                    <a:pt x="27241" y="161925"/>
                    <a:pt x="12478" y="157448"/>
                    <a:pt x="0" y="149638"/>
                  </a:cubicBezTo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orma Livre: Forma 64">
              <a:extLst>
                <a:ext uri="{FF2B5EF4-FFF2-40B4-BE49-F238E27FC236}">
                  <a16:creationId xmlns:a16="http://schemas.microsoft.com/office/drawing/2014/main" id="{24818E98-D5B3-B2ED-2EDD-F0475D687B23}"/>
                </a:ext>
              </a:extLst>
            </p:cNvPr>
            <p:cNvSpPr/>
            <p:nvPr/>
          </p:nvSpPr>
          <p:spPr>
            <a:xfrm>
              <a:off x="13067481" y="3587432"/>
              <a:ext cx="9525" cy="38100"/>
            </a:xfrm>
            <a:custGeom>
              <a:avLst/>
              <a:gdLst>
                <a:gd name="connsiteX0" fmla="*/ 0 w 0"/>
                <a:gd name="connsiteY0" fmla="*/ 0 h 38100"/>
                <a:gd name="connsiteX1" fmla="*/ 0 w 0"/>
                <a:gd name="connsiteY1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8100">
                  <a:moveTo>
                    <a:pt x="0" y="0"/>
                  </a:moveTo>
                  <a:lnTo>
                    <a:pt x="0" y="38100"/>
                  </a:lnTo>
                </a:path>
              </a:pathLst>
            </a:custGeom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orma Livre: Forma 65">
              <a:extLst>
                <a:ext uri="{FF2B5EF4-FFF2-40B4-BE49-F238E27FC236}">
                  <a16:creationId xmlns:a16="http://schemas.microsoft.com/office/drawing/2014/main" id="{511D79B2-5CB8-F6B9-18A3-944C6150BD72}"/>
                </a:ext>
              </a:extLst>
            </p:cNvPr>
            <p:cNvSpPr/>
            <p:nvPr/>
          </p:nvSpPr>
          <p:spPr>
            <a:xfrm>
              <a:off x="13115106" y="3587432"/>
              <a:ext cx="9525" cy="38100"/>
            </a:xfrm>
            <a:custGeom>
              <a:avLst/>
              <a:gdLst>
                <a:gd name="connsiteX0" fmla="*/ 0 w 0"/>
                <a:gd name="connsiteY0" fmla="*/ 0 h 38100"/>
                <a:gd name="connsiteX1" fmla="*/ 0 w 0"/>
                <a:gd name="connsiteY1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8100">
                  <a:moveTo>
                    <a:pt x="0" y="0"/>
                  </a:moveTo>
                  <a:lnTo>
                    <a:pt x="0" y="38100"/>
                  </a:lnTo>
                </a:path>
              </a:pathLst>
            </a:custGeom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orma Livre: Forma 66">
              <a:extLst>
                <a:ext uri="{FF2B5EF4-FFF2-40B4-BE49-F238E27FC236}">
                  <a16:creationId xmlns:a16="http://schemas.microsoft.com/office/drawing/2014/main" id="{7BF377A0-CEBF-9548-DB8D-F316DC7DD3D8}"/>
                </a:ext>
              </a:extLst>
            </p:cNvPr>
            <p:cNvSpPr/>
            <p:nvPr/>
          </p:nvSpPr>
          <p:spPr>
            <a:xfrm>
              <a:off x="12924606" y="3663632"/>
              <a:ext cx="66675" cy="9525"/>
            </a:xfrm>
            <a:custGeom>
              <a:avLst/>
              <a:gdLst>
                <a:gd name="connsiteX0" fmla="*/ 0 w 66675"/>
                <a:gd name="connsiteY0" fmla="*/ 0 h 0"/>
                <a:gd name="connsiteX1" fmla="*/ 66675 w 6667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675">
                  <a:moveTo>
                    <a:pt x="0" y="0"/>
                  </a:moveTo>
                  <a:lnTo>
                    <a:pt x="66675" y="0"/>
                  </a:lnTo>
                </a:path>
              </a:pathLst>
            </a:custGeom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orma Livre: Forma 67">
              <a:extLst>
                <a:ext uri="{FF2B5EF4-FFF2-40B4-BE49-F238E27FC236}">
                  <a16:creationId xmlns:a16="http://schemas.microsoft.com/office/drawing/2014/main" id="{622AFC18-487E-6261-FD29-2A52380AC1D4}"/>
                </a:ext>
              </a:extLst>
            </p:cNvPr>
            <p:cNvSpPr/>
            <p:nvPr/>
          </p:nvSpPr>
          <p:spPr>
            <a:xfrm>
              <a:off x="12905556" y="3796982"/>
              <a:ext cx="114300" cy="200025"/>
            </a:xfrm>
            <a:custGeom>
              <a:avLst/>
              <a:gdLst>
                <a:gd name="connsiteX0" fmla="*/ 0 w 114300"/>
                <a:gd name="connsiteY0" fmla="*/ 0 h 200025"/>
                <a:gd name="connsiteX1" fmla="*/ 19050 w 114300"/>
                <a:gd name="connsiteY1" fmla="*/ 0 h 200025"/>
                <a:gd name="connsiteX2" fmla="*/ 38100 w 114300"/>
                <a:gd name="connsiteY2" fmla="*/ 9525 h 200025"/>
                <a:gd name="connsiteX3" fmla="*/ 57150 w 114300"/>
                <a:gd name="connsiteY3" fmla="*/ 9525 h 200025"/>
                <a:gd name="connsiteX4" fmla="*/ 76200 w 114300"/>
                <a:gd name="connsiteY4" fmla="*/ 28575 h 200025"/>
                <a:gd name="connsiteX5" fmla="*/ 95250 w 114300"/>
                <a:gd name="connsiteY5" fmla="*/ 28575 h 200025"/>
                <a:gd name="connsiteX6" fmla="*/ 114300 w 114300"/>
                <a:gd name="connsiteY6" fmla="*/ 47625 h 200025"/>
                <a:gd name="connsiteX7" fmla="*/ 114300 w 114300"/>
                <a:gd name="connsiteY7" fmla="*/ 133350 h 200025"/>
                <a:gd name="connsiteX8" fmla="*/ 95250 w 114300"/>
                <a:gd name="connsiteY8" fmla="*/ 180975 h 200025"/>
                <a:gd name="connsiteX9" fmla="*/ 95250 w 114300"/>
                <a:gd name="connsiteY9" fmla="*/ 200025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4300" h="200025">
                  <a:moveTo>
                    <a:pt x="0" y="0"/>
                  </a:moveTo>
                  <a:lnTo>
                    <a:pt x="19050" y="0"/>
                  </a:lnTo>
                  <a:cubicBezTo>
                    <a:pt x="25051" y="0"/>
                    <a:pt x="34481" y="3810"/>
                    <a:pt x="38100" y="9525"/>
                  </a:cubicBezTo>
                  <a:lnTo>
                    <a:pt x="57150" y="9525"/>
                  </a:lnTo>
                  <a:cubicBezTo>
                    <a:pt x="66104" y="9525"/>
                    <a:pt x="76200" y="17907"/>
                    <a:pt x="76200" y="28575"/>
                  </a:cubicBezTo>
                  <a:lnTo>
                    <a:pt x="95250" y="28575"/>
                  </a:lnTo>
                  <a:cubicBezTo>
                    <a:pt x="104204" y="28575"/>
                    <a:pt x="114300" y="36957"/>
                    <a:pt x="114300" y="47625"/>
                  </a:cubicBezTo>
                  <a:lnTo>
                    <a:pt x="114300" y="133350"/>
                  </a:lnTo>
                  <a:cubicBezTo>
                    <a:pt x="114300" y="152590"/>
                    <a:pt x="95250" y="168116"/>
                    <a:pt x="95250" y="180975"/>
                  </a:cubicBezTo>
                  <a:lnTo>
                    <a:pt x="95250" y="200025"/>
                  </a:lnTo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orma Livre: Forma 68">
              <a:extLst>
                <a:ext uri="{FF2B5EF4-FFF2-40B4-BE49-F238E27FC236}">
                  <a16:creationId xmlns:a16="http://schemas.microsoft.com/office/drawing/2014/main" id="{B042B89D-1B9A-C7E1-B5A7-B43A2B2ECAA7}"/>
                </a:ext>
              </a:extLst>
            </p:cNvPr>
            <p:cNvSpPr/>
            <p:nvPr/>
          </p:nvSpPr>
          <p:spPr>
            <a:xfrm>
              <a:off x="12943656" y="3806507"/>
              <a:ext cx="9525" cy="47625"/>
            </a:xfrm>
            <a:custGeom>
              <a:avLst/>
              <a:gdLst>
                <a:gd name="connsiteX0" fmla="*/ 0 w 0"/>
                <a:gd name="connsiteY0" fmla="*/ 0 h 47625"/>
                <a:gd name="connsiteX1" fmla="*/ 0 w 0"/>
                <a:gd name="connsiteY1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47625">
                  <a:moveTo>
                    <a:pt x="0" y="0"/>
                  </a:moveTo>
                  <a:lnTo>
                    <a:pt x="0" y="47625"/>
                  </a:lnTo>
                </a:path>
              </a:pathLst>
            </a:custGeom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orma Livre: Forma 69">
              <a:extLst>
                <a:ext uri="{FF2B5EF4-FFF2-40B4-BE49-F238E27FC236}">
                  <a16:creationId xmlns:a16="http://schemas.microsoft.com/office/drawing/2014/main" id="{3D6C5437-09C4-99BE-8BEC-26B9031979A3}"/>
                </a:ext>
              </a:extLst>
            </p:cNvPr>
            <p:cNvSpPr/>
            <p:nvPr/>
          </p:nvSpPr>
          <p:spPr>
            <a:xfrm>
              <a:off x="12981756" y="3825557"/>
              <a:ext cx="9525" cy="38100"/>
            </a:xfrm>
            <a:custGeom>
              <a:avLst/>
              <a:gdLst>
                <a:gd name="connsiteX0" fmla="*/ 0 w 0"/>
                <a:gd name="connsiteY0" fmla="*/ 0 h 38100"/>
                <a:gd name="connsiteX1" fmla="*/ 0 w 0"/>
                <a:gd name="connsiteY1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8100">
                  <a:moveTo>
                    <a:pt x="0" y="0"/>
                  </a:moveTo>
                  <a:lnTo>
                    <a:pt x="0" y="38100"/>
                  </a:lnTo>
                </a:path>
              </a:pathLst>
            </a:custGeom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orma Livre: Forma 70">
              <a:extLst>
                <a:ext uri="{FF2B5EF4-FFF2-40B4-BE49-F238E27FC236}">
                  <a16:creationId xmlns:a16="http://schemas.microsoft.com/office/drawing/2014/main" id="{5A481490-624C-9D43-8C72-8ACC7699F216}"/>
                </a:ext>
              </a:extLst>
            </p:cNvPr>
            <p:cNvSpPr/>
            <p:nvPr/>
          </p:nvSpPr>
          <p:spPr>
            <a:xfrm>
              <a:off x="12794632" y="3730306"/>
              <a:ext cx="104775" cy="266700"/>
            </a:xfrm>
            <a:custGeom>
              <a:avLst/>
              <a:gdLst>
                <a:gd name="connsiteX0" fmla="*/ 110924 w 104775"/>
                <a:gd name="connsiteY0" fmla="*/ 123826 h 266700"/>
                <a:gd name="connsiteX1" fmla="*/ 110924 w 104775"/>
                <a:gd name="connsiteY1" fmla="*/ 19051 h 266700"/>
                <a:gd name="connsiteX2" fmla="*/ 91874 w 104775"/>
                <a:gd name="connsiteY2" fmla="*/ 1 h 266700"/>
                <a:gd name="connsiteX3" fmla="*/ 72824 w 104775"/>
                <a:gd name="connsiteY3" fmla="*/ 18765 h 266700"/>
                <a:gd name="connsiteX4" fmla="*/ 72824 w 104775"/>
                <a:gd name="connsiteY4" fmla="*/ 154782 h 266700"/>
                <a:gd name="connsiteX5" fmla="*/ 67871 w 104775"/>
                <a:gd name="connsiteY5" fmla="*/ 156592 h 266700"/>
                <a:gd name="connsiteX6" fmla="*/ 34724 w 104775"/>
                <a:gd name="connsiteY6" fmla="*/ 123826 h 266700"/>
                <a:gd name="connsiteX7" fmla="*/ 10054 w 104775"/>
                <a:gd name="connsiteY7" fmla="*/ 122206 h 266700"/>
                <a:gd name="connsiteX8" fmla="*/ 4911 w 104775"/>
                <a:gd name="connsiteY8" fmla="*/ 151163 h 266700"/>
                <a:gd name="connsiteX9" fmla="*/ 63299 w 104775"/>
                <a:gd name="connsiteY9" fmla="*/ 228601 h 266700"/>
                <a:gd name="connsiteX10" fmla="*/ 72824 w 104775"/>
                <a:gd name="connsiteY10" fmla="*/ 247651 h 266700"/>
                <a:gd name="connsiteX11" fmla="*/ 72824 w 104775"/>
                <a:gd name="connsiteY11" fmla="*/ 266701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4775" h="266700">
                  <a:moveTo>
                    <a:pt x="110924" y="123826"/>
                  </a:moveTo>
                  <a:lnTo>
                    <a:pt x="110924" y="19051"/>
                  </a:lnTo>
                  <a:cubicBezTo>
                    <a:pt x="111019" y="8573"/>
                    <a:pt x="102352" y="96"/>
                    <a:pt x="91874" y="1"/>
                  </a:cubicBezTo>
                  <a:cubicBezTo>
                    <a:pt x="81397" y="-95"/>
                    <a:pt x="72919" y="8192"/>
                    <a:pt x="72824" y="18765"/>
                  </a:cubicBezTo>
                  <a:cubicBezTo>
                    <a:pt x="72824" y="18765"/>
                    <a:pt x="72824" y="123730"/>
                    <a:pt x="72824" y="154782"/>
                  </a:cubicBezTo>
                  <a:cubicBezTo>
                    <a:pt x="72824" y="157354"/>
                    <a:pt x="69586" y="158592"/>
                    <a:pt x="67871" y="156592"/>
                  </a:cubicBezTo>
                  <a:cubicBezTo>
                    <a:pt x="61013" y="148877"/>
                    <a:pt x="45868" y="131541"/>
                    <a:pt x="34724" y="123826"/>
                  </a:cubicBezTo>
                  <a:cubicBezTo>
                    <a:pt x="27676" y="118873"/>
                    <a:pt x="17960" y="118492"/>
                    <a:pt x="10054" y="122206"/>
                  </a:cubicBezTo>
                  <a:cubicBezTo>
                    <a:pt x="-995" y="127445"/>
                    <a:pt x="-3281" y="142114"/>
                    <a:pt x="4911" y="151163"/>
                  </a:cubicBezTo>
                  <a:cubicBezTo>
                    <a:pt x="29485" y="178499"/>
                    <a:pt x="38248" y="205550"/>
                    <a:pt x="63299" y="228601"/>
                  </a:cubicBezTo>
                  <a:cubicBezTo>
                    <a:pt x="73300" y="238602"/>
                    <a:pt x="72824" y="242317"/>
                    <a:pt x="72824" y="247651"/>
                  </a:cubicBezTo>
                  <a:cubicBezTo>
                    <a:pt x="72824" y="252985"/>
                    <a:pt x="72824" y="266701"/>
                    <a:pt x="72824" y="266701"/>
                  </a:cubicBezTo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5" name="Retângulo 44">
            <a:extLst>
              <a:ext uri="{FF2B5EF4-FFF2-40B4-BE49-F238E27FC236}">
                <a16:creationId xmlns:a16="http://schemas.microsoft.com/office/drawing/2014/main" id="{33A853BF-6EB7-FDF7-0D39-05BCDC817011}"/>
              </a:ext>
            </a:extLst>
          </p:cNvPr>
          <p:cNvSpPr/>
          <p:nvPr/>
        </p:nvSpPr>
        <p:spPr>
          <a:xfrm>
            <a:off x="5765604" y="479914"/>
            <a:ext cx="5937788" cy="10464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0" cap="none" spc="300" normalizeH="0" baseline="0" noProof="0" dirty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Black" panose="020B0903020204020204" pitchFamily="34" charset="0"/>
                <a:ea typeface="+mn-ea"/>
                <a:cs typeface="Itau Display Black" panose="020B0903020204020204" pitchFamily="34" charset="0"/>
              </a:rPr>
              <a:t>Meus documentos em um só luga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0" cap="none" spc="0" normalizeH="0" baseline="0" noProof="0" dirty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_</a:t>
            </a: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documentos do banco centralizados em um único produt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_taxonomia visão clien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_jornada integrada com outras soluções de recuperação (comprovantes e IR)</a:t>
            </a:r>
          </a:p>
        </p:txBody>
      </p:sp>
      <p:grpSp>
        <p:nvGrpSpPr>
          <p:cNvPr id="72" name="Agrupar 71">
            <a:extLst>
              <a:ext uri="{FF2B5EF4-FFF2-40B4-BE49-F238E27FC236}">
                <a16:creationId xmlns:a16="http://schemas.microsoft.com/office/drawing/2014/main" id="{0960210A-4AD2-796D-539B-D0BEA7393F1A}"/>
              </a:ext>
            </a:extLst>
          </p:cNvPr>
          <p:cNvGrpSpPr>
            <a:grpSpLocks noChangeAspect="1"/>
          </p:cNvGrpSpPr>
          <p:nvPr/>
        </p:nvGrpSpPr>
        <p:grpSpPr>
          <a:xfrm>
            <a:off x="4801150" y="808013"/>
            <a:ext cx="612000" cy="476000"/>
            <a:chOff x="8562463" y="6790095"/>
            <a:chExt cx="428625" cy="333375"/>
          </a:xfrm>
        </p:grpSpPr>
        <p:sp>
          <p:nvSpPr>
            <p:cNvPr id="73" name="Forma Livre: Forma 72">
              <a:extLst>
                <a:ext uri="{FF2B5EF4-FFF2-40B4-BE49-F238E27FC236}">
                  <a16:creationId xmlns:a16="http://schemas.microsoft.com/office/drawing/2014/main" id="{7F717A88-9820-F6DC-72DE-CD3578699665}"/>
                </a:ext>
              </a:extLst>
            </p:cNvPr>
            <p:cNvSpPr/>
            <p:nvPr/>
          </p:nvSpPr>
          <p:spPr>
            <a:xfrm>
              <a:off x="8562463" y="6790095"/>
              <a:ext cx="361950" cy="38100"/>
            </a:xfrm>
            <a:custGeom>
              <a:avLst/>
              <a:gdLst>
                <a:gd name="connsiteX0" fmla="*/ 361950 w 361950"/>
                <a:gd name="connsiteY0" fmla="*/ 38100 h 38100"/>
                <a:gd name="connsiteX1" fmla="*/ 361950 w 361950"/>
                <a:gd name="connsiteY1" fmla="*/ 0 h 38100"/>
                <a:gd name="connsiteX2" fmla="*/ 28575 w 361950"/>
                <a:gd name="connsiteY2" fmla="*/ 0 h 38100"/>
                <a:gd name="connsiteX3" fmla="*/ 0 w 361950"/>
                <a:gd name="connsiteY3" fmla="*/ 28575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1950" h="38100">
                  <a:moveTo>
                    <a:pt x="361950" y="38100"/>
                  </a:moveTo>
                  <a:lnTo>
                    <a:pt x="361950" y="0"/>
                  </a:lnTo>
                  <a:lnTo>
                    <a:pt x="28575" y="0"/>
                  </a:lnTo>
                  <a:cubicBezTo>
                    <a:pt x="12383" y="0"/>
                    <a:pt x="0" y="12478"/>
                    <a:pt x="0" y="28575"/>
                  </a:cubicBezTo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orma Livre: Forma 73">
              <a:extLst>
                <a:ext uri="{FF2B5EF4-FFF2-40B4-BE49-F238E27FC236}">
                  <a16:creationId xmlns:a16="http://schemas.microsoft.com/office/drawing/2014/main" id="{65BA54D8-6551-3BE3-85C0-D1A747DD8A23}"/>
                </a:ext>
              </a:extLst>
            </p:cNvPr>
            <p:cNvSpPr/>
            <p:nvPr/>
          </p:nvSpPr>
          <p:spPr>
            <a:xfrm>
              <a:off x="8562463" y="6818670"/>
              <a:ext cx="409575" cy="304800"/>
            </a:xfrm>
            <a:custGeom>
              <a:avLst/>
              <a:gdLst>
                <a:gd name="connsiteX0" fmla="*/ 409575 w 409575"/>
                <a:gd name="connsiteY0" fmla="*/ 219075 h 304800"/>
                <a:gd name="connsiteX1" fmla="*/ 409575 w 409575"/>
                <a:gd name="connsiteY1" fmla="*/ 304800 h 304800"/>
                <a:gd name="connsiteX2" fmla="*/ 28575 w 409575"/>
                <a:gd name="connsiteY2" fmla="*/ 304800 h 304800"/>
                <a:gd name="connsiteX3" fmla="*/ 0 w 409575"/>
                <a:gd name="connsiteY3" fmla="*/ 276225 h 304800"/>
                <a:gd name="connsiteX4" fmla="*/ 0 w 409575"/>
                <a:gd name="connsiteY4" fmla="*/ 0 h 304800"/>
                <a:gd name="connsiteX5" fmla="*/ 28575 w 409575"/>
                <a:gd name="connsiteY5" fmla="*/ 28575 h 304800"/>
                <a:gd name="connsiteX6" fmla="*/ 409575 w 409575"/>
                <a:gd name="connsiteY6" fmla="*/ 28575 h 304800"/>
                <a:gd name="connsiteX7" fmla="*/ 409575 w 409575"/>
                <a:gd name="connsiteY7" fmla="*/ 104775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9575" h="304800">
                  <a:moveTo>
                    <a:pt x="409575" y="219075"/>
                  </a:moveTo>
                  <a:lnTo>
                    <a:pt x="409575" y="304800"/>
                  </a:lnTo>
                  <a:lnTo>
                    <a:pt x="28575" y="304800"/>
                  </a:lnTo>
                  <a:cubicBezTo>
                    <a:pt x="12383" y="304800"/>
                    <a:pt x="0" y="292322"/>
                    <a:pt x="0" y="276225"/>
                  </a:cubicBezTo>
                  <a:lnTo>
                    <a:pt x="0" y="0"/>
                  </a:lnTo>
                  <a:cubicBezTo>
                    <a:pt x="0" y="16097"/>
                    <a:pt x="12383" y="28575"/>
                    <a:pt x="28575" y="28575"/>
                  </a:cubicBezTo>
                  <a:lnTo>
                    <a:pt x="409575" y="28575"/>
                  </a:lnTo>
                  <a:lnTo>
                    <a:pt x="409575" y="104775"/>
                  </a:lnTo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orma Livre: Forma 74">
              <a:extLst>
                <a:ext uri="{FF2B5EF4-FFF2-40B4-BE49-F238E27FC236}">
                  <a16:creationId xmlns:a16="http://schemas.microsoft.com/office/drawing/2014/main" id="{DFAC2C96-7F0B-1FAA-7EEC-243A77F243D6}"/>
                </a:ext>
              </a:extLst>
            </p:cNvPr>
            <p:cNvSpPr/>
            <p:nvPr/>
          </p:nvSpPr>
          <p:spPr>
            <a:xfrm>
              <a:off x="8810113" y="6923445"/>
              <a:ext cx="180975" cy="114300"/>
            </a:xfrm>
            <a:custGeom>
              <a:avLst/>
              <a:gdLst>
                <a:gd name="connsiteX0" fmla="*/ 47625 w 180975"/>
                <a:gd name="connsiteY0" fmla="*/ 19050 h 114300"/>
                <a:gd name="connsiteX1" fmla="*/ 0 w 180975"/>
                <a:gd name="connsiteY1" fmla="*/ 66675 h 114300"/>
                <a:gd name="connsiteX2" fmla="*/ 47625 w 180975"/>
                <a:gd name="connsiteY2" fmla="*/ 114300 h 114300"/>
                <a:gd name="connsiteX3" fmla="*/ 152400 w 180975"/>
                <a:gd name="connsiteY3" fmla="*/ 114300 h 114300"/>
                <a:gd name="connsiteX4" fmla="*/ 180975 w 180975"/>
                <a:gd name="connsiteY4" fmla="*/ 85725 h 114300"/>
                <a:gd name="connsiteX5" fmla="*/ 180975 w 180975"/>
                <a:gd name="connsiteY5" fmla="*/ 9525 h 114300"/>
                <a:gd name="connsiteX6" fmla="*/ 171450 w 180975"/>
                <a:gd name="connsiteY6" fmla="*/ 0 h 114300"/>
                <a:gd name="connsiteX7" fmla="*/ 161925 w 180975"/>
                <a:gd name="connsiteY7" fmla="*/ 0 h 114300"/>
                <a:gd name="connsiteX8" fmla="*/ 142875 w 180975"/>
                <a:gd name="connsiteY8" fmla="*/ 19050 h 114300"/>
                <a:gd name="connsiteX9" fmla="*/ 114300 w 180975"/>
                <a:gd name="connsiteY9" fmla="*/ 19050 h 114300"/>
                <a:gd name="connsiteX10" fmla="*/ 47625 w 180975"/>
                <a:gd name="connsiteY10" fmla="*/ 1905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0975" h="114300">
                  <a:moveTo>
                    <a:pt x="47625" y="19050"/>
                  </a:moveTo>
                  <a:cubicBezTo>
                    <a:pt x="18669" y="19050"/>
                    <a:pt x="0" y="40386"/>
                    <a:pt x="0" y="66675"/>
                  </a:cubicBezTo>
                  <a:cubicBezTo>
                    <a:pt x="0" y="92964"/>
                    <a:pt x="18669" y="114300"/>
                    <a:pt x="47625" y="114300"/>
                  </a:cubicBezTo>
                  <a:lnTo>
                    <a:pt x="152400" y="114300"/>
                  </a:lnTo>
                  <a:cubicBezTo>
                    <a:pt x="168212" y="114300"/>
                    <a:pt x="180975" y="101537"/>
                    <a:pt x="180975" y="85725"/>
                  </a:cubicBezTo>
                  <a:lnTo>
                    <a:pt x="180975" y="9525"/>
                  </a:lnTo>
                  <a:cubicBezTo>
                    <a:pt x="180975" y="4286"/>
                    <a:pt x="176689" y="0"/>
                    <a:pt x="171450" y="0"/>
                  </a:cubicBezTo>
                  <a:lnTo>
                    <a:pt x="161925" y="0"/>
                  </a:lnTo>
                  <a:cubicBezTo>
                    <a:pt x="161925" y="10096"/>
                    <a:pt x="151543" y="19050"/>
                    <a:pt x="142875" y="19050"/>
                  </a:cubicBezTo>
                  <a:lnTo>
                    <a:pt x="114300" y="19050"/>
                  </a:lnTo>
                  <a:lnTo>
                    <a:pt x="47625" y="19050"/>
                  </a:lnTo>
                </a:path>
              </a:pathLst>
            </a:custGeom>
            <a:noFill/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orma Livre: Forma 75">
              <a:extLst>
                <a:ext uri="{FF2B5EF4-FFF2-40B4-BE49-F238E27FC236}">
                  <a16:creationId xmlns:a16="http://schemas.microsoft.com/office/drawing/2014/main" id="{483F529A-D61E-F04E-7900-D01CD23B2237}"/>
                </a:ext>
              </a:extLst>
            </p:cNvPr>
            <p:cNvSpPr/>
            <p:nvPr/>
          </p:nvSpPr>
          <p:spPr>
            <a:xfrm>
              <a:off x="8848213" y="6990120"/>
              <a:ext cx="19050" cy="9525"/>
            </a:xfrm>
            <a:custGeom>
              <a:avLst/>
              <a:gdLst>
                <a:gd name="connsiteX0" fmla="*/ 0 w 19050"/>
                <a:gd name="connsiteY0" fmla="*/ 0 h 0"/>
                <a:gd name="connsiteX1" fmla="*/ 19050 w 1905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050">
                  <a:moveTo>
                    <a:pt x="0" y="0"/>
                  </a:moveTo>
                  <a:lnTo>
                    <a:pt x="19050" y="0"/>
                  </a:lnTo>
                </a:path>
              </a:pathLst>
            </a:custGeom>
            <a:ln w="19050" cap="rnd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6" name="Imagem 5" descr="Interface gráfica do usuário, Aplicativo&#10;&#10;Descrição gerada automaticamente">
            <a:extLst>
              <a:ext uri="{FF2B5EF4-FFF2-40B4-BE49-F238E27FC236}">
                <a16:creationId xmlns:a16="http://schemas.microsoft.com/office/drawing/2014/main" id="{D32F88DC-62A6-3916-6E7B-EA5A5511BFD0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893"/>
          <a:stretch/>
        </p:blipFill>
        <p:spPr>
          <a:xfrm>
            <a:off x="728193" y="961535"/>
            <a:ext cx="2519265" cy="5621181"/>
          </a:xfrm>
          <a:prstGeom prst="rect">
            <a:avLst/>
          </a:prstGeom>
        </p:spPr>
      </p:pic>
      <p:sp>
        <p:nvSpPr>
          <p:cNvPr id="10" name="Listra Diagonal 9">
            <a:extLst>
              <a:ext uri="{FF2B5EF4-FFF2-40B4-BE49-F238E27FC236}">
                <a16:creationId xmlns:a16="http://schemas.microsoft.com/office/drawing/2014/main" id="{91CA32BA-F8E6-2A8A-2437-E0411024C7E3}"/>
              </a:ext>
            </a:extLst>
          </p:cNvPr>
          <p:cNvSpPr/>
          <p:nvPr/>
        </p:nvSpPr>
        <p:spPr>
          <a:xfrm>
            <a:off x="398285" y="614386"/>
            <a:ext cx="1686033" cy="2285195"/>
          </a:xfrm>
          <a:prstGeom prst="diagStripe">
            <a:avLst/>
          </a:prstGeom>
          <a:solidFill>
            <a:srgbClr val="FDA1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P</a:t>
            </a:r>
          </a:p>
        </p:txBody>
      </p:sp>
      <p:sp>
        <p:nvSpPr>
          <p:cNvPr id="35" name="CaixaDeTexto 34">
            <a:extLst>
              <a:ext uri="{FF2B5EF4-FFF2-40B4-BE49-F238E27FC236}">
                <a16:creationId xmlns:a16="http://schemas.microsoft.com/office/drawing/2014/main" id="{0212276A-8D4C-5024-5FCF-2FB0607DF06D}"/>
              </a:ext>
            </a:extLst>
          </p:cNvPr>
          <p:cNvSpPr txBox="1"/>
          <p:nvPr/>
        </p:nvSpPr>
        <p:spPr>
          <a:xfrm>
            <a:off x="166585" y="165293"/>
            <a:ext cx="3528544" cy="4347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pt-BR"/>
            </a:defPPr>
            <a:lvl1pPr defTabSz="914411">
              <a:lnSpc>
                <a:spcPct val="75000"/>
              </a:lnSpc>
              <a:spcBef>
                <a:spcPts val="0"/>
              </a:spcBef>
              <a:buNone/>
              <a:defRPr kumimoji="0" sz="28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tau Display Heavy" panose="020B0803020204020204" pitchFamily="34" charset="0"/>
                <a:cs typeface="Itau Display Heavy" panose="020B0803020204020204" pitchFamily="34" charset="0"/>
              </a:defRPr>
            </a:lvl1pPr>
            <a:lvl2pPr marL="539756" indent="-182566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>
                <a:solidFill>
                  <a:schemeClr val="accent6"/>
                </a:solidFill>
              </a:defRPr>
            </a:lvl2pPr>
            <a:lvl3pPr marL="898536" indent="-184152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accent6"/>
                </a:solidFill>
              </a:defRPr>
            </a:lvl3pPr>
            <a:lvl4pPr marL="1255729" indent="-184152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>
                <a:solidFill>
                  <a:schemeClr val="accent6"/>
                </a:solidFill>
              </a:defRPr>
            </a:lvl4pPr>
            <a:lvl5pPr marL="1612920" indent="-174628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>
                <a:solidFill>
                  <a:schemeClr val="accent6"/>
                </a:solidFill>
              </a:defRPr>
            </a:lvl5pPr>
            <a:lvl6pPr marL="2514632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6pPr>
            <a:lvl7pPr marL="2971838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7pPr>
            <a:lvl8pPr marL="3429044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8pPr>
            <a:lvl9pPr marL="3886249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9pPr>
          </a:lstStyle>
          <a:p>
            <a:pPr marL="0" marR="0" lvl="0" indent="0" algn="l" defTabSz="914411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</a:rPr>
              <a:t>_meus documentos</a:t>
            </a:r>
          </a:p>
        </p:txBody>
      </p:sp>
    </p:spTree>
    <p:extLst>
      <p:ext uri="{BB962C8B-B14F-4D97-AF65-F5344CB8AC3E}">
        <p14:creationId xmlns:p14="http://schemas.microsoft.com/office/powerpoint/2010/main" val="118583910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tângulo 45">
            <a:extLst>
              <a:ext uri="{FF2B5EF4-FFF2-40B4-BE49-F238E27FC236}">
                <a16:creationId xmlns:a16="http://schemas.microsoft.com/office/drawing/2014/main" id="{9CE4711D-11A9-26F6-F42E-D82FE99E9EDF}"/>
              </a:ext>
            </a:extLst>
          </p:cNvPr>
          <p:cNvSpPr/>
          <p:nvPr/>
        </p:nvSpPr>
        <p:spPr>
          <a:xfrm>
            <a:off x="1" y="2"/>
            <a:ext cx="4368788" cy="6858000"/>
          </a:xfrm>
          <a:prstGeom prst="rect">
            <a:avLst/>
          </a:prstGeom>
          <a:gradFill flip="none" rotWithShape="1">
            <a:gsLst>
              <a:gs pos="0">
                <a:srgbClr val="FF7500"/>
              </a:gs>
              <a:gs pos="100000">
                <a:srgbClr val="FD9D00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1" b="0" i="0" u="none" strike="noStrike" kern="1200" cap="none" spc="0" normalizeH="0" baseline="0" noProof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2" name="Retângulo 91">
            <a:extLst>
              <a:ext uri="{FF2B5EF4-FFF2-40B4-BE49-F238E27FC236}">
                <a16:creationId xmlns:a16="http://schemas.microsoft.com/office/drawing/2014/main" id="{1F537FC0-F8FA-B860-690C-F40547966EB4}"/>
              </a:ext>
            </a:extLst>
          </p:cNvPr>
          <p:cNvSpPr/>
          <p:nvPr/>
        </p:nvSpPr>
        <p:spPr>
          <a:xfrm>
            <a:off x="0" y="220877"/>
            <a:ext cx="192506" cy="2490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1" b="0" i="0" u="none" strike="noStrike" kern="1200" cap="none" spc="0" normalizeH="0" baseline="0" noProof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Gráfico 3" descr="Smartphone com preenchimento sólido">
            <a:extLst>
              <a:ext uri="{FF2B5EF4-FFF2-40B4-BE49-F238E27FC236}">
                <a16:creationId xmlns:a16="http://schemas.microsoft.com/office/drawing/2014/main" id="{EC0A81DA-119C-726B-B551-5A8498B3DB8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1063063" y="363060"/>
            <a:ext cx="6157268" cy="6640400"/>
          </a:xfrm>
          <a:prstGeom prst="rect">
            <a:avLst/>
          </a:prstGeom>
        </p:spPr>
      </p:pic>
      <p:sp>
        <p:nvSpPr>
          <p:cNvPr id="5" name="Retângulo 4">
            <a:extLst>
              <a:ext uri="{FF2B5EF4-FFF2-40B4-BE49-F238E27FC236}">
                <a16:creationId xmlns:a16="http://schemas.microsoft.com/office/drawing/2014/main" id="{A260DBDE-2323-D744-E191-9CB829AB2303}"/>
              </a:ext>
            </a:extLst>
          </p:cNvPr>
          <p:cNvSpPr/>
          <p:nvPr/>
        </p:nvSpPr>
        <p:spPr>
          <a:xfrm>
            <a:off x="1445727" y="871426"/>
            <a:ext cx="1139687" cy="3435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1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tângulo: Cantos Arredondados 5">
            <a:extLst>
              <a:ext uri="{FF2B5EF4-FFF2-40B4-BE49-F238E27FC236}">
                <a16:creationId xmlns:a16="http://schemas.microsoft.com/office/drawing/2014/main" id="{89BAD12F-1D8D-4CD0-67F2-4E6F979FF6AD}"/>
              </a:ext>
            </a:extLst>
          </p:cNvPr>
          <p:cNvSpPr/>
          <p:nvPr/>
        </p:nvSpPr>
        <p:spPr>
          <a:xfrm>
            <a:off x="1617581" y="856003"/>
            <a:ext cx="768626" cy="45719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1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Imagem 6" descr="Interface gráfica do usuário, Aplicativo&#10;&#10;Descrição gerada automaticamente">
            <a:extLst>
              <a:ext uri="{FF2B5EF4-FFF2-40B4-BE49-F238E27FC236}">
                <a16:creationId xmlns:a16="http://schemas.microsoft.com/office/drawing/2014/main" id="{B0D3BA55-8D0D-5A1D-D302-F0427C79A5BC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893"/>
          <a:stretch/>
        </p:blipFill>
        <p:spPr>
          <a:xfrm>
            <a:off x="728193" y="961535"/>
            <a:ext cx="2519265" cy="5621181"/>
          </a:xfrm>
          <a:prstGeom prst="rect">
            <a:avLst/>
          </a:prstGeom>
        </p:spPr>
      </p:pic>
      <p:sp>
        <p:nvSpPr>
          <p:cNvPr id="2" name="Listra Diagonal 1">
            <a:extLst>
              <a:ext uri="{FF2B5EF4-FFF2-40B4-BE49-F238E27FC236}">
                <a16:creationId xmlns:a16="http://schemas.microsoft.com/office/drawing/2014/main" id="{7A3DA538-7B95-50FA-FA7A-6A6C99612106}"/>
              </a:ext>
            </a:extLst>
          </p:cNvPr>
          <p:cNvSpPr/>
          <p:nvPr/>
        </p:nvSpPr>
        <p:spPr>
          <a:xfrm>
            <a:off x="398285" y="614386"/>
            <a:ext cx="1686033" cy="2285195"/>
          </a:xfrm>
          <a:prstGeom prst="diagStripe">
            <a:avLst/>
          </a:prstGeom>
          <a:solidFill>
            <a:srgbClr val="FDA1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P</a:t>
            </a:r>
          </a:p>
        </p:txBody>
      </p:sp>
      <p:grpSp>
        <p:nvGrpSpPr>
          <p:cNvPr id="12" name="Agrupar 11">
            <a:extLst>
              <a:ext uri="{FF2B5EF4-FFF2-40B4-BE49-F238E27FC236}">
                <a16:creationId xmlns:a16="http://schemas.microsoft.com/office/drawing/2014/main" id="{D391F844-3BA3-3433-7EA3-067BF0ED87FE}"/>
              </a:ext>
            </a:extLst>
          </p:cNvPr>
          <p:cNvGrpSpPr/>
          <p:nvPr/>
        </p:nvGrpSpPr>
        <p:grpSpPr>
          <a:xfrm>
            <a:off x="4927697" y="77276"/>
            <a:ext cx="7163331" cy="7040255"/>
            <a:chOff x="4927697" y="92024"/>
            <a:chExt cx="7163331" cy="7040255"/>
          </a:xfrm>
        </p:grpSpPr>
        <p:grpSp>
          <p:nvGrpSpPr>
            <p:cNvPr id="8" name="Agrupar 7">
              <a:extLst>
                <a:ext uri="{FF2B5EF4-FFF2-40B4-BE49-F238E27FC236}">
                  <a16:creationId xmlns:a16="http://schemas.microsoft.com/office/drawing/2014/main" id="{40D277F3-5933-17A5-95D0-A5B550985582}"/>
                </a:ext>
              </a:extLst>
            </p:cNvPr>
            <p:cNvGrpSpPr/>
            <p:nvPr/>
          </p:nvGrpSpPr>
          <p:grpSpPr>
            <a:xfrm>
              <a:off x="4927697" y="92024"/>
              <a:ext cx="7163329" cy="6445426"/>
              <a:chOff x="4927697" y="92024"/>
              <a:chExt cx="7163329" cy="6445426"/>
            </a:xfrm>
          </p:grpSpPr>
          <p:sp>
            <p:nvSpPr>
              <p:cNvPr id="45" name="Retângulo 44">
                <a:extLst>
                  <a:ext uri="{FF2B5EF4-FFF2-40B4-BE49-F238E27FC236}">
                    <a16:creationId xmlns:a16="http://schemas.microsoft.com/office/drawing/2014/main" id="{33A853BF-6EB7-FDF7-0D39-05BCDC817011}"/>
                  </a:ext>
                </a:extLst>
              </p:cNvPr>
              <p:cNvSpPr/>
              <p:nvPr/>
            </p:nvSpPr>
            <p:spPr>
              <a:xfrm>
                <a:off x="5913039" y="324726"/>
                <a:ext cx="6130281" cy="101617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801" b="0" i="0" u="none" strike="noStrike" kern="1200" cap="none" spc="300" normalizeH="0" baseline="0" noProof="0" dirty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Itau Display Black" panose="020B0903020204020204" pitchFamily="34" charset="0"/>
                    <a:ea typeface="+mn-ea"/>
                    <a:cs typeface="Itau Display Black" panose="020B0903020204020204" pitchFamily="34" charset="0"/>
                  </a:rPr>
                  <a:t>Design Sprint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401" b="0" i="0" u="none" strike="noStrike" kern="0" cap="none" spc="300" normalizeH="0" baseline="0" noProof="0" dirty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Itau Display Light" panose="020B0403020204020204" pitchFamily="34" charset="0"/>
                    <a:ea typeface="+mn-ea"/>
                    <a:cs typeface="Itau Display Light" panose="020B0403020204020204" pitchFamily="34" charset="0"/>
                  </a:rPr>
                  <a:t>_levantamento de requisitos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401" b="0" i="0" u="none" strike="noStrike" kern="0" cap="none" spc="300" normalizeH="0" baseline="0" noProof="0" dirty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Itau Display Light" panose="020B0403020204020204" pitchFamily="34" charset="0"/>
                    <a:ea typeface="+mn-ea"/>
                    <a:cs typeface="Itau Display Light" panose="020B0403020204020204" pitchFamily="34" charset="0"/>
                  </a:rPr>
                  <a:t>_definição do épico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401" b="0" i="0" u="none" strike="noStrike" kern="0" cap="none" spc="300" normalizeH="0" baseline="0" noProof="0" dirty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Itau Display Light" panose="020B0403020204020204" pitchFamily="34" charset="0"/>
                    <a:ea typeface="+mn-ea"/>
                    <a:cs typeface="Itau Display Light" panose="020B0403020204020204" pitchFamily="34" charset="0"/>
                  </a:rPr>
                  <a:t>_protótipo (baixa fidelidade)</a:t>
                </a:r>
                <a:endParaRPr kumimoji="0" lang="pt-BR" sz="1401" b="0" i="0" u="none" strike="noStrike" kern="0" cap="none" spc="300" normalizeH="0" baseline="0" noProof="0" dirty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 Black" panose="020B0903020204020204" pitchFamily="34" charset="0"/>
                  <a:ea typeface="+mn-ea"/>
                  <a:cs typeface="Itau Display Black" panose="020B0903020204020204" pitchFamily="34" charset="0"/>
                </a:endParaRPr>
              </a:p>
            </p:txBody>
          </p:sp>
          <p:cxnSp>
            <p:nvCxnSpPr>
              <p:cNvPr id="52" name="Conector reto 51">
                <a:extLst>
                  <a:ext uri="{FF2B5EF4-FFF2-40B4-BE49-F238E27FC236}">
                    <a16:creationId xmlns:a16="http://schemas.microsoft.com/office/drawing/2014/main" id="{3299A505-86B8-916E-B7D0-A3EDDD5AE932}"/>
                  </a:ext>
                </a:extLst>
              </p:cNvPr>
              <p:cNvCxnSpPr/>
              <p:nvPr/>
            </p:nvCxnSpPr>
            <p:spPr>
              <a:xfrm>
                <a:off x="5473148" y="355128"/>
                <a:ext cx="0" cy="6182322"/>
              </a:xfrm>
              <a:prstGeom prst="line">
                <a:avLst/>
              </a:prstGeom>
              <a:ln w="38100">
                <a:solidFill>
                  <a:srgbClr val="FE96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3" name="Retângulo 52">
                <a:extLst>
                  <a:ext uri="{FF2B5EF4-FFF2-40B4-BE49-F238E27FC236}">
                    <a16:creationId xmlns:a16="http://schemas.microsoft.com/office/drawing/2014/main" id="{45805149-1D10-9290-8862-B939CE199C3B}"/>
                  </a:ext>
                </a:extLst>
              </p:cNvPr>
              <p:cNvSpPr/>
              <p:nvPr/>
            </p:nvSpPr>
            <p:spPr>
              <a:xfrm>
                <a:off x="5913039" y="1719378"/>
                <a:ext cx="6130281" cy="101617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801" b="0" i="0" u="none" strike="noStrike" kern="1200" cap="none" spc="300" normalizeH="0" baseline="0" noProof="0" dirty="0" err="1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Itau Display Black" panose="020B0903020204020204" pitchFamily="34" charset="0"/>
                    <a:ea typeface="+mn-ea"/>
                    <a:cs typeface="Itau Display Black" panose="020B0903020204020204" pitchFamily="34" charset="0"/>
                  </a:rPr>
                  <a:t>Inception</a:t>
                </a:r>
                <a:endParaRPr kumimoji="0" lang="pt-BR" sz="1801" b="0" i="0" u="none" strike="noStrike" kern="1200" cap="none" spc="300" normalizeH="0" baseline="0" noProof="0" dirty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 Black" panose="020B0903020204020204" pitchFamily="34" charset="0"/>
                  <a:ea typeface="+mn-ea"/>
                  <a:cs typeface="Itau Display Black" panose="020B090302020402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401" b="0" i="0" u="none" strike="noStrike" kern="0" cap="none" spc="300" normalizeH="0" baseline="0" noProof="0" dirty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Itau Display Light" panose="020B0403020204020204" pitchFamily="34" charset="0"/>
                    <a:ea typeface="+mn-ea"/>
                    <a:cs typeface="Itau Display Light" panose="020B0403020204020204" pitchFamily="34" charset="0"/>
                  </a:rPr>
                  <a:t>_definição das features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401" b="0" i="0" u="none" strike="noStrike" kern="0" cap="none" spc="300" normalizeH="0" baseline="0" noProof="0" dirty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Itau Display Light" panose="020B0403020204020204" pitchFamily="34" charset="0"/>
                    <a:ea typeface="+mn-ea"/>
                    <a:cs typeface="Itau Display Light" panose="020B0403020204020204" pitchFamily="34" charset="0"/>
                  </a:rPr>
                  <a:t>_alinhamento com áreas parceiras</a:t>
                </a:r>
                <a:br>
                  <a:rPr kumimoji="0" lang="pt-BR" sz="1401" b="0" i="0" u="none" strike="noStrike" kern="0" cap="none" spc="300" normalizeH="0" baseline="0" noProof="0" dirty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Itau Display Light" panose="020B0403020204020204" pitchFamily="34" charset="0"/>
                    <a:ea typeface="+mn-ea"/>
                    <a:cs typeface="Itau Display Light" panose="020B0403020204020204" pitchFamily="34" charset="0"/>
                  </a:rPr>
                </a:br>
                <a:r>
                  <a:rPr kumimoji="0" lang="pt-BR" sz="1401" b="0" i="0" u="none" strike="noStrike" kern="0" cap="none" spc="300" normalizeH="0" baseline="0" noProof="0" dirty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Itau Display Light" panose="020B0403020204020204" pitchFamily="34" charset="0"/>
                    <a:ea typeface="+mn-ea"/>
                    <a:cs typeface="Itau Display Light" panose="020B0403020204020204" pitchFamily="34" charset="0"/>
                  </a:rPr>
                  <a:t>_desenho de arquitetura</a:t>
                </a:r>
                <a:endParaRPr kumimoji="0" lang="pt-BR" sz="1401" b="0" i="0" u="none" strike="noStrike" kern="0" cap="none" spc="300" normalizeH="0" baseline="0" noProof="0" dirty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 Black" panose="020B0903020204020204" pitchFamily="34" charset="0"/>
                  <a:ea typeface="+mn-ea"/>
                  <a:cs typeface="Itau Display Black" panose="020B0903020204020204" pitchFamily="34" charset="0"/>
                </a:endParaRPr>
              </a:p>
            </p:txBody>
          </p:sp>
          <p:sp>
            <p:nvSpPr>
              <p:cNvPr id="54" name="Retângulo 53">
                <a:extLst>
                  <a:ext uri="{FF2B5EF4-FFF2-40B4-BE49-F238E27FC236}">
                    <a16:creationId xmlns:a16="http://schemas.microsoft.com/office/drawing/2014/main" id="{8E08EB08-9D6F-93B9-0D8B-F15B730CF477}"/>
                  </a:ext>
                </a:extLst>
              </p:cNvPr>
              <p:cNvSpPr/>
              <p:nvPr/>
            </p:nvSpPr>
            <p:spPr>
              <a:xfrm>
                <a:off x="5960745" y="3235316"/>
                <a:ext cx="6130281" cy="209403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801" b="0" i="0" u="none" strike="noStrike" kern="1200" cap="none" spc="300" normalizeH="0" baseline="0" noProof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Itau Display Black" panose="020B0903020204020204" pitchFamily="34" charset="0"/>
                    <a:ea typeface="+mn-ea"/>
                    <a:cs typeface="Itau Display Black" panose="020B0903020204020204" pitchFamily="34" charset="0"/>
                  </a:rPr>
                  <a:t>Protótipo e validações de arquitetura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401" b="0" i="0" u="none" strike="noStrike" kern="0" cap="none" spc="300" normalizeH="0" baseline="0" noProof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Itau Display Light" panose="020B0403020204020204" pitchFamily="34" charset="0"/>
                    <a:ea typeface="+mn-ea"/>
                    <a:cs typeface="Itau Display Light" panose="020B0403020204020204" pitchFamily="34" charset="0"/>
                  </a:rPr>
                  <a:t>_consultoria com time de canais para criação de protótipo de alta fidelidad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401" b="0" i="0" u="none" strike="noStrike" kern="0" cap="none" spc="300" normalizeH="0" baseline="0" noProof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Itau Display Light" panose="020B0403020204020204" pitchFamily="34" charset="0"/>
                    <a:ea typeface="+mn-ea"/>
                    <a:cs typeface="Itau Display Light" panose="020B0403020204020204" pitchFamily="34" charset="0"/>
                  </a:rPr>
                  <a:t>_alinhamento com comprovantes e IR para desenho de experiência única para o client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401" b="0" i="0" u="none" strike="noStrike" kern="0" cap="none" spc="300" normalizeH="0" baseline="0" noProof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Itau Display Light" panose="020B0403020204020204" pitchFamily="34" charset="0"/>
                    <a:ea typeface="+mn-ea"/>
                    <a:cs typeface="Itau Display Light" panose="020B0403020204020204" pitchFamily="34" charset="0"/>
                  </a:rPr>
                  <a:t>_validação com arquitetos de canais para uso de </a:t>
                </a:r>
                <a:r>
                  <a:rPr kumimoji="0" lang="pt-BR" sz="1401" b="0" i="0" u="none" strike="noStrike" kern="0" cap="none" spc="300" normalizeH="0" baseline="0" noProof="0" err="1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Itau Display Light" panose="020B0403020204020204" pitchFamily="34" charset="0"/>
                    <a:ea typeface="+mn-ea"/>
                    <a:cs typeface="Itau Display Light" panose="020B0403020204020204" pitchFamily="34" charset="0"/>
                  </a:rPr>
                  <a:t>url</a:t>
                </a:r>
                <a:r>
                  <a:rPr kumimoji="0" lang="pt-BR" sz="1401" b="0" i="0" u="none" strike="noStrike" kern="0" cap="none" spc="300" normalizeH="0" baseline="0" noProof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Itau Display Light" panose="020B0403020204020204" pitchFamily="34" charset="0"/>
                    <a:ea typeface="+mn-ea"/>
                    <a:cs typeface="Itau Display Light" panose="020B0403020204020204" pitchFamily="34" charset="0"/>
                  </a:rPr>
                  <a:t> </a:t>
                </a:r>
                <a:r>
                  <a:rPr kumimoji="0" lang="pt-BR" sz="1401" b="0" i="0" u="none" strike="noStrike" kern="0" cap="none" spc="300" normalizeH="0" baseline="0" noProof="0" err="1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Itau Display Light" panose="020B0403020204020204" pitchFamily="34" charset="0"/>
                    <a:ea typeface="+mn-ea"/>
                    <a:cs typeface="Itau Display Light" panose="020B0403020204020204" pitchFamily="34" charset="0"/>
                  </a:rPr>
                  <a:t>pré</a:t>
                </a:r>
                <a:r>
                  <a:rPr kumimoji="0" lang="pt-BR" sz="1401" b="0" i="0" u="none" strike="noStrike" kern="0" cap="none" spc="300" normalizeH="0" baseline="0" noProof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Itau Display Light" panose="020B0403020204020204" pitchFamily="34" charset="0"/>
                    <a:ea typeface="+mn-ea"/>
                    <a:cs typeface="Itau Display Light" panose="020B0403020204020204" pitchFamily="34" charset="0"/>
                  </a:rPr>
                  <a:t>-assinada</a:t>
                </a:r>
                <a:endParaRPr kumimoji="0" lang="pt-BR" sz="1401" b="0" i="0" u="none" strike="noStrike" kern="0" cap="none" spc="30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 Black" panose="020B0903020204020204" pitchFamily="34" charset="0"/>
                  <a:ea typeface="+mn-ea"/>
                  <a:cs typeface="Itau Display Black" panose="020B090302020402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401" b="0" i="0" u="none" strike="noStrike" kern="0" cap="none" spc="300" normalizeH="0" baseline="0" noProof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Itau Display Light" panose="020B0403020204020204" pitchFamily="34" charset="0"/>
                    <a:ea typeface="+mn-ea"/>
                    <a:cs typeface="Itau Display Light" panose="020B0403020204020204" pitchFamily="34" charset="0"/>
                  </a:rPr>
                  <a:t>_análise do time de riscos sobre solução de motor de riscos</a:t>
                </a:r>
              </a:p>
            </p:txBody>
          </p:sp>
          <p:sp>
            <p:nvSpPr>
              <p:cNvPr id="55" name="Retângulo 54">
                <a:extLst>
                  <a:ext uri="{FF2B5EF4-FFF2-40B4-BE49-F238E27FC236}">
                    <a16:creationId xmlns:a16="http://schemas.microsoft.com/office/drawing/2014/main" id="{2BC9A3D9-ED45-EDFE-F2EA-1F9DA04212DD}"/>
                  </a:ext>
                </a:extLst>
              </p:cNvPr>
              <p:cNvSpPr/>
              <p:nvPr/>
            </p:nvSpPr>
            <p:spPr>
              <a:xfrm rot="16200000">
                <a:off x="4341113" y="678608"/>
                <a:ext cx="1481074" cy="30790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401" b="0" i="0" u="none" strike="noStrike" kern="1200" cap="none" spc="300" normalizeH="0" baseline="0" noProof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Itau Display Black" panose="020B0903020204020204" pitchFamily="34" charset="0"/>
                    <a:ea typeface="+mn-ea"/>
                    <a:cs typeface="Itau Display Black" panose="020B0903020204020204" pitchFamily="34" charset="0"/>
                  </a:rPr>
                  <a:t>Sprint 01</a:t>
                </a:r>
                <a:endParaRPr kumimoji="0" lang="pt-BR" sz="1100" b="0" i="0" u="none" strike="noStrike" kern="0" cap="none" spc="30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 Black" panose="020B0903020204020204" pitchFamily="34" charset="0"/>
                  <a:ea typeface="+mn-ea"/>
                  <a:cs typeface="Itau Display Black" panose="020B0903020204020204" pitchFamily="34" charset="0"/>
                </a:endParaRPr>
              </a:p>
            </p:txBody>
          </p:sp>
          <p:sp>
            <p:nvSpPr>
              <p:cNvPr id="57" name="Elipse 56">
                <a:extLst>
                  <a:ext uri="{FF2B5EF4-FFF2-40B4-BE49-F238E27FC236}">
                    <a16:creationId xmlns:a16="http://schemas.microsoft.com/office/drawing/2014/main" id="{B900575F-5800-88E1-118B-D9A7827F33F7}"/>
                  </a:ext>
                </a:extLst>
              </p:cNvPr>
              <p:cNvSpPr/>
              <p:nvPr/>
            </p:nvSpPr>
            <p:spPr>
              <a:xfrm>
                <a:off x="5367131" y="679604"/>
                <a:ext cx="216000" cy="216000"/>
              </a:xfrm>
              <a:prstGeom prst="ellipse">
                <a:avLst/>
              </a:prstGeom>
              <a:solidFill>
                <a:srgbClr val="FE9600"/>
              </a:solidFill>
              <a:ln w="38100">
                <a:solidFill>
                  <a:srgbClr val="FE96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1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8" name="Retângulo 57">
                <a:extLst>
                  <a:ext uri="{FF2B5EF4-FFF2-40B4-BE49-F238E27FC236}">
                    <a16:creationId xmlns:a16="http://schemas.microsoft.com/office/drawing/2014/main" id="{2B400026-1B19-1AE3-2382-8815CD432DB6}"/>
                  </a:ext>
                </a:extLst>
              </p:cNvPr>
              <p:cNvSpPr/>
              <p:nvPr/>
            </p:nvSpPr>
            <p:spPr>
              <a:xfrm rot="16200000">
                <a:off x="4341113" y="2128249"/>
                <a:ext cx="1481074" cy="30790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401" b="0" i="0" u="none" strike="noStrike" kern="1200" cap="none" spc="300" normalizeH="0" baseline="0" noProof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Itau Display Black" panose="020B0903020204020204" pitchFamily="34" charset="0"/>
                    <a:ea typeface="+mn-ea"/>
                    <a:cs typeface="Itau Display Black" panose="020B0903020204020204" pitchFamily="34" charset="0"/>
                  </a:rPr>
                  <a:t>Sprint 02</a:t>
                </a:r>
                <a:endParaRPr kumimoji="0" lang="pt-BR" sz="1100" b="0" i="0" u="none" strike="noStrike" kern="0" cap="none" spc="30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 Black" panose="020B0903020204020204" pitchFamily="34" charset="0"/>
                  <a:ea typeface="+mn-ea"/>
                  <a:cs typeface="Itau Display Black" panose="020B0903020204020204" pitchFamily="34" charset="0"/>
                </a:endParaRPr>
              </a:p>
            </p:txBody>
          </p:sp>
          <p:sp>
            <p:nvSpPr>
              <p:cNvPr id="59" name="Elipse 58">
                <a:extLst>
                  <a:ext uri="{FF2B5EF4-FFF2-40B4-BE49-F238E27FC236}">
                    <a16:creationId xmlns:a16="http://schemas.microsoft.com/office/drawing/2014/main" id="{B8F5E9D1-CBA3-2F92-DE5C-72456CF07730}"/>
                  </a:ext>
                </a:extLst>
              </p:cNvPr>
              <p:cNvSpPr/>
              <p:nvPr/>
            </p:nvSpPr>
            <p:spPr>
              <a:xfrm>
                <a:off x="5369003" y="2174200"/>
                <a:ext cx="216000" cy="216000"/>
              </a:xfrm>
              <a:prstGeom prst="ellipse">
                <a:avLst/>
              </a:prstGeom>
              <a:solidFill>
                <a:srgbClr val="FE9600"/>
              </a:solidFill>
              <a:ln w="38100">
                <a:solidFill>
                  <a:srgbClr val="FE96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1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0" name="Retângulo 59">
                <a:extLst>
                  <a:ext uri="{FF2B5EF4-FFF2-40B4-BE49-F238E27FC236}">
                    <a16:creationId xmlns:a16="http://schemas.microsoft.com/office/drawing/2014/main" id="{1D1B6137-3A8A-4142-B75E-AF9A94FB1651}"/>
                  </a:ext>
                </a:extLst>
              </p:cNvPr>
              <p:cNvSpPr/>
              <p:nvPr/>
            </p:nvSpPr>
            <p:spPr>
              <a:xfrm rot="16200000">
                <a:off x="4077374" y="4078109"/>
                <a:ext cx="2036434" cy="30790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401" b="0" i="0" u="none" strike="noStrike" kern="1200" cap="none" spc="300" normalizeH="0" baseline="0" noProof="0">
                    <a:ln>
                      <a:noFill/>
                    </a:ln>
                    <a:solidFill>
                      <a:srgbClr val="5F6062"/>
                    </a:solidFill>
                    <a:effectLst/>
                    <a:uLnTx/>
                    <a:uFillTx/>
                    <a:latin typeface="Itau Display Black" panose="020B0903020204020204" pitchFamily="34" charset="0"/>
                    <a:ea typeface="+mn-ea"/>
                    <a:cs typeface="Itau Display Black" panose="020B0903020204020204" pitchFamily="34" charset="0"/>
                  </a:rPr>
                  <a:t>Agora</a:t>
                </a:r>
                <a:endParaRPr kumimoji="0" lang="pt-BR" sz="1100" b="0" i="0" u="none" strike="noStrike" kern="0" cap="none" spc="30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 Black" panose="020B0903020204020204" pitchFamily="34" charset="0"/>
                  <a:ea typeface="+mn-ea"/>
                  <a:cs typeface="Itau Display Black" panose="020B0903020204020204" pitchFamily="34" charset="0"/>
                </a:endParaRPr>
              </a:p>
            </p:txBody>
          </p:sp>
          <p:sp>
            <p:nvSpPr>
              <p:cNvPr id="61" name="Elipse 60">
                <a:extLst>
                  <a:ext uri="{FF2B5EF4-FFF2-40B4-BE49-F238E27FC236}">
                    <a16:creationId xmlns:a16="http://schemas.microsoft.com/office/drawing/2014/main" id="{35A966D3-AE75-D3F4-9887-D2359E98565C}"/>
                  </a:ext>
                </a:extLst>
              </p:cNvPr>
              <p:cNvSpPr/>
              <p:nvPr/>
            </p:nvSpPr>
            <p:spPr>
              <a:xfrm>
                <a:off x="5367132" y="4168644"/>
                <a:ext cx="216000" cy="216000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rgbClr val="FE96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1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9" name="Retângulo 8">
              <a:extLst>
                <a:ext uri="{FF2B5EF4-FFF2-40B4-BE49-F238E27FC236}">
                  <a16:creationId xmlns:a16="http://schemas.microsoft.com/office/drawing/2014/main" id="{D6C58699-878E-DBF9-8794-977149CFD9DA}"/>
                </a:ext>
              </a:extLst>
            </p:cNvPr>
            <p:cNvSpPr/>
            <p:nvPr/>
          </p:nvSpPr>
          <p:spPr>
            <a:xfrm>
              <a:off x="5960747" y="5526752"/>
              <a:ext cx="6130281" cy="123174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801" b="0" i="0" u="none" strike="noStrike" kern="1200" cap="none" spc="30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 Black" panose="020B0903020204020204" pitchFamily="34" charset="0"/>
                  <a:ea typeface="+mn-ea"/>
                  <a:cs typeface="Itau Display Black" panose="020B0903020204020204" pitchFamily="34" charset="0"/>
                </a:rPr>
                <a:t>Validação com cliente e desenvolvimento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1" b="0" i="0" u="none" strike="noStrike" kern="0" cap="none" spc="30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 Light" panose="020B0403020204020204" pitchFamily="34" charset="0"/>
                  <a:ea typeface="+mn-ea"/>
                  <a:cs typeface="Itau Display Light" panose="020B0403020204020204" pitchFamily="34" charset="0"/>
                </a:rPr>
                <a:t>_pesquisas </a:t>
              </a:r>
              <a:r>
                <a:rPr kumimoji="0" lang="pt-BR" sz="1401" b="0" i="0" u="none" strike="noStrike" kern="0" cap="none" spc="300" normalizeH="0" baseline="0" noProof="0" err="1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 Light" panose="020B0403020204020204" pitchFamily="34" charset="0"/>
                  <a:ea typeface="+mn-ea"/>
                  <a:cs typeface="Itau Display Light" panose="020B0403020204020204" pitchFamily="34" charset="0"/>
                </a:rPr>
                <a:t>quali</a:t>
              </a:r>
              <a:r>
                <a:rPr kumimoji="0" lang="pt-BR" sz="1401" b="0" i="0" u="none" strike="noStrike" kern="0" cap="none" spc="30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 Light" panose="020B0403020204020204" pitchFamily="34" charset="0"/>
                  <a:ea typeface="+mn-ea"/>
                  <a:cs typeface="Itau Display Light" panose="020B0403020204020204" pitchFamily="34" charset="0"/>
                </a:rPr>
                <a:t> para validação de hipótese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1" b="0" i="0" u="none" strike="noStrike" kern="0" cap="none" spc="30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 Light" panose="020B0403020204020204" pitchFamily="34" charset="0"/>
                  <a:ea typeface="+mn-ea"/>
                  <a:cs typeface="Itau Display Light" panose="020B0403020204020204" pitchFamily="34" charset="0"/>
                </a:rPr>
                <a:t>_desenho de ecossistema de </a:t>
              </a:r>
              <a:r>
                <a:rPr kumimoji="0" lang="pt-BR" sz="1401" b="0" i="0" u="none" strike="noStrike" kern="0" cap="none" spc="300" normalizeH="0" baseline="0" noProof="0" err="1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 Light" panose="020B0403020204020204" pitchFamily="34" charset="0"/>
                  <a:ea typeface="+mn-ea"/>
                  <a:cs typeface="Itau Display Light" panose="020B0403020204020204" pitchFamily="34" charset="0"/>
                </a:rPr>
                <a:t>docs</a:t>
              </a:r>
              <a:r>
                <a:rPr kumimoji="0" lang="pt-BR" sz="1401" b="0" i="0" u="none" strike="noStrike" kern="0" cap="none" spc="30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 Light" panose="020B0403020204020204" pitchFamily="34" charset="0"/>
                  <a:ea typeface="+mn-ea"/>
                  <a:cs typeface="Itau Display Light" panose="020B0403020204020204" pitchFamily="34" charset="0"/>
                </a:rPr>
                <a:t> nas jornadas do App Itaú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1" b="0" i="0" u="none" strike="noStrike" kern="0" cap="none" spc="30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 Light" panose="020B0403020204020204" pitchFamily="34" charset="0"/>
                  <a:ea typeface="+mn-ea"/>
                  <a:cs typeface="Itau Display Light" panose="020B0403020204020204" pitchFamily="34" charset="0"/>
                </a:rPr>
                <a:t>_início do desenvolvimento</a:t>
              </a:r>
              <a:endParaRPr kumimoji="0" lang="pt-BR" sz="1401" b="0" i="0" u="none" strike="noStrike" kern="0" cap="none" spc="30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Black" panose="020B0903020204020204" pitchFamily="34" charset="0"/>
                <a:ea typeface="+mn-ea"/>
                <a:cs typeface="Itau Display Black" panose="020B0903020204020204" pitchFamily="34" charset="0"/>
              </a:endParaRPr>
            </a:p>
          </p:txBody>
        </p:sp>
        <p:sp>
          <p:nvSpPr>
            <p:cNvPr id="10" name="Retângulo 9">
              <a:extLst>
                <a:ext uri="{FF2B5EF4-FFF2-40B4-BE49-F238E27FC236}">
                  <a16:creationId xmlns:a16="http://schemas.microsoft.com/office/drawing/2014/main" id="{FBBDD782-77EF-7041-4429-10C8071CE7F9}"/>
                </a:ext>
              </a:extLst>
            </p:cNvPr>
            <p:cNvSpPr/>
            <p:nvPr/>
          </p:nvSpPr>
          <p:spPr>
            <a:xfrm rot="16200000">
              <a:off x="4077376" y="5960109"/>
              <a:ext cx="2036434" cy="30790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1" b="0" i="0" u="none" strike="noStrike" kern="0" cap="none" spc="30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 Black" panose="020B0903020204020204" pitchFamily="34" charset="0"/>
                  <a:ea typeface="+mn-ea"/>
                  <a:cs typeface="Itau Display Black" panose="020B0903020204020204" pitchFamily="34" charset="0"/>
                </a:rPr>
                <a:t>A seguir</a:t>
              </a:r>
              <a:endParaRPr kumimoji="0" lang="pt-BR" sz="1100" b="0" i="0" u="none" strike="noStrike" kern="0" cap="none" spc="30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Black" panose="020B0903020204020204" pitchFamily="34" charset="0"/>
                <a:ea typeface="+mn-ea"/>
                <a:cs typeface="Itau Display Black" panose="020B0903020204020204" pitchFamily="34" charset="0"/>
              </a:endParaRPr>
            </a:p>
          </p:txBody>
        </p:sp>
        <p:sp>
          <p:nvSpPr>
            <p:cNvPr id="11" name="Elipse 10">
              <a:extLst>
                <a:ext uri="{FF2B5EF4-FFF2-40B4-BE49-F238E27FC236}">
                  <a16:creationId xmlns:a16="http://schemas.microsoft.com/office/drawing/2014/main" id="{F10D38C8-7F6C-2762-18FE-C612EF12566D}"/>
                </a:ext>
              </a:extLst>
            </p:cNvPr>
            <p:cNvSpPr/>
            <p:nvPr/>
          </p:nvSpPr>
          <p:spPr>
            <a:xfrm>
              <a:off x="5367133" y="6050644"/>
              <a:ext cx="216000" cy="216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FE96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1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3" name="Retângulo 12">
            <a:extLst>
              <a:ext uri="{FF2B5EF4-FFF2-40B4-BE49-F238E27FC236}">
                <a16:creationId xmlns:a16="http://schemas.microsoft.com/office/drawing/2014/main" id="{C8826D53-B112-C8FF-7D16-6AB77E651169}"/>
              </a:ext>
            </a:extLst>
          </p:cNvPr>
          <p:cNvSpPr/>
          <p:nvPr/>
        </p:nvSpPr>
        <p:spPr>
          <a:xfrm>
            <a:off x="-4031957" y="-1034272"/>
            <a:ext cx="5937788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0" cap="none" spc="30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Black" panose="020B0903020204020204" pitchFamily="34" charset="0"/>
                <a:ea typeface="+mn-ea"/>
                <a:cs typeface="Itau Display Black" panose="020B0903020204020204" pitchFamily="34" charset="0"/>
              </a:rPr>
              <a:t>Seguranç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0" cap="none" spc="30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_</a:t>
            </a:r>
            <a:r>
              <a:rPr kumimoji="0" lang="pt-BR" sz="1400" b="0" i="0" u="none" strike="noStrike" kern="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jornada integrada ao app com a garantia de segurança Itaú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_conteúdos disponíveis em área logada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B821A9E4-94DB-569C-DB52-DB8F832DCDD6}"/>
              </a:ext>
            </a:extLst>
          </p:cNvPr>
          <p:cNvSpPr txBox="1"/>
          <p:nvPr/>
        </p:nvSpPr>
        <p:spPr>
          <a:xfrm>
            <a:off x="166585" y="165293"/>
            <a:ext cx="3528544" cy="4347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pt-BR"/>
            </a:defPPr>
            <a:lvl1pPr defTabSz="914411">
              <a:lnSpc>
                <a:spcPct val="75000"/>
              </a:lnSpc>
              <a:spcBef>
                <a:spcPts val="0"/>
              </a:spcBef>
              <a:buNone/>
              <a:defRPr kumimoji="0" sz="28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tau Display Heavy" panose="020B0803020204020204" pitchFamily="34" charset="0"/>
                <a:cs typeface="Itau Display Heavy" panose="020B0803020204020204" pitchFamily="34" charset="0"/>
              </a:defRPr>
            </a:lvl1pPr>
            <a:lvl2pPr marL="539756" indent="-182566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>
                <a:solidFill>
                  <a:schemeClr val="accent6"/>
                </a:solidFill>
              </a:defRPr>
            </a:lvl2pPr>
            <a:lvl3pPr marL="898536" indent="-184152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accent6"/>
                </a:solidFill>
              </a:defRPr>
            </a:lvl3pPr>
            <a:lvl4pPr marL="1255729" indent="-184152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>
                <a:solidFill>
                  <a:schemeClr val="accent6"/>
                </a:solidFill>
              </a:defRPr>
            </a:lvl4pPr>
            <a:lvl5pPr marL="1612920" indent="-174628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>
                <a:solidFill>
                  <a:schemeClr val="accent6"/>
                </a:solidFill>
              </a:defRPr>
            </a:lvl5pPr>
            <a:lvl6pPr marL="2514632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6pPr>
            <a:lvl7pPr marL="2971838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7pPr>
            <a:lvl8pPr marL="3429044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8pPr>
            <a:lvl9pPr marL="3886249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9pPr>
          </a:lstStyle>
          <a:p>
            <a:pPr marL="0" marR="0" lvl="0" indent="0" algn="l" defTabSz="914411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</a:rPr>
              <a:t>_meus documentos</a:t>
            </a:r>
          </a:p>
        </p:txBody>
      </p:sp>
    </p:spTree>
    <p:extLst>
      <p:ext uri="{BB962C8B-B14F-4D97-AF65-F5344CB8AC3E}">
        <p14:creationId xmlns:p14="http://schemas.microsoft.com/office/powerpoint/2010/main" val="655849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>
            <a:extLst>
              <a:ext uri="{FF2B5EF4-FFF2-40B4-BE49-F238E27FC236}">
                <a16:creationId xmlns:a16="http://schemas.microsoft.com/office/drawing/2014/main" id="{35D54280-8330-DFF5-B4CF-C20E88CAC6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432" r="459"/>
          <a:stretch/>
        </p:blipFill>
        <p:spPr bwMode="auto">
          <a:xfrm>
            <a:off x="305" y="0"/>
            <a:ext cx="1219169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>
            <a:extLst>
              <a:ext uri="{FF2B5EF4-FFF2-40B4-BE49-F238E27FC236}">
                <a16:creationId xmlns:a16="http://schemas.microsoft.com/office/drawing/2014/main" id="{F4B98D72-AC79-254D-3FA6-961DE64309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00" y="5435600"/>
            <a:ext cx="1041400" cy="1041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Google Shape;181;p7">
            <a:extLst>
              <a:ext uri="{FF2B5EF4-FFF2-40B4-BE49-F238E27FC236}">
                <a16:creationId xmlns:a16="http://schemas.microsoft.com/office/drawing/2014/main" id="{8E386285-63CB-D75C-89F2-B9123BC61057}"/>
              </a:ext>
            </a:extLst>
          </p:cNvPr>
          <p:cNvSpPr txBox="1"/>
          <p:nvPr/>
        </p:nvSpPr>
        <p:spPr>
          <a:xfrm>
            <a:off x="355600" y="5633155"/>
            <a:ext cx="6096000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pt-BR" sz="3600" b="1" dirty="0">
                <a:solidFill>
                  <a:srgbClr val="FF6200"/>
                </a:solidFill>
                <a:latin typeface="Poppins"/>
                <a:ea typeface="Calibri"/>
                <a:cs typeface="Poppins"/>
                <a:sym typeface="Poppins"/>
              </a:rPr>
              <a:t>Estratégia </a:t>
            </a:r>
            <a:endParaRPr sz="3600" b="0" i="0" u="none" strike="noStrike" cap="none" dirty="0">
              <a:solidFill>
                <a:srgbClr val="FF62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550588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aixaDeTexto 10">
            <a:extLst>
              <a:ext uri="{FF2B5EF4-FFF2-40B4-BE49-F238E27FC236}">
                <a16:creationId xmlns:a16="http://schemas.microsoft.com/office/drawing/2014/main" id="{3C2DAD98-C61A-D7D8-6575-3CA30EE7FD7A}"/>
              </a:ext>
            </a:extLst>
          </p:cNvPr>
          <p:cNvSpPr txBox="1"/>
          <p:nvPr/>
        </p:nvSpPr>
        <p:spPr>
          <a:xfrm>
            <a:off x="218601" y="341151"/>
            <a:ext cx="2763715" cy="4347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pt-BR"/>
            </a:defPPr>
            <a:lvl1pPr defTabSz="914411">
              <a:lnSpc>
                <a:spcPct val="75000"/>
              </a:lnSpc>
              <a:spcBef>
                <a:spcPts val="0"/>
              </a:spcBef>
              <a:buNone/>
              <a:defRPr kumimoji="0" sz="2800" b="0" i="0" u="none" strike="noStrike" cap="none" spc="0" normalizeH="0" baseline="0">
                <a:ln>
                  <a:noFill/>
                </a:ln>
                <a:solidFill>
                  <a:srgbClr val="FE9600"/>
                </a:solidFill>
                <a:effectLst/>
                <a:uLnTx/>
                <a:uFillTx/>
                <a:latin typeface="Itau Display Heavy" panose="020B0803020204020204" pitchFamily="34" charset="0"/>
                <a:cs typeface="Itau Display Heavy" panose="020B0803020204020204" pitchFamily="34" charset="0"/>
              </a:defRPr>
            </a:lvl1pPr>
            <a:lvl2pPr marL="539756" indent="-182566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>
                <a:solidFill>
                  <a:schemeClr val="accent6"/>
                </a:solidFill>
              </a:defRPr>
            </a:lvl2pPr>
            <a:lvl3pPr marL="898536" indent="-184152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accent6"/>
                </a:solidFill>
              </a:defRPr>
            </a:lvl3pPr>
            <a:lvl4pPr marL="1255729" indent="-184152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>
                <a:solidFill>
                  <a:schemeClr val="accent6"/>
                </a:solidFill>
              </a:defRPr>
            </a:lvl4pPr>
            <a:lvl5pPr marL="1612920" indent="-174628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>
                <a:solidFill>
                  <a:schemeClr val="accent6"/>
                </a:solidFill>
              </a:defRPr>
            </a:lvl5pPr>
            <a:lvl6pPr marL="2514632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6pPr>
            <a:lvl7pPr marL="2971838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7pPr>
            <a:lvl8pPr marL="3429044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8pPr>
            <a:lvl9pPr marL="3886249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9pPr>
          </a:lstStyle>
          <a:p>
            <a:pPr marL="0" marR="0" lvl="0" indent="0" algn="l" defTabSz="914411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0" i="0" u="none" strike="noStrike" kern="1200" cap="none" spc="0" normalizeH="0" baseline="0" noProof="0">
                <a:ln>
                  <a:noFill/>
                </a:ln>
                <a:solidFill>
                  <a:srgbClr val="FE9600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</a:rPr>
              <a:t>_no nosso radar</a:t>
            </a:r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C7D55710-4D92-9F24-C292-AD7215F60C7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044413" y="0"/>
            <a:ext cx="6147587" cy="7201626"/>
          </a:xfrm>
          <a:prstGeom prst="rect">
            <a:avLst/>
          </a:prstGeom>
          <a:solidFill>
            <a:srgbClr val="EE73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1" b="0" i="0" u="none" strike="noStrike" kern="1200" cap="none" spc="0" normalizeH="0" baseline="0" noProof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4" name="Agrupar 13">
            <a:extLst>
              <a:ext uri="{FF2B5EF4-FFF2-40B4-BE49-F238E27FC236}">
                <a16:creationId xmlns:a16="http://schemas.microsoft.com/office/drawing/2014/main" id="{8DCF8D0B-B56E-67DB-E125-FD89D883E969}"/>
              </a:ext>
            </a:extLst>
          </p:cNvPr>
          <p:cNvGrpSpPr>
            <a:grpSpLocks noChangeAspect="1"/>
          </p:cNvGrpSpPr>
          <p:nvPr/>
        </p:nvGrpSpPr>
        <p:grpSpPr>
          <a:xfrm>
            <a:off x="457362" y="2052516"/>
            <a:ext cx="5326498" cy="3879741"/>
            <a:chOff x="7367502" y="1278790"/>
            <a:chExt cx="3183148" cy="2318557"/>
          </a:xfrm>
        </p:grpSpPr>
        <p:sp>
          <p:nvSpPr>
            <p:cNvPr id="15" name="Forma Livre: Forma 14">
              <a:extLst>
                <a:ext uri="{FF2B5EF4-FFF2-40B4-BE49-F238E27FC236}">
                  <a16:creationId xmlns:a16="http://schemas.microsoft.com/office/drawing/2014/main" id="{58607333-1C08-0B6A-DD9E-321F1702B3F1}"/>
                </a:ext>
              </a:extLst>
            </p:cNvPr>
            <p:cNvSpPr/>
            <p:nvPr/>
          </p:nvSpPr>
          <p:spPr>
            <a:xfrm>
              <a:off x="8825302" y="1506788"/>
              <a:ext cx="170104" cy="139332"/>
            </a:xfrm>
            <a:custGeom>
              <a:avLst/>
              <a:gdLst>
                <a:gd name="connsiteX0" fmla="*/ 0 w 226409"/>
                <a:gd name="connsiteY0" fmla="*/ 3905 h 185451"/>
                <a:gd name="connsiteX1" fmla="*/ 76867 w 226409"/>
                <a:gd name="connsiteY1" fmla="*/ 110109 h 185451"/>
                <a:gd name="connsiteX2" fmla="*/ 226409 w 226409"/>
                <a:gd name="connsiteY2" fmla="*/ 185452 h 185451"/>
                <a:gd name="connsiteX3" fmla="*/ 225838 w 226409"/>
                <a:gd name="connsiteY3" fmla="*/ 156400 h 185451"/>
                <a:gd name="connsiteX4" fmla="*/ 127921 w 226409"/>
                <a:gd name="connsiteY4" fmla="*/ 87630 h 185451"/>
                <a:gd name="connsiteX5" fmla="*/ 63436 w 226409"/>
                <a:gd name="connsiteY5" fmla="*/ 0 h 185451"/>
                <a:gd name="connsiteX6" fmla="*/ 0 w 226409"/>
                <a:gd name="connsiteY6" fmla="*/ 3905 h 185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6409" h="185451">
                  <a:moveTo>
                    <a:pt x="0" y="3905"/>
                  </a:moveTo>
                  <a:cubicBezTo>
                    <a:pt x="0" y="3905"/>
                    <a:pt x="41910" y="77819"/>
                    <a:pt x="76867" y="110109"/>
                  </a:cubicBezTo>
                  <a:cubicBezTo>
                    <a:pt x="111823" y="142399"/>
                    <a:pt x="226409" y="185452"/>
                    <a:pt x="226409" y="185452"/>
                  </a:cubicBezTo>
                  <a:lnTo>
                    <a:pt x="225838" y="156400"/>
                  </a:lnTo>
                  <a:lnTo>
                    <a:pt x="127921" y="87630"/>
                  </a:lnTo>
                  <a:lnTo>
                    <a:pt x="63436" y="0"/>
                  </a:lnTo>
                  <a:lnTo>
                    <a:pt x="0" y="3905"/>
                  </a:lnTo>
                  <a:close/>
                </a:path>
              </a:pathLst>
            </a:custGeom>
            <a:solidFill>
              <a:srgbClr val="663E3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6" name="Gráfico 10">
              <a:extLst>
                <a:ext uri="{FF2B5EF4-FFF2-40B4-BE49-F238E27FC236}">
                  <a16:creationId xmlns:a16="http://schemas.microsoft.com/office/drawing/2014/main" id="{6E90120E-0E92-2330-279D-92099BFB5AF8}"/>
                </a:ext>
              </a:extLst>
            </p:cNvPr>
            <p:cNvGrpSpPr/>
            <p:nvPr/>
          </p:nvGrpSpPr>
          <p:grpSpPr>
            <a:xfrm>
              <a:off x="8971863" y="1616637"/>
              <a:ext cx="71891" cy="43271"/>
              <a:chOff x="7194447" y="870719"/>
              <a:chExt cx="95687" cy="57594"/>
            </a:xfrm>
            <a:solidFill>
              <a:srgbClr val="F4A086"/>
            </a:solidFill>
          </p:grpSpPr>
          <p:sp>
            <p:nvSpPr>
              <p:cNvPr id="162" name="Forma Livre: Forma 161">
                <a:extLst>
                  <a:ext uri="{FF2B5EF4-FFF2-40B4-BE49-F238E27FC236}">
                    <a16:creationId xmlns:a16="http://schemas.microsoft.com/office/drawing/2014/main" id="{6114C5B0-97BF-25E4-86F7-F7DD7ABA79E2}"/>
                  </a:ext>
                </a:extLst>
              </p:cNvPr>
              <p:cNvSpPr/>
              <p:nvPr/>
            </p:nvSpPr>
            <p:spPr>
              <a:xfrm>
                <a:off x="7194447" y="870719"/>
                <a:ext cx="95687" cy="57594"/>
              </a:xfrm>
              <a:custGeom>
                <a:avLst/>
                <a:gdLst>
                  <a:gd name="connsiteX0" fmla="*/ 31147 w 95687"/>
                  <a:gd name="connsiteY0" fmla="*/ 11525 h 57594"/>
                  <a:gd name="connsiteX1" fmla="*/ 54959 w 95687"/>
                  <a:gd name="connsiteY1" fmla="*/ 26003 h 57594"/>
                  <a:gd name="connsiteX2" fmla="*/ 93821 w 95687"/>
                  <a:gd name="connsiteY2" fmla="*/ 46863 h 57594"/>
                  <a:gd name="connsiteX3" fmla="*/ 58007 w 95687"/>
                  <a:gd name="connsiteY3" fmla="*/ 57436 h 57594"/>
                  <a:gd name="connsiteX4" fmla="*/ 23717 w 95687"/>
                  <a:gd name="connsiteY4" fmla="*/ 43244 h 57594"/>
                  <a:gd name="connsiteX5" fmla="*/ 0 w 95687"/>
                  <a:gd name="connsiteY5" fmla="*/ 18288 h 57594"/>
                  <a:gd name="connsiteX6" fmla="*/ 1810 w 95687"/>
                  <a:gd name="connsiteY6" fmla="*/ 857 h 57594"/>
                  <a:gd name="connsiteX7" fmla="*/ 9049 w 95687"/>
                  <a:gd name="connsiteY7" fmla="*/ 0 h 57594"/>
                  <a:gd name="connsiteX8" fmla="*/ 31147 w 95687"/>
                  <a:gd name="connsiteY8" fmla="*/ 11525 h 57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5687" h="57594">
                    <a:moveTo>
                      <a:pt x="31147" y="11525"/>
                    </a:moveTo>
                    <a:cubicBezTo>
                      <a:pt x="32671" y="13526"/>
                      <a:pt x="38386" y="20003"/>
                      <a:pt x="54959" y="26003"/>
                    </a:cubicBezTo>
                    <a:cubicBezTo>
                      <a:pt x="69818" y="31337"/>
                      <a:pt x="104013" y="33528"/>
                      <a:pt x="93821" y="46863"/>
                    </a:cubicBezTo>
                    <a:cubicBezTo>
                      <a:pt x="77152" y="50768"/>
                      <a:pt x="58007" y="57436"/>
                      <a:pt x="58007" y="57436"/>
                    </a:cubicBezTo>
                    <a:cubicBezTo>
                      <a:pt x="47625" y="58865"/>
                      <a:pt x="32290" y="50387"/>
                      <a:pt x="23717" y="43244"/>
                    </a:cubicBezTo>
                    <a:lnTo>
                      <a:pt x="0" y="18288"/>
                    </a:lnTo>
                    <a:cubicBezTo>
                      <a:pt x="0" y="18288"/>
                      <a:pt x="1905" y="1715"/>
                      <a:pt x="1810" y="857"/>
                    </a:cubicBezTo>
                    <a:lnTo>
                      <a:pt x="9049" y="0"/>
                    </a:lnTo>
                    <a:cubicBezTo>
                      <a:pt x="15812" y="4953"/>
                      <a:pt x="23241" y="8763"/>
                      <a:pt x="31147" y="11525"/>
                    </a:cubicBezTo>
                    <a:close/>
                  </a:path>
                </a:pathLst>
              </a:custGeom>
              <a:solidFill>
                <a:srgbClr val="663E3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3" name="Forma Livre: Forma 162">
                <a:extLst>
                  <a:ext uri="{FF2B5EF4-FFF2-40B4-BE49-F238E27FC236}">
                    <a16:creationId xmlns:a16="http://schemas.microsoft.com/office/drawing/2014/main" id="{19970272-F783-092E-94A5-5F51B2EDF8F8}"/>
                  </a:ext>
                </a:extLst>
              </p:cNvPr>
              <p:cNvSpPr/>
              <p:nvPr/>
            </p:nvSpPr>
            <p:spPr>
              <a:xfrm>
                <a:off x="7199496" y="877101"/>
                <a:ext cx="59552" cy="16668"/>
              </a:xfrm>
              <a:custGeom>
                <a:avLst/>
                <a:gdLst>
                  <a:gd name="connsiteX0" fmla="*/ 29528 w 59552"/>
                  <a:gd name="connsiteY0" fmla="*/ 13240 h 16668"/>
                  <a:gd name="connsiteX1" fmla="*/ 30766 w 59552"/>
                  <a:gd name="connsiteY1" fmla="*/ 15526 h 16668"/>
                  <a:gd name="connsiteX2" fmla="*/ 24193 w 59552"/>
                  <a:gd name="connsiteY2" fmla="*/ 16669 h 16668"/>
                  <a:gd name="connsiteX3" fmla="*/ 0 w 59552"/>
                  <a:gd name="connsiteY3" fmla="*/ 11240 h 16668"/>
                  <a:gd name="connsiteX4" fmla="*/ 4191 w 59552"/>
                  <a:gd name="connsiteY4" fmla="*/ 0 h 16668"/>
                  <a:gd name="connsiteX5" fmla="*/ 59246 w 59552"/>
                  <a:gd name="connsiteY5" fmla="*/ 1619 h 16668"/>
                  <a:gd name="connsiteX6" fmla="*/ 50959 w 59552"/>
                  <a:gd name="connsiteY6" fmla="*/ 11525 h 16668"/>
                  <a:gd name="connsiteX7" fmla="*/ 29528 w 59552"/>
                  <a:gd name="connsiteY7" fmla="*/ 13240 h 16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9552" h="16668">
                    <a:moveTo>
                      <a:pt x="29528" y="13240"/>
                    </a:moveTo>
                    <a:cubicBezTo>
                      <a:pt x="29528" y="13240"/>
                      <a:pt x="29813" y="14097"/>
                      <a:pt x="30766" y="15526"/>
                    </a:cubicBezTo>
                    <a:cubicBezTo>
                      <a:pt x="28480" y="15811"/>
                      <a:pt x="26289" y="16193"/>
                      <a:pt x="24193" y="16669"/>
                    </a:cubicBezTo>
                    <a:cubicBezTo>
                      <a:pt x="16192" y="14764"/>
                      <a:pt x="8096" y="13049"/>
                      <a:pt x="0" y="11240"/>
                    </a:cubicBezTo>
                    <a:cubicBezTo>
                      <a:pt x="1714" y="6763"/>
                      <a:pt x="4191" y="476"/>
                      <a:pt x="4191" y="0"/>
                    </a:cubicBezTo>
                    <a:lnTo>
                      <a:pt x="59246" y="1619"/>
                    </a:lnTo>
                    <a:cubicBezTo>
                      <a:pt x="59246" y="1619"/>
                      <a:pt x="62008" y="8192"/>
                      <a:pt x="50959" y="11525"/>
                    </a:cubicBezTo>
                    <a:cubicBezTo>
                      <a:pt x="39910" y="14859"/>
                      <a:pt x="29528" y="13240"/>
                      <a:pt x="29528" y="13240"/>
                    </a:cubicBezTo>
                    <a:close/>
                  </a:path>
                </a:pathLst>
              </a:custGeom>
              <a:solidFill>
                <a:srgbClr val="663E3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7" name="Gráfico 10">
              <a:extLst>
                <a:ext uri="{FF2B5EF4-FFF2-40B4-BE49-F238E27FC236}">
                  <a16:creationId xmlns:a16="http://schemas.microsoft.com/office/drawing/2014/main" id="{DC945ECA-933E-2732-5102-59B53DF018E7}"/>
                </a:ext>
              </a:extLst>
            </p:cNvPr>
            <p:cNvGrpSpPr/>
            <p:nvPr/>
          </p:nvGrpSpPr>
          <p:grpSpPr>
            <a:xfrm>
              <a:off x="7417908" y="2162946"/>
              <a:ext cx="702216" cy="891884"/>
              <a:chOff x="5126129" y="1597857"/>
              <a:chExt cx="934652" cy="1187100"/>
            </a:xfrm>
          </p:grpSpPr>
          <p:sp>
            <p:nvSpPr>
              <p:cNvPr id="160" name="Forma Livre: Forma 159">
                <a:extLst>
                  <a:ext uri="{FF2B5EF4-FFF2-40B4-BE49-F238E27FC236}">
                    <a16:creationId xmlns:a16="http://schemas.microsoft.com/office/drawing/2014/main" id="{7F242517-CED9-4DF3-1904-B120536E5BA6}"/>
                  </a:ext>
                </a:extLst>
              </p:cNvPr>
              <p:cNvSpPr/>
              <p:nvPr/>
            </p:nvSpPr>
            <p:spPr>
              <a:xfrm>
                <a:off x="5126129" y="1597952"/>
                <a:ext cx="934652" cy="1186910"/>
              </a:xfrm>
              <a:custGeom>
                <a:avLst/>
                <a:gdLst>
                  <a:gd name="connsiteX0" fmla="*/ 934653 w 934652"/>
                  <a:gd name="connsiteY0" fmla="*/ 693325 h 1186910"/>
                  <a:gd name="connsiteX1" fmla="*/ 110931 w 934652"/>
                  <a:gd name="connsiteY1" fmla="*/ 0 h 1186910"/>
                  <a:gd name="connsiteX2" fmla="*/ 302669 w 934652"/>
                  <a:gd name="connsiteY2" fmla="*/ 982218 h 1186910"/>
                  <a:gd name="connsiteX3" fmla="*/ 909030 w 934652"/>
                  <a:gd name="connsiteY3" fmla="*/ 1186910 h 1186910"/>
                  <a:gd name="connsiteX4" fmla="*/ 934653 w 934652"/>
                  <a:gd name="connsiteY4" fmla="*/ 693325 h 11869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34652" h="1186910">
                    <a:moveTo>
                      <a:pt x="934653" y="693325"/>
                    </a:moveTo>
                    <a:cubicBezTo>
                      <a:pt x="934653" y="693325"/>
                      <a:pt x="624995" y="30194"/>
                      <a:pt x="110931" y="0"/>
                    </a:cubicBezTo>
                    <a:cubicBezTo>
                      <a:pt x="-222730" y="521684"/>
                      <a:pt x="302669" y="982218"/>
                      <a:pt x="302669" y="982218"/>
                    </a:cubicBezTo>
                    <a:lnTo>
                      <a:pt x="909030" y="1186910"/>
                    </a:lnTo>
                    <a:lnTo>
                      <a:pt x="934653" y="693325"/>
                    </a:lnTo>
                    <a:close/>
                  </a:path>
                </a:pathLst>
              </a:custGeom>
              <a:solidFill>
                <a:srgbClr val="FFC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1" name="Forma Livre: Forma 160">
                <a:extLst>
                  <a:ext uri="{FF2B5EF4-FFF2-40B4-BE49-F238E27FC236}">
                    <a16:creationId xmlns:a16="http://schemas.microsoft.com/office/drawing/2014/main" id="{E0D124B1-D0B9-956B-5CDB-A07E5F921074}"/>
                  </a:ext>
                </a:extLst>
              </p:cNvPr>
              <p:cNvSpPr/>
              <p:nvPr/>
            </p:nvSpPr>
            <p:spPr>
              <a:xfrm>
                <a:off x="5131618" y="1597857"/>
                <a:ext cx="904398" cy="1187100"/>
              </a:xfrm>
              <a:custGeom>
                <a:avLst/>
                <a:gdLst>
                  <a:gd name="connsiteX0" fmla="*/ 616172 w 904398"/>
                  <a:gd name="connsiteY0" fmla="*/ 255937 h 1187100"/>
                  <a:gd name="connsiteX1" fmla="*/ 490061 w 904398"/>
                  <a:gd name="connsiteY1" fmla="*/ 554926 h 1187100"/>
                  <a:gd name="connsiteX2" fmla="*/ 117634 w 904398"/>
                  <a:gd name="connsiteY2" fmla="*/ 952 h 1187100"/>
                  <a:gd name="connsiteX3" fmla="*/ 105537 w 904398"/>
                  <a:gd name="connsiteY3" fmla="*/ 0 h 1187100"/>
                  <a:gd name="connsiteX4" fmla="*/ 101727 w 904398"/>
                  <a:gd name="connsiteY4" fmla="*/ 6191 h 1187100"/>
                  <a:gd name="connsiteX5" fmla="*/ 301181 w 904398"/>
                  <a:gd name="connsiteY5" fmla="*/ 302895 h 1187100"/>
                  <a:gd name="connsiteX6" fmla="*/ 2191 w 904398"/>
                  <a:gd name="connsiteY6" fmla="*/ 263842 h 1187100"/>
                  <a:gd name="connsiteX7" fmla="*/ 952 w 904398"/>
                  <a:gd name="connsiteY7" fmla="*/ 272320 h 1187100"/>
                  <a:gd name="connsiteX8" fmla="*/ 0 w 904398"/>
                  <a:gd name="connsiteY8" fmla="*/ 279844 h 1187100"/>
                  <a:gd name="connsiteX9" fmla="*/ 313087 w 904398"/>
                  <a:gd name="connsiteY9" fmla="*/ 320802 h 1187100"/>
                  <a:gd name="connsiteX10" fmla="*/ 645509 w 904398"/>
                  <a:gd name="connsiteY10" fmla="*/ 815245 h 1187100"/>
                  <a:gd name="connsiteX11" fmla="*/ 118682 w 904398"/>
                  <a:gd name="connsiteY11" fmla="*/ 763429 h 1187100"/>
                  <a:gd name="connsiteX12" fmla="*/ 129540 w 904398"/>
                  <a:gd name="connsiteY12" fmla="*/ 780669 h 1187100"/>
                  <a:gd name="connsiteX13" fmla="*/ 657225 w 904398"/>
                  <a:gd name="connsiteY13" fmla="*/ 832580 h 1187100"/>
                  <a:gd name="connsiteX14" fmla="*/ 893255 w 904398"/>
                  <a:gd name="connsiteY14" fmla="*/ 1183672 h 1187100"/>
                  <a:gd name="connsiteX15" fmla="*/ 903542 w 904398"/>
                  <a:gd name="connsiteY15" fmla="*/ 1187101 h 1187100"/>
                  <a:gd name="connsiteX16" fmla="*/ 904399 w 904398"/>
                  <a:gd name="connsiteY16" fmla="*/ 1171194 h 1187100"/>
                  <a:gd name="connsiteX17" fmla="*/ 500825 w 904398"/>
                  <a:gd name="connsiteY17" fmla="*/ 570929 h 1187100"/>
                  <a:gd name="connsiteX18" fmla="*/ 628460 w 904398"/>
                  <a:gd name="connsiteY18" fmla="*/ 268224 h 1187100"/>
                  <a:gd name="connsiteX19" fmla="*/ 616172 w 904398"/>
                  <a:gd name="connsiteY19" fmla="*/ 255937 h 1187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904398" h="1187100">
                    <a:moveTo>
                      <a:pt x="616172" y="255937"/>
                    </a:moveTo>
                    <a:lnTo>
                      <a:pt x="490061" y="554926"/>
                    </a:lnTo>
                    <a:lnTo>
                      <a:pt x="117634" y="952"/>
                    </a:lnTo>
                    <a:cubicBezTo>
                      <a:pt x="113633" y="667"/>
                      <a:pt x="109538" y="286"/>
                      <a:pt x="105537" y="0"/>
                    </a:cubicBezTo>
                    <a:cubicBezTo>
                      <a:pt x="104203" y="2095"/>
                      <a:pt x="103061" y="4096"/>
                      <a:pt x="101727" y="6191"/>
                    </a:cubicBezTo>
                    <a:lnTo>
                      <a:pt x="301181" y="302895"/>
                    </a:lnTo>
                    <a:lnTo>
                      <a:pt x="2191" y="263842"/>
                    </a:lnTo>
                    <a:cubicBezTo>
                      <a:pt x="1715" y="266700"/>
                      <a:pt x="1429" y="269462"/>
                      <a:pt x="952" y="272320"/>
                    </a:cubicBezTo>
                    <a:lnTo>
                      <a:pt x="0" y="279844"/>
                    </a:lnTo>
                    <a:lnTo>
                      <a:pt x="313087" y="320802"/>
                    </a:lnTo>
                    <a:lnTo>
                      <a:pt x="645509" y="815245"/>
                    </a:lnTo>
                    <a:lnTo>
                      <a:pt x="118682" y="763429"/>
                    </a:lnTo>
                    <a:cubicBezTo>
                      <a:pt x="122301" y="769239"/>
                      <a:pt x="125921" y="775049"/>
                      <a:pt x="129540" y="780669"/>
                    </a:cubicBezTo>
                    <a:lnTo>
                      <a:pt x="657225" y="832580"/>
                    </a:lnTo>
                    <a:lnTo>
                      <a:pt x="893255" y="1183672"/>
                    </a:lnTo>
                    <a:lnTo>
                      <a:pt x="903542" y="1187101"/>
                    </a:lnTo>
                    <a:lnTo>
                      <a:pt x="904399" y="1171194"/>
                    </a:lnTo>
                    <a:lnTo>
                      <a:pt x="500825" y="570929"/>
                    </a:lnTo>
                    <a:lnTo>
                      <a:pt x="628460" y="268224"/>
                    </a:lnTo>
                    <a:cubicBezTo>
                      <a:pt x="624364" y="264128"/>
                      <a:pt x="620268" y="260033"/>
                      <a:pt x="616172" y="255937"/>
                    </a:cubicBezTo>
                    <a:close/>
                  </a:path>
                </a:pathLst>
              </a:custGeom>
              <a:solidFill>
                <a:srgbClr val="E6E6E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8" name="Gráfico 10">
              <a:extLst>
                <a:ext uri="{FF2B5EF4-FFF2-40B4-BE49-F238E27FC236}">
                  <a16:creationId xmlns:a16="http://schemas.microsoft.com/office/drawing/2014/main" id="{A8F97593-B8AC-74B5-AC49-C64518F8B5D6}"/>
                </a:ext>
              </a:extLst>
            </p:cNvPr>
            <p:cNvGrpSpPr/>
            <p:nvPr/>
          </p:nvGrpSpPr>
          <p:grpSpPr>
            <a:xfrm>
              <a:off x="7367502" y="2809852"/>
              <a:ext cx="880863" cy="645445"/>
              <a:chOff x="5059038" y="2458890"/>
              <a:chExt cx="1172432" cy="859088"/>
            </a:xfrm>
          </p:grpSpPr>
          <p:sp>
            <p:nvSpPr>
              <p:cNvPr id="158" name="Forma Livre: Forma 157">
                <a:extLst>
                  <a:ext uri="{FF2B5EF4-FFF2-40B4-BE49-F238E27FC236}">
                    <a16:creationId xmlns:a16="http://schemas.microsoft.com/office/drawing/2014/main" id="{162B9385-4C65-0C39-C646-F1F4B862CAF0}"/>
                  </a:ext>
                </a:extLst>
              </p:cNvPr>
              <p:cNvSpPr/>
              <p:nvPr/>
            </p:nvSpPr>
            <p:spPr>
              <a:xfrm>
                <a:off x="5059038" y="2458890"/>
                <a:ext cx="1172432" cy="859088"/>
              </a:xfrm>
              <a:custGeom>
                <a:avLst/>
                <a:gdLst>
                  <a:gd name="connsiteX0" fmla="*/ 849154 w 1172432"/>
                  <a:gd name="connsiteY0" fmla="*/ 147569 h 859088"/>
                  <a:gd name="connsiteX1" fmla="*/ 0 w 1172432"/>
                  <a:gd name="connsiteY1" fmla="*/ 105183 h 859088"/>
                  <a:gd name="connsiteX2" fmla="*/ 1172432 w 1172432"/>
                  <a:gd name="connsiteY2" fmla="*/ 857087 h 859088"/>
                  <a:gd name="connsiteX3" fmla="*/ 849154 w 1172432"/>
                  <a:gd name="connsiteY3" fmla="*/ 147569 h 8590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72432" h="859088">
                    <a:moveTo>
                      <a:pt x="849154" y="147569"/>
                    </a:moveTo>
                    <a:cubicBezTo>
                      <a:pt x="849154" y="147569"/>
                      <a:pt x="317945" y="-154087"/>
                      <a:pt x="0" y="105183"/>
                    </a:cubicBezTo>
                    <a:cubicBezTo>
                      <a:pt x="108109" y="935859"/>
                      <a:pt x="1172432" y="857087"/>
                      <a:pt x="1172432" y="857087"/>
                    </a:cubicBezTo>
                    <a:lnTo>
                      <a:pt x="849154" y="147569"/>
                    </a:lnTo>
                    <a:close/>
                  </a:path>
                </a:pathLst>
              </a:custGeom>
              <a:solidFill>
                <a:srgbClr val="11458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9" name="Forma Livre: Forma 158">
                <a:extLst>
                  <a:ext uri="{FF2B5EF4-FFF2-40B4-BE49-F238E27FC236}">
                    <a16:creationId xmlns:a16="http://schemas.microsoft.com/office/drawing/2014/main" id="{D3A49298-901C-7C0F-D8E6-EFA89438DEDA}"/>
                  </a:ext>
                </a:extLst>
              </p:cNvPr>
              <p:cNvSpPr/>
              <p:nvPr/>
            </p:nvSpPr>
            <p:spPr>
              <a:xfrm>
                <a:off x="5059038" y="2459108"/>
                <a:ext cx="1061085" cy="675227"/>
              </a:xfrm>
              <a:custGeom>
                <a:avLst/>
                <a:gdLst>
                  <a:gd name="connsiteX0" fmla="*/ 0 w 1061085"/>
                  <a:gd name="connsiteY0" fmla="*/ 104966 h 675227"/>
                  <a:gd name="connsiteX1" fmla="*/ 1334 w 1061085"/>
                  <a:gd name="connsiteY1" fmla="*/ 114491 h 675227"/>
                  <a:gd name="connsiteX2" fmla="*/ 749999 w 1061085"/>
                  <a:gd name="connsiteY2" fmla="*/ 466344 h 675227"/>
                  <a:gd name="connsiteX3" fmla="*/ 345948 w 1061085"/>
                  <a:gd name="connsiteY3" fmla="*/ 665131 h 675227"/>
                  <a:gd name="connsiteX4" fmla="*/ 361855 w 1061085"/>
                  <a:gd name="connsiteY4" fmla="*/ 675227 h 675227"/>
                  <a:gd name="connsiteX5" fmla="*/ 768668 w 1061085"/>
                  <a:gd name="connsiteY5" fmla="*/ 475012 h 675227"/>
                  <a:gd name="connsiteX6" fmla="*/ 1061085 w 1061085"/>
                  <a:gd name="connsiteY6" fmla="*/ 612457 h 675227"/>
                  <a:gd name="connsiteX7" fmla="*/ 1050798 w 1061085"/>
                  <a:gd name="connsiteY7" fmla="*/ 589788 h 675227"/>
                  <a:gd name="connsiteX8" fmla="*/ 481489 w 1061085"/>
                  <a:gd name="connsiteY8" fmla="*/ 322231 h 675227"/>
                  <a:gd name="connsiteX9" fmla="*/ 363665 w 1061085"/>
                  <a:gd name="connsiteY9" fmla="*/ 762 h 675227"/>
                  <a:gd name="connsiteX10" fmla="*/ 346234 w 1061085"/>
                  <a:gd name="connsiteY10" fmla="*/ 0 h 675227"/>
                  <a:gd name="connsiteX11" fmla="*/ 460724 w 1061085"/>
                  <a:gd name="connsiteY11" fmla="*/ 312420 h 675227"/>
                  <a:gd name="connsiteX12" fmla="*/ 7144 w 1061085"/>
                  <a:gd name="connsiteY12" fmla="*/ 99346 h 675227"/>
                  <a:gd name="connsiteX13" fmla="*/ 0 w 1061085"/>
                  <a:gd name="connsiteY13" fmla="*/ 104966 h 675227"/>
                  <a:gd name="connsiteX14" fmla="*/ 0 w 1061085"/>
                  <a:gd name="connsiteY14" fmla="*/ 104966 h 675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61085" h="675227">
                    <a:moveTo>
                      <a:pt x="0" y="104966"/>
                    </a:moveTo>
                    <a:cubicBezTo>
                      <a:pt x="381" y="108204"/>
                      <a:pt x="857" y="111347"/>
                      <a:pt x="1334" y="114491"/>
                    </a:cubicBezTo>
                    <a:lnTo>
                      <a:pt x="749999" y="466344"/>
                    </a:lnTo>
                    <a:lnTo>
                      <a:pt x="345948" y="665131"/>
                    </a:lnTo>
                    <a:cubicBezTo>
                      <a:pt x="351187" y="668560"/>
                      <a:pt x="356521" y="671989"/>
                      <a:pt x="361855" y="675227"/>
                    </a:cubicBezTo>
                    <a:lnTo>
                      <a:pt x="768668" y="475012"/>
                    </a:lnTo>
                    <a:lnTo>
                      <a:pt x="1061085" y="612457"/>
                    </a:lnTo>
                    <a:lnTo>
                      <a:pt x="1050798" y="589788"/>
                    </a:lnTo>
                    <a:lnTo>
                      <a:pt x="481489" y="322231"/>
                    </a:lnTo>
                    <a:lnTo>
                      <a:pt x="363665" y="762"/>
                    </a:lnTo>
                    <a:cubicBezTo>
                      <a:pt x="357854" y="476"/>
                      <a:pt x="352044" y="191"/>
                      <a:pt x="346234" y="0"/>
                    </a:cubicBezTo>
                    <a:lnTo>
                      <a:pt x="460724" y="312420"/>
                    </a:lnTo>
                    <a:lnTo>
                      <a:pt x="7144" y="99346"/>
                    </a:lnTo>
                    <a:cubicBezTo>
                      <a:pt x="4763" y="101251"/>
                      <a:pt x="2381" y="103060"/>
                      <a:pt x="0" y="104966"/>
                    </a:cubicBezTo>
                    <a:lnTo>
                      <a:pt x="0" y="104966"/>
                    </a:lnTo>
                    <a:close/>
                  </a:path>
                </a:pathLst>
              </a:custGeom>
              <a:solidFill>
                <a:srgbClr val="E6E6E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áfico 10">
              <a:extLst>
                <a:ext uri="{FF2B5EF4-FFF2-40B4-BE49-F238E27FC236}">
                  <a16:creationId xmlns:a16="http://schemas.microsoft.com/office/drawing/2014/main" id="{BB19ED74-593D-6B29-9875-59DBBF2D6884}"/>
                </a:ext>
              </a:extLst>
            </p:cNvPr>
            <p:cNvGrpSpPr/>
            <p:nvPr/>
          </p:nvGrpSpPr>
          <p:grpSpPr>
            <a:xfrm>
              <a:off x="9600039" y="2101116"/>
              <a:ext cx="579821" cy="917003"/>
              <a:chOff x="8030552" y="1515561"/>
              <a:chExt cx="771744" cy="1220533"/>
            </a:xfrm>
          </p:grpSpPr>
          <p:sp>
            <p:nvSpPr>
              <p:cNvPr id="156" name="Forma Livre: Forma 155">
                <a:extLst>
                  <a:ext uri="{FF2B5EF4-FFF2-40B4-BE49-F238E27FC236}">
                    <a16:creationId xmlns:a16="http://schemas.microsoft.com/office/drawing/2014/main" id="{4CDB00F2-E853-1558-1BD5-8CACCB4D2A39}"/>
                  </a:ext>
                </a:extLst>
              </p:cNvPr>
              <p:cNvSpPr/>
              <p:nvPr/>
            </p:nvSpPr>
            <p:spPr>
              <a:xfrm>
                <a:off x="8030552" y="1515561"/>
                <a:ext cx="771744" cy="1220533"/>
              </a:xfrm>
              <a:custGeom>
                <a:avLst/>
                <a:gdLst>
                  <a:gd name="connsiteX0" fmla="*/ 0 w 771744"/>
                  <a:gd name="connsiteY0" fmla="*/ 886206 h 1220533"/>
                  <a:gd name="connsiteX1" fmla="*/ 543878 w 771744"/>
                  <a:gd name="connsiteY1" fmla="*/ 0 h 1220533"/>
                  <a:gd name="connsiteX2" fmla="*/ 448532 w 771744"/>
                  <a:gd name="connsiteY2" fmla="*/ 1220534 h 1220533"/>
                  <a:gd name="connsiteX3" fmla="*/ 0 w 771744"/>
                  <a:gd name="connsiteY3" fmla="*/ 886206 h 1220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1744" h="1220533">
                    <a:moveTo>
                      <a:pt x="0" y="886206"/>
                    </a:moveTo>
                    <a:cubicBezTo>
                      <a:pt x="0" y="886206"/>
                      <a:pt x="63627" y="165640"/>
                      <a:pt x="543878" y="0"/>
                    </a:cubicBezTo>
                    <a:cubicBezTo>
                      <a:pt x="1107281" y="668274"/>
                      <a:pt x="448532" y="1220534"/>
                      <a:pt x="448532" y="1220534"/>
                    </a:cubicBezTo>
                    <a:lnTo>
                      <a:pt x="0" y="886206"/>
                    </a:lnTo>
                    <a:close/>
                  </a:path>
                </a:pathLst>
              </a:custGeom>
              <a:solidFill>
                <a:srgbClr val="0070C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7" name="Forma Livre: Forma 156">
                <a:extLst>
                  <a:ext uri="{FF2B5EF4-FFF2-40B4-BE49-F238E27FC236}">
                    <a16:creationId xmlns:a16="http://schemas.microsoft.com/office/drawing/2014/main" id="{7E7C1A60-5257-EBBE-40C6-E6691ADBE6EB}"/>
                  </a:ext>
                </a:extLst>
              </p:cNvPr>
              <p:cNvSpPr/>
              <p:nvPr/>
            </p:nvSpPr>
            <p:spPr>
              <a:xfrm>
                <a:off x="8201716" y="1515561"/>
                <a:ext cx="600170" cy="1030319"/>
              </a:xfrm>
              <a:custGeom>
                <a:avLst/>
                <a:gdLst>
                  <a:gd name="connsiteX0" fmla="*/ 372713 w 600170"/>
                  <a:gd name="connsiteY0" fmla="*/ 0 h 1030319"/>
                  <a:gd name="connsiteX1" fmla="*/ 378523 w 600170"/>
                  <a:gd name="connsiteY1" fmla="*/ 6953 h 1030319"/>
                  <a:gd name="connsiteX2" fmla="*/ 133255 w 600170"/>
                  <a:gd name="connsiteY2" fmla="*/ 786193 h 1030319"/>
                  <a:gd name="connsiteX3" fmla="*/ 600170 w 600170"/>
                  <a:gd name="connsiteY3" fmla="*/ 582168 h 1030319"/>
                  <a:gd name="connsiteX4" fmla="*/ 599408 w 600170"/>
                  <a:gd name="connsiteY4" fmla="*/ 599122 h 1030319"/>
                  <a:gd name="connsiteX5" fmla="*/ 127254 w 600170"/>
                  <a:gd name="connsiteY5" fmla="*/ 805434 h 1030319"/>
                  <a:gd name="connsiteX6" fmla="*/ 56483 w 600170"/>
                  <a:gd name="connsiteY6" fmla="*/ 1030319 h 1030319"/>
                  <a:gd name="connsiteX7" fmla="*/ 43910 w 600170"/>
                  <a:gd name="connsiteY7" fmla="*/ 1019556 h 1030319"/>
                  <a:gd name="connsiteX8" fmla="*/ 184975 w 600170"/>
                  <a:gd name="connsiteY8" fmla="*/ 571309 h 1030319"/>
                  <a:gd name="connsiteX9" fmla="*/ 184975 w 600170"/>
                  <a:gd name="connsiteY9" fmla="*/ 571309 h 1030319"/>
                  <a:gd name="connsiteX10" fmla="*/ 0 w 600170"/>
                  <a:gd name="connsiteY10" fmla="*/ 341090 h 1030319"/>
                  <a:gd name="connsiteX11" fmla="*/ 7811 w 600170"/>
                  <a:gd name="connsiteY11" fmla="*/ 326517 h 1030319"/>
                  <a:gd name="connsiteX12" fmla="*/ 190500 w 600170"/>
                  <a:gd name="connsiteY12" fmla="*/ 553784 h 1030319"/>
                  <a:gd name="connsiteX13" fmla="*/ 363760 w 600170"/>
                  <a:gd name="connsiteY13" fmla="*/ 3238 h 1030319"/>
                  <a:gd name="connsiteX14" fmla="*/ 372713 w 600170"/>
                  <a:gd name="connsiteY14" fmla="*/ 0 h 1030319"/>
                  <a:gd name="connsiteX15" fmla="*/ 372713 w 600170"/>
                  <a:gd name="connsiteY15" fmla="*/ 0 h 1030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600170" h="1030319">
                    <a:moveTo>
                      <a:pt x="372713" y="0"/>
                    </a:moveTo>
                    <a:cubicBezTo>
                      <a:pt x="374713" y="2286"/>
                      <a:pt x="376523" y="4667"/>
                      <a:pt x="378523" y="6953"/>
                    </a:cubicBezTo>
                    <a:lnTo>
                      <a:pt x="133255" y="786193"/>
                    </a:lnTo>
                    <a:lnTo>
                      <a:pt x="600170" y="582168"/>
                    </a:lnTo>
                    <a:cubicBezTo>
                      <a:pt x="599980" y="587883"/>
                      <a:pt x="599694" y="593503"/>
                      <a:pt x="599408" y="599122"/>
                    </a:cubicBezTo>
                    <a:lnTo>
                      <a:pt x="127254" y="805434"/>
                    </a:lnTo>
                    <a:lnTo>
                      <a:pt x="56483" y="1030319"/>
                    </a:lnTo>
                    <a:lnTo>
                      <a:pt x="43910" y="1019556"/>
                    </a:lnTo>
                    <a:lnTo>
                      <a:pt x="184975" y="571309"/>
                    </a:lnTo>
                    <a:lnTo>
                      <a:pt x="184975" y="571309"/>
                    </a:lnTo>
                    <a:lnTo>
                      <a:pt x="0" y="341090"/>
                    </a:lnTo>
                    <a:cubicBezTo>
                      <a:pt x="2572" y="336233"/>
                      <a:pt x="5144" y="331375"/>
                      <a:pt x="7811" y="326517"/>
                    </a:cubicBezTo>
                    <a:lnTo>
                      <a:pt x="190500" y="553784"/>
                    </a:lnTo>
                    <a:lnTo>
                      <a:pt x="363760" y="3238"/>
                    </a:lnTo>
                    <a:cubicBezTo>
                      <a:pt x="366713" y="2286"/>
                      <a:pt x="369665" y="1048"/>
                      <a:pt x="372713" y="0"/>
                    </a:cubicBezTo>
                    <a:lnTo>
                      <a:pt x="372713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áfico 10">
              <a:extLst>
                <a:ext uri="{FF2B5EF4-FFF2-40B4-BE49-F238E27FC236}">
                  <a16:creationId xmlns:a16="http://schemas.microsoft.com/office/drawing/2014/main" id="{E693F117-A624-8BA9-F794-7F7E5C8A8F2B}"/>
                </a:ext>
              </a:extLst>
            </p:cNvPr>
            <p:cNvGrpSpPr/>
            <p:nvPr/>
          </p:nvGrpSpPr>
          <p:grpSpPr>
            <a:xfrm>
              <a:off x="9683838" y="2417661"/>
              <a:ext cx="866812" cy="613697"/>
              <a:chOff x="8142089" y="1936884"/>
              <a:chExt cx="1153729" cy="816832"/>
            </a:xfrm>
          </p:grpSpPr>
          <p:sp>
            <p:nvSpPr>
              <p:cNvPr id="154" name="Forma Livre: Forma 153">
                <a:extLst>
                  <a:ext uri="{FF2B5EF4-FFF2-40B4-BE49-F238E27FC236}">
                    <a16:creationId xmlns:a16="http://schemas.microsoft.com/office/drawing/2014/main" id="{5CD61AC8-DAAD-F1D0-1DF1-BCF86FB785A2}"/>
                  </a:ext>
                </a:extLst>
              </p:cNvPr>
              <p:cNvSpPr/>
              <p:nvPr/>
            </p:nvSpPr>
            <p:spPr>
              <a:xfrm>
                <a:off x="8142185" y="1936884"/>
                <a:ext cx="1153633" cy="816832"/>
              </a:xfrm>
              <a:custGeom>
                <a:avLst/>
                <a:gdLst>
                  <a:gd name="connsiteX0" fmla="*/ 351187 w 1153633"/>
                  <a:gd name="connsiteY0" fmla="*/ 188563 h 816832"/>
                  <a:gd name="connsiteX1" fmla="*/ 1145381 w 1153633"/>
                  <a:gd name="connsiteY1" fmla="*/ 43117 h 816832"/>
                  <a:gd name="connsiteX2" fmla="*/ 601980 w 1153633"/>
                  <a:gd name="connsiteY2" fmla="*/ 816832 h 816832"/>
                  <a:gd name="connsiteX3" fmla="*/ 0 w 1153633"/>
                  <a:gd name="connsiteY3" fmla="*/ 760063 h 816832"/>
                  <a:gd name="connsiteX4" fmla="*/ 351187 w 1153633"/>
                  <a:gd name="connsiteY4" fmla="*/ 188563 h 816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53633" h="816832">
                    <a:moveTo>
                      <a:pt x="351187" y="188563"/>
                    </a:moveTo>
                    <a:cubicBezTo>
                      <a:pt x="538258" y="64738"/>
                      <a:pt x="842105" y="-71374"/>
                      <a:pt x="1145381" y="43117"/>
                    </a:cubicBezTo>
                    <a:cubicBezTo>
                      <a:pt x="1232440" y="621665"/>
                      <a:pt x="601980" y="816832"/>
                      <a:pt x="601980" y="816832"/>
                    </a:cubicBezTo>
                    <a:lnTo>
                      <a:pt x="0" y="760063"/>
                    </a:lnTo>
                    <a:cubicBezTo>
                      <a:pt x="0" y="760159"/>
                      <a:pt x="37052" y="396589"/>
                      <a:pt x="351187" y="188563"/>
                    </a:cubicBezTo>
                    <a:close/>
                  </a:path>
                </a:pathLst>
              </a:custGeom>
              <a:solidFill>
                <a:srgbClr val="EE730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5" name="Forma Livre: Forma 154">
                <a:extLst>
                  <a:ext uri="{FF2B5EF4-FFF2-40B4-BE49-F238E27FC236}">
                    <a16:creationId xmlns:a16="http://schemas.microsoft.com/office/drawing/2014/main" id="{F73ECA68-C3D3-B64F-87D0-808FD3FA4CBE}"/>
                  </a:ext>
                </a:extLst>
              </p:cNvPr>
              <p:cNvSpPr/>
              <p:nvPr/>
            </p:nvSpPr>
            <p:spPr>
              <a:xfrm>
                <a:off x="8142089" y="1976190"/>
                <a:ext cx="1146333" cy="721995"/>
              </a:xfrm>
              <a:custGeom>
                <a:avLst/>
                <a:gdLst>
                  <a:gd name="connsiteX0" fmla="*/ 606362 w 1146333"/>
                  <a:gd name="connsiteY0" fmla="*/ 28099 h 721995"/>
                  <a:gd name="connsiteX1" fmla="*/ 600075 w 1146333"/>
                  <a:gd name="connsiteY1" fmla="*/ 334613 h 721995"/>
                  <a:gd name="connsiteX2" fmla="*/ 1134618 w 1146333"/>
                  <a:gd name="connsiteY2" fmla="*/ 0 h 721995"/>
                  <a:gd name="connsiteX3" fmla="*/ 1145477 w 1146333"/>
                  <a:gd name="connsiteY3" fmla="*/ 3810 h 721995"/>
                  <a:gd name="connsiteX4" fmla="*/ 1146334 w 1146333"/>
                  <a:gd name="connsiteY4" fmla="*/ 10573 h 721995"/>
                  <a:gd name="connsiteX5" fmla="*/ 860012 w 1146333"/>
                  <a:gd name="connsiteY5" fmla="*/ 189833 h 721995"/>
                  <a:gd name="connsiteX6" fmla="*/ 1132999 w 1146333"/>
                  <a:gd name="connsiteY6" fmla="*/ 271177 h 721995"/>
                  <a:gd name="connsiteX7" fmla="*/ 1130808 w 1146333"/>
                  <a:gd name="connsiteY7" fmla="*/ 278987 h 721995"/>
                  <a:gd name="connsiteX8" fmla="*/ 1128808 w 1146333"/>
                  <a:gd name="connsiteY8" fmla="*/ 285845 h 721995"/>
                  <a:gd name="connsiteX9" fmla="*/ 842867 w 1146333"/>
                  <a:gd name="connsiteY9" fmla="*/ 200692 h 721995"/>
                  <a:gd name="connsiteX10" fmla="*/ 365760 w 1146333"/>
                  <a:gd name="connsiteY10" fmla="*/ 499396 h 721995"/>
                  <a:gd name="connsiteX11" fmla="*/ 840296 w 1146333"/>
                  <a:gd name="connsiteY11" fmla="*/ 657415 h 721995"/>
                  <a:gd name="connsiteX12" fmla="*/ 824294 w 1146333"/>
                  <a:gd name="connsiteY12" fmla="*/ 668179 h 721995"/>
                  <a:gd name="connsiteX13" fmla="*/ 348996 w 1146333"/>
                  <a:gd name="connsiteY13" fmla="*/ 509873 h 721995"/>
                  <a:gd name="connsiteX14" fmla="*/ 10192 w 1146333"/>
                  <a:gd name="connsiteY14" fmla="*/ 721995 h 721995"/>
                  <a:gd name="connsiteX15" fmla="*/ 0 w 1146333"/>
                  <a:gd name="connsiteY15" fmla="*/ 721043 h 721995"/>
                  <a:gd name="connsiteX16" fmla="*/ 5429 w 1146333"/>
                  <a:gd name="connsiteY16" fmla="*/ 707041 h 721995"/>
                  <a:gd name="connsiteX17" fmla="*/ 584645 w 1146333"/>
                  <a:gd name="connsiteY17" fmla="*/ 344519 h 721995"/>
                  <a:gd name="connsiteX18" fmla="*/ 591026 w 1146333"/>
                  <a:gd name="connsiteY18" fmla="*/ 34195 h 721995"/>
                  <a:gd name="connsiteX19" fmla="*/ 606362 w 1146333"/>
                  <a:gd name="connsiteY19" fmla="*/ 28099 h 7219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146333" h="721995">
                    <a:moveTo>
                      <a:pt x="606362" y="28099"/>
                    </a:moveTo>
                    <a:lnTo>
                      <a:pt x="600075" y="334613"/>
                    </a:lnTo>
                    <a:lnTo>
                      <a:pt x="1134618" y="0"/>
                    </a:lnTo>
                    <a:cubicBezTo>
                      <a:pt x="1138238" y="1238"/>
                      <a:pt x="1141857" y="2476"/>
                      <a:pt x="1145477" y="3810"/>
                    </a:cubicBezTo>
                    <a:cubicBezTo>
                      <a:pt x="1145858" y="6096"/>
                      <a:pt x="1146048" y="8287"/>
                      <a:pt x="1146334" y="10573"/>
                    </a:cubicBezTo>
                    <a:lnTo>
                      <a:pt x="860012" y="189833"/>
                    </a:lnTo>
                    <a:lnTo>
                      <a:pt x="1132999" y="271177"/>
                    </a:lnTo>
                    <a:cubicBezTo>
                      <a:pt x="1132332" y="273748"/>
                      <a:pt x="1131475" y="276320"/>
                      <a:pt x="1130808" y="278987"/>
                    </a:cubicBezTo>
                    <a:lnTo>
                      <a:pt x="1128808" y="285845"/>
                    </a:lnTo>
                    <a:lnTo>
                      <a:pt x="842867" y="200692"/>
                    </a:lnTo>
                    <a:lnTo>
                      <a:pt x="365760" y="499396"/>
                    </a:lnTo>
                    <a:lnTo>
                      <a:pt x="840296" y="657415"/>
                    </a:lnTo>
                    <a:cubicBezTo>
                      <a:pt x="834962" y="661035"/>
                      <a:pt x="829628" y="664655"/>
                      <a:pt x="824294" y="668179"/>
                    </a:cubicBezTo>
                    <a:lnTo>
                      <a:pt x="348996" y="509873"/>
                    </a:lnTo>
                    <a:lnTo>
                      <a:pt x="10192" y="721995"/>
                    </a:lnTo>
                    <a:lnTo>
                      <a:pt x="0" y="721043"/>
                    </a:lnTo>
                    <a:lnTo>
                      <a:pt x="5429" y="707041"/>
                    </a:lnTo>
                    <a:lnTo>
                      <a:pt x="584645" y="344519"/>
                    </a:lnTo>
                    <a:lnTo>
                      <a:pt x="591026" y="34195"/>
                    </a:lnTo>
                    <a:cubicBezTo>
                      <a:pt x="596075" y="31909"/>
                      <a:pt x="601218" y="30004"/>
                      <a:pt x="606362" y="28099"/>
                    </a:cubicBezTo>
                    <a:close/>
                  </a:path>
                </a:pathLst>
              </a:custGeom>
              <a:solidFill>
                <a:srgbClr val="E6E6E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áfico 10">
              <a:extLst>
                <a:ext uri="{FF2B5EF4-FFF2-40B4-BE49-F238E27FC236}">
                  <a16:creationId xmlns:a16="http://schemas.microsoft.com/office/drawing/2014/main" id="{6EF136FF-7B60-6393-6E5B-467D54DA9B5D}"/>
                </a:ext>
              </a:extLst>
            </p:cNvPr>
            <p:cNvGrpSpPr/>
            <p:nvPr/>
          </p:nvGrpSpPr>
          <p:grpSpPr>
            <a:xfrm>
              <a:off x="9662370" y="2933257"/>
              <a:ext cx="778100" cy="493202"/>
              <a:chOff x="8113514" y="2623143"/>
              <a:chExt cx="1035653" cy="656453"/>
            </a:xfrm>
          </p:grpSpPr>
          <p:sp>
            <p:nvSpPr>
              <p:cNvPr id="152" name="Forma Livre: Forma 151">
                <a:extLst>
                  <a:ext uri="{FF2B5EF4-FFF2-40B4-BE49-F238E27FC236}">
                    <a16:creationId xmlns:a16="http://schemas.microsoft.com/office/drawing/2014/main" id="{6A822B75-289C-1FF4-1B75-3AF82C914270}"/>
                  </a:ext>
                </a:extLst>
              </p:cNvPr>
              <p:cNvSpPr/>
              <p:nvPr/>
            </p:nvSpPr>
            <p:spPr>
              <a:xfrm>
                <a:off x="8113514" y="2623143"/>
                <a:ext cx="1035653" cy="656453"/>
              </a:xfrm>
              <a:custGeom>
                <a:avLst/>
                <a:gdLst>
                  <a:gd name="connsiteX0" fmla="*/ 275272 w 1035653"/>
                  <a:gd name="connsiteY0" fmla="*/ 8177 h 656453"/>
                  <a:gd name="connsiteX1" fmla="*/ 1035653 w 1035653"/>
                  <a:gd name="connsiteY1" fmla="*/ 266876 h 656453"/>
                  <a:gd name="connsiteX2" fmla="*/ 176784 w 1035653"/>
                  <a:gd name="connsiteY2" fmla="*/ 644256 h 656453"/>
                  <a:gd name="connsiteX3" fmla="*/ 106775 w 1035653"/>
                  <a:gd name="connsiteY3" fmla="*/ 481855 h 656453"/>
                  <a:gd name="connsiteX4" fmla="*/ 10763 w 1035653"/>
                  <a:gd name="connsiteY4" fmla="*/ 289450 h 656453"/>
                  <a:gd name="connsiteX5" fmla="*/ 0 w 1035653"/>
                  <a:gd name="connsiteY5" fmla="*/ 272686 h 656453"/>
                  <a:gd name="connsiteX6" fmla="*/ 275272 w 1035653"/>
                  <a:gd name="connsiteY6" fmla="*/ 8177 h 656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35653" h="656453">
                    <a:moveTo>
                      <a:pt x="275272" y="8177"/>
                    </a:moveTo>
                    <a:cubicBezTo>
                      <a:pt x="275272" y="8177"/>
                      <a:pt x="846868" y="-71547"/>
                      <a:pt x="1035653" y="266876"/>
                    </a:cubicBezTo>
                    <a:cubicBezTo>
                      <a:pt x="827056" y="642256"/>
                      <a:pt x="464725" y="684262"/>
                      <a:pt x="176784" y="644256"/>
                    </a:cubicBezTo>
                    <a:cubicBezTo>
                      <a:pt x="185166" y="583963"/>
                      <a:pt x="154972" y="521003"/>
                      <a:pt x="106775" y="481855"/>
                    </a:cubicBezTo>
                    <a:cubicBezTo>
                      <a:pt x="81534" y="414513"/>
                      <a:pt x="44958" y="350315"/>
                      <a:pt x="10763" y="289450"/>
                    </a:cubicBezTo>
                    <a:cubicBezTo>
                      <a:pt x="7429" y="283545"/>
                      <a:pt x="3810" y="278020"/>
                      <a:pt x="0" y="272686"/>
                    </a:cubicBezTo>
                    <a:lnTo>
                      <a:pt x="275272" y="8177"/>
                    </a:lnTo>
                    <a:close/>
                  </a:path>
                </a:pathLst>
              </a:custGeom>
              <a:solidFill>
                <a:srgbClr val="11458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3" name="Forma Livre: Forma 152">
                <a:extLst>
                  <a:ext uri="{FF2B5EF4-FFF2-40B4-BE49-F238E27FC236}">
                    <a16:creationId xmlns:a16="http://schemas.microsoft.com/office/drawing/2014/main" id="{6D479D15-44D3-9357-2885-0D4429CF7B9C}"/>
                  </a:ext>
                </a:extLst>
              </p:cNvPr>
              <p:cNvSpPr/>
              <p:nvPr/>
            </p:nvSpPr>
            <p:spPr>
              <a:xfrm>
                <a:off x="8142089" y="2671801"/>
                <a:ext cx="1006983" cy="592836"/>
              </a:xfrm>
              <a:custGeom>
                <a:avLst/>
                <a:gdLst>
                  <a:gd name="connsiteX0" fmla="*/ 8192 w 1006983"/>
                  <a:gd name="connsiteY0" fmla="*/ 287369 h 592836"/>
                  <a:gd name="connsiteX1" fmla="*/ 0 w 1006983"/>
                  <a:gd name="connsiteY1" fmla="*/ 272606 h 592836"/>
                  <a:gd name="connsiteX2" fmla="*/ 508540 w 1006983"/>
                  <a:gd name="connsiteY2" fmla="*/ 241268 h 592836"/>
                  <a:gd name="connsiteX3" fmla="*/ 723995 w 1006983"/>
                  <a:gd name="connsiteY3" fmla="*/ 0 h 592836"/>
                  <a:gd name="connsiteX4" fmla="*/ 739521 w 1006983"/>
                  <a:gd name="connsiteY4" fmla="*/ 5429 h 592836"/>
                  <a:gd name="connsiteX5" fmla="*/ 530066 w 1006983"/>
                  <a:gd name="connsiteY5" fmla="*/ 239935 h 592836"/>
                  <a:gd name="connsiteX6" fmla="*/ 1002697 w 1006983"/>
                  <a:gd name="connsiteY6" fmla="*/ 210788 h 592836"/>
                  <a:gd name="connsiteX7" fmla="*/ 1006983 w 1006983"/>
                  <a:gd name="connsiteY7" fmla="*/ 218123 h 592836"/>
                  <a:gd name="connsiteX8" fmla="*/ 1006983 w 1006983"/>
                  <a:gd name="connsiteY8" fmla="*/ 218123 h 592836"/>
                  <a:gd name="connsiteX9" fmla="*/ 1002506 w 1006983"/>
                  <a:gd name="connsiteY9" fmla="*/ 226028 h 592836"/>
                  <a:gd name="connsiteX10" fmla="*/ 222409 w 1006983"/>
                  <a:gd name="connsiteY10" fmla="*/ 274129 h 592836"/>
                  <a:gd name="connsiteX11" fmla="*/ 507873 w 1006983"/>
                  <a:gd name="connsiteY11" fmla="*/ 589502 h 592836"/>
                  <a:gd name="connsiteX12" fmla="*/ 490347 w 1006983"/>
                  <a:gd name="connsiteY12" fmla="*/ 592836 h 592836"/>
                  <a:gd name="connsiteX13" fmla="*/ 203073 w 1006983"/>
                  <a:gd name="connsiteY13" fmla="*/ 275368 h 592836"/>
                  <a:gd name="connsiteX14" fmla="*/ 8192 w 1006983"/>
                  <a:gd name="connsiteY14" fmla="*/ 287369 h 5928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06983" h="592836">
                    <a:moveTo>
                      <a:pt x="8192" y="287369"/>
                    </a:moveTo>
                    <a:cubicBezTo>
                      <a:pt x="5429" y="282416"/>
                      <a:pt x="2762" y="277463"/>
                      <a:pt x="0" y="272606"/>
                    </a:cubicBezTo>
                    <a:lnTo>
                      <a:pt x="508540" y="241268"/>
                    </a:lnTo>
                    <a:lnTo>
                      <a:pt x="723995" y="0"/>
                    </a:lnTo>
                    <a:cubicBezTo>
                      <a:pt x="729234" y="1714"/>
                      <a:pt x="734378" y="3524"/>
                      <a:pt x="739521" y="5429"/>
                    </a:cubicBezTo>
                    <a:lnTo>
                      <a:pt x="530066" y="239935"/>
                    </a:lnTo>
                    <a:lnTo>
                      <a:pt x="1002697" y="210788"/>
                    </a:lnTo>
                    <a:cubicBezTo>
                      <a:pt x="1004126" y="213265"/>
                      <a:pt x="1005650" y="215646"/>
                      <a:pt x="1006983" y="218123"/>
                    </a:cubicBezTo>
                    <a:lnTo>
                      <a:pt x="1006983" y="218123"/>
                    </a:lnTo>
                    <a:cubicBezTo>
                      <a:pt x="1005459" y="220790"/>
                      <a:pt x="1004030" y="223361"/>
                      <a:pt x="1002506" y="226028"/>
                    </a:cubicBezTo>
                    <a:lnTo>
                      <a:pt x="222409" y="274129"/>
                    </a:lnTo>
                    <a:lnTo>
                      <a:pt x="507873" y="589502"/>
                    </a:lnTo>
                    <a:cubicBezTo>
                      <a:pt x="502063" y="590645"/>
                      <a:pt x="496253" y="591788"/>
                      <a:pt x="490347" y="592836"/>
                    </a:cubicBezTo>
                    <a:lnTo>
                      <a:pt x="203073" y="275368"/>
                    </a:lnTo>
                    <a:lnTo>
                      <a:pt x="8192" y="287369"/>
                    </a:lnTo>
                    <a:close/>
                  </a:path>
                </a:pathLst>
              </a:custGeom>
              <a:solidFill>
                <a:srgbClr val="E6E6E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2" name="Forma Livre: Forma 21">
              <a:extLst>
                <a:ext uri="{FF2B5EF4-FFF2-40B4-BE49-F238E27FC236}">
                  <a16:creationId xmlns:a16="http://schemas.microsoft.com/office/drawing/2014/main" id="{49E6C593-30C7-706C-76E1-DE4E7F65BA0F}"/>
                </a:ext>
              </a:extLst>
            </p:cNvPr>
            <p:cNvSpPr/>
            <p:nvPr/>
          </p:nvSpPr>
          <p:spPr>
            <a:xfrm>
              <a:off x="8775469" y="2668321"/>
              <a:ext cx="1108529" cy="886947"/>
            </a:xfrm>
            <a:custGeom>
              <a:avLst/>
              <a:gdLst>
                <a:gd name="connsiteX0" fmla="*/ 995397 w 1475456"/>
                <a:gd name="connsiteY0" fmla="*/ 95 h 1180528"/>
                <a:gd name="connsiteX1" fmla="*/ 1065501 w 1475456"/>
                <a:gd name="connsiteY1" fmla="*/ 160211 h 1180528"/>
                <a:gd name="connsiteX2" fmla="*/ 909005 w 1475456"/>
                <a:gd name="connsiteY2" fmla="*/ 318421 h 1180528"/>
                <a:gd name="connsiteX3" fmla="*/ 711171 w 1475456"/>
                <a:gd name="connsiteY3" fmla="*/ 141923 h 1180528"/>
                <a:gd name="connsiteX4" fmla="*/ 782227 w 1475456"/>
                <a:gd name="connsiteY4" fmla="*/ 95 h 1180528"/>
                <a:gd name="connsiteX5" fmla="*/ 399799 w 1475456"/>
                <a:gd name="connsiteY5" fmla="*/ 95 h 1180528"/>
                <a:gd name="connsiteX6" fmla="*/ 294929 w 1475456"/>
                <a:gd name="connsiteY6" fmla="*/ 104966 h 1180528"/>
                <a:gd name="connsiteX7" fmla="*/ 294929 w 1475456"/>
                <a:gd name="connsiteY7" fmla="*/ 462629 h 1180528"/>
                <a:gd name="connsiteX8" fmla="*/ 154625 w 1475456"/>
                <a:gd name="connsiteY8" fmla="*/ 420815 h 1180528"/>
                <a:gd name="connsiteX9" fmla="*/ 1177 w 1475456"/>
                <a:gd name="connsiteY9" fmla="*/ 577025 h 1180528"/>
                <a:gd name="connsiteX10" fmla="*/ 178533 w 1475456"/>
                <a:gd name="connsiteY10" fmla="*/ 776288 h 1180528"/>
                <a:gd name="connsiteX11" fmla="*/ 295024 w 1475456"/>
                <a:gd name="connsiteY11" fmla="*/ 732853 h 1180528"/>
                <a:gd name="connsiteX12" fmla="*/ 295024 w 1475456"/>
                <a:gd name="connsiteY12" fmla="*/ 1075658 h 1180528"/>
                <a:gd name="connsiteX13" fmla="*/ 399894 w 1475456"/>
                <a:gd name="connsiteY13" fmla="*/ 1180528 h 1180528"/>
                <a:gd name="connsiteX14" fmla="*/ 1370587 w 1475456"/>
                <a:gd name="connsiteY14" fmla="*/ 1180528 h 1180528"/>
                <a:gd name="connsiteX15" fmla="*/ 1475457 w 1475456"/>
                <a:gd name="connsiteY15" fmla="*/ 1075658 h 1180528"/>
                <a:gd name="connsiteX16" fmla="*/ 1475457 w 1475456"/>
                <a:gd name="connsiteY16" fmla="*/ 104870 h 1180528"/>
                <a:gd name="connsiteX17" fmla="*/ 1370587 w 1475456"/>
                <a:gd name="connsiteY17" fmla="*/ 0 h 1180528"/>
                <a:gd name="connsiteX18" fmla="*/ 995397 w 1475456"/>
                <a:gd name="connsiteY18" fmla="*/ 0 h 1180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475456" h="1180528">
                  <a:moveTo>
                    <a:pt x="995397" y="95"/>
                  </a:moveTo>
                  <a:cubicBezTo>
                    <a:pt x="1042927" y="35909"/>
                    <a:pt x="1072073" y="94774"/>
                    <a:pt x="1065501" y="160211"/>
                  </a:cubicBezTo>
                  <a:cubicBezTo>
                    <a:pt x="1057214" y="242411"/>
                    <a:pt x="991206" y="309372"/>
                    <a:pt x="909005" y="318421"/>
                  </a:cubicBezTo>
                  <a:cubicBezTo>
                    <a:pt x="801849" y="330232"/>
                    <a:pt x="711171" y="246698"/>
                    <a:pt x="711171" y="141923"/>
                  </a:cubicBezTo>
                  <a:cubicBezTo>
                    <a:pt x="711171" y="83820"/>
                    <a:pt x="739175" y="32480"/>
                    <a:pt x="782227" y="95"/>
                  </a:cubicBezTo>
                  <a:lnTo>
                    <a:pt x="399799" y="95"/>
                  </a:lnTo>
                  <a:cubicBezTo>
                    <a:pt x="341887" y="95"/>
                    <a:pt x="294929" y="47054"/>
                    <a:pt x="294929" y="104966"/>
                  </a:cubicBezTo>
                  <a:lnTo>
                    <a:pt x="294929" y="462629"/>
                  </a:lnTo>
                  <a:cubicBezTo>
                    <a:pt x="258162" y="430911"/>
                    <a:pt x="208442" y="413766"/>
                    <a:pt x="154625" y="420815"/>
                  </a:cubicBezTo>
                  <a:cubicBezTo>
                    <a:pt x="74330" y="431292"/>
                    <a:pt x="10226" y="496538"/>
                    <a:pt x="1177" y="577025"/>
                  </a:cubicBezTo>
                  <a:cubicBezTo>
                    <a:pt x="-11015" y="684943"/>
                    <a:pt x="73091" y="776288"/>
                    <a:pt x="178533" y="776288"/>
                  </a:cubicBezTo>
                  <a:cubicBezTo>
                    <a:pt x="223110" y="776288"/>
                    <a:pt x="263686" y="759905"/>
                    <a:pt x="295024" y="732853"/>
                  </a:cubicBezTo>
                  <a:lnTo>
                    <a:pt x="295024" y="1075658"/>
                  </a:lnTo>
                  <a:cubicBezTo>
                    <a:pt x="295024" y="1133570"/>
                    <a:pt x="341982" y="1180528"/>
                    <a:pt x="399894" y="1180528"/>
                  </a:cubicBezTo>
                  <a:lnTo>
                    <a:pt x="1370587" y="1180528"/>
                  </a:lnTo>
                  <a:cubicBezTo>
                    <a:pt x="1428499" y="1180528"/>
                    <a:pt x="1475457" y="1133570"/>
                    <a:pt x="1475457" y="1075658"/>
                  </a:cubicBezTo>
                  <a:lnTo>
                    <a:pt x="1475457" y="104870"/>
                  </a:lnTo>
                  <a:cubicBezTo>
                    <a:pt x="1475457" y="46958"/>
                    <a:pt x="1428499" y="0"/>
                    <a:pt x="1370587" y="0"/>
                  </a:cubicBezTo>
                  <a:lnTo>
                    <a:pt x="995397" y="0"/>
                  </a:lnTo>
                  <a:close/>
                </a:path>
              </a:pathLst>
            </a:custGeom>
            <a:solidFill>
              <a:srgbClr val="FFC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orma Livre: Forma 22">
              <a:extLst>
                <a:ext uri="{FF2B5EF4-FFF2-40B4-BE49-F238E27FC236}">
                  <a16:creationId xmlns:a16="http://schemas.microsoft.com/office/drawing/2014/main" id="{8D64B62E-9088-181C-40E8-563B191A01FE}"/>
                </a:ext>
              </a:extLst>
            </p:cNvPr>
            <p:cNvSpPr/>
            <p:nvPr/>
          </p:nvSpPr>
          <p:spPr>
            <a:xfrm>
              <a:off x="8997697" y="1448464"/>
              <a:ext cx="886302" cy="1121369"/>
            </a:xfrm>
            <a:custGeom>
              <a:avLst/>
              <a:gdLst>
                <a:gd name="connsiteX0" fmla="*/ 1074801 w 1179671"/>
                <a:gd name="connsiteY0" fmla="*/ 0 h 1492544"/>
                <a:gd name="connsiteX1" fmla="*/ 104870 w 1179671"/>
                <a:gd name="connsiteY1" fmla="*/ 0 h 1492544"/>
                <a:gd name="connsiteX2" fmla="*/ 0 w 1179671"/>
                <a:gd name="connsiteY2" fmla="*/ 104870 h 1492544"/>
                <a:gd name="connsiteX3" fmla="*/ 0 w 1179671"/>
                <a:gd name="connsiteY3" fmla="*/ 449104 h 1492544"/>
                <a:gd name="connsiteX4" fmla="*/ 142875 w 1179671"/>
                <a:gd name="connsiteY4" fmla="*/ 398621 h 1492544"/>
                <a:gd name="connsiteX5" fmla="*/ 300228 w 1179671"/>
                <a:gd name="connsiteY5" fmla="*/ 554069 h 1492544"/>
                <a:gd name="connsiteX6" fmla="*/ 124587 w 1179671"/>
                <a:gd name="connsiteY6" fmla="*/ 751142 h 1492544"/>
                <a:gd name="connsiteX7" fmla="*/ 0 w 1179671"/>
                <a:gd name="connsiteY7" fmla="*/ 699707 h 1492544"/>
                <a:gd name="connsiteX8" fmla="*/ 0 w 1179671"/>
                <a:gd name="connsiteY8" fmla="*/ 1179576 h 1492544"/>
                <a:gd name="connsiteX9" fmla="*/ 481489 w 1179671"/>
                <a:gd name="connsiteY9" fmla="*/ 1179576 h 1492544"/>
                <a:gd name="connsiteX10" fmla="*/ 418719 w 1179671"/>
                <a:gd name="connsiteY10" fmla="*/ 1337120 h 1492544"/>
                <a:gd name="connsiteX11" fmla="*/ 573976 w 1179671"/>
                <a:gd name="connsiteY11" fmla="*/ 1491425 h 1492544"/>
                <a:gd name="connsiteX12" fmla="*/ 770953 w 1179671"/>
                <a:gd name="connsiteY12" fmla="*/ 1315784 h 1492544"/>
                <a:gd name="connsiteX13" fmla="*/ 706945 w 1179671"/>
                <a:gd name="connsiteY13" fmla="*/ 1179671 h 1492544"/>
                <a:gd name="connsiteX14" fmla="*/ 1074801 w 1179671"/>
                <a:gd name="connsiteY14" fmla="*/ 1179671 h 1492544"/>
                <a:gd name="connsiteX15" fmla="*/ 1179671 w 1179671"/>
                <a:gd name="connsiteY15" fmla="*/ 1074801 h 1492544"/>
                <a:gd name="connsiteX16" fmla="*/ 1179671 w 1179671"/>
                <a:gd name="connsiteY16" fmla="*/ 104870 h 1492544"/>
                <a:gd name="connsiteX17" fmla="*/ 1074801 w 1179671"/>
                <a:gd name="connsiteY17" fmla="*/ 0 h 1492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79671" h="1492544">
                  <a:moveTo>
                    <a:pt x="1074801" y="0"/>
                  </a:moveTo>
                  <a:lnTo>
                    <a:pt x="104870" y="0"/>
                  </a:lnTo>
                  <a:cubicBezTo>
                    <a:pt x="46958" y="0"/>
                    <a:pt x="0" y="46958"/>
                    <a:pt x="0" y="104870"/>
                  </a:cubicBezTo>
                  <a:lnTo>
                    <a:pt x="0" y="449104"/>
                  </a:lnTo>
                  <a:cubicBezTo>
                    <a:pt x="35909" y="413385"/>
                    <a:pt x="87058" y="393002"/>
                    <a:pt x="142875" y="398621"/>
                  </a:cubicBezTo>
                  <a:cubicBezTo>
                    <a:pt x="224695" y="406813"/>
                    <a:pt x="291084" y="472440"/>
                    <a:pt x="300228" y="554069"/>
                  </a:cubicBezTo>
                  <a:cubicBezTo>
                    <a:pt x="312134" y="660845"/>
                    <a:pt x="228981" y="751142"/>
                    <a:pt x="124587" y="751142"/>
                  </a:cubicBezTo>
                  <a:cubicBezTo>
                    <a:pt x="76009" y="751142"/>
                    <a:pt x="32004" y="731520"/>
                    <a:pt x="0" y="699707"/>
                  </a:cubicBezTo>
                  <a:lnTo>
                    <a:pt x="0" y="1179576"/>
                  </a:lnTo>
                  <a:lnTo>
                    <a:pt x="481489" y="1179576"/>
                  </a:lnTo>
                  <a:cubicBezTo>
                    <a:pt x="437388" y="1216152"/>
                    <a:pt x="411290" y="1273778"/>
                    <a:pt x="418719" y="1337120"/>
                  </a:cubicBezTo>
                  <a:cubicBezTo>
                    <a:pt x="428149" y="1417606"/>
                    <a:pt x="493395" y="1482471"/>
                    <a:pt x="573976" y="1491425"/>
                  </a:cubicBezTo>
                  <a:cubicBezTo>
                    <a:pt x="680657" y="1503236"/>
                    <a:pt x="770953" y="1420082"/>
                    <a:pt x="770953" y="1315784"/>
                  </a:cubicBezTo>
                  <a:cubicBezTo>
                    <a:pt x="770953" y="1261015"/>
                    <a:pt x="745998" y="1212056"/>
                    <a:pt x="706945" y="1179671"/>
                  </a:cubicBezTo>
                  <a:lnTo>
                    <a:pt x="1074801" y="1179671"/>
                  </a:lnTo>
                  <a:cubicBezTo>
                    <a:pt x="1132713" y="1179671"/>
                    <a:pt x="1179671" y="1132713"/>
                    <a:pt x="1179671" y="1074801"/>
                  </a:cubicBezTo>
                  <a:lnTo>
                    <a:pt x="1179671" y="104870"/>
                  </a:lnTo>
                  <a:cubicBezTo>
                    <a:pt x="1179576" y="46958"/>
                    <a:pt x="1132713" y="0"/>
                    <a:pt x="1074801" y="0"/>
                  </a:cubicBezTo>
                  <a:close/>
                </a:path>
              </a:pathLst>
            </a:custGeom>
            <a:solidFill>
              <a:srgbClr val="EE73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orma Livre: Forma 23">
              <a:extLst>
                <a:ext uri="{FF2B5EF4-FFF2-40B4-BE49-F238E27FC236}">
                  <a16:creationId xmlns:a16="http://schemas.microsoft.com/office/drawing/2014/main" id="{EAD55C2B-5F98-9788-9EAC-2A2EDD0563AF}"/>
                </a:ext>
              </a:extLst>
            </p:cNvPr>
            <p:cNvSpPr/>
            <p:nvPr/>
          </p:nvSpPr>
          <p:spPr>
            <a:xfrm>
              <a:off x="7994533" y="1723480"/>
              <a:ext cx="1109846" cy="886303"/>
            </a:xfrm>
            <a:custGeom>
              <a:avLst/>
              <a:gdLst>
                <a:gd name="connsiteX0" fmla="*/ 1320832 w 1477209"/>
                <a:gd name="connsiteY0" fmla="*/ 414242 h 1179671"/>
                <a:gd name="connsiteX1" fmla="*/ 1179671 w 1477209"/>
                <a:gd name="connsiteY1" fmla="*/ 461010 h 1179671"/>
                <a:gd name="connsiteX2" fmla="*/ 1179671 w 1477209"/>
                <a:gd name="connsiteY2" fmla="*/ 104870 h 1179671"/>
                <a:gd name="connsiteX3" fmla="*/ 1074801 w 1477209"/>
                <a:gd name="connsiteY3" fmla="*/ 0 h 1179671"/>
                <a:gd name="connsiteX4" fmla="*/ 104870 w 1477209"/>
                <a:gd name="connsiteY4" fmla="*/ 0 h 1179671"/>
                <a:gd name="connsiteX5" fmla="*/ 0 w 1477209"/>
                <a:gd name="connsiteY5" fmla="*/ 104870 h 1179671"/>
                <a:gd name="connsiteX6" fmla="*/ 0 w 1477209"/>
                <a:gd name="connsiteY6" fmla="*/ 1179671 h 1179671"/>
                <a:gd name="connsiteX7" fmla="*/ 463106 w 1477209"/>
                <a:gd name="connsiteY7" fmla="*/ 1179671 h 1179671"/>
                <a:gd name="connsiteX8" fmla="*/ 403003 w 1477209"/>
                <a:gd name="connsiteY8" fmla="*/ 1034225 h 1179671"/>
                <a:gd name="connsiteX9" fmla="*/ 558451 w 1477209"/>
                <a:gd name="connsiteY9" fmla="*/ 872300 h 1179671"/>
                <a:gd name="connsiteX10" fmla="*/ 754285 w 1477209"/>
                <a:gd name="connsiteY10" fmla="*/ 1047083 h 1179671"/>
                <a:gd name="connsiteX11" fmla="*/ 693706 w 1477209"/>
                <a:gd name="connsiteY11" fmla="*/ 1179671 h 1179671"/>
                <a:gd name="connsiteX12" fmla="*/ 1179671 w 1477209"/>
                <a:gd name="connsiteY12" fmla="*/ 1179671 h 1179671"/>
                <a:gd name="connsiteX13" fmla="*/ 1179671 w 1477209"/>
                <a:gd name="connsiteY13" fmla="*/ 718661 h 1179671"/>
                <a:gd name="connsiteX14" fmla="*/ 1300448 w 1477209"/>
                <a:gd name="connsiteY14" fmla="*/ 766572 h 1179671"/>
                <a:gd name="connsiteX15" fmla="*/ 1476089 w 1477209"/>
                <a:gd name="connsiteY15" fmla="*/ 569595 h 1179671"/>
                <a:gd name="connsiteX16" fmla="*/ 1320832 w 1477209"/>
                <a:gd name="connsiteY16" fmla="*/ 414242 h 117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77209" h="1179671">
                  <a:moveTo>
                    <a:pt x="1320832" y="414242"/>
                  </a:moveTo>
                  <a:cubicBezTo>
                    <a:pt x="1266063" y="408051"/>
                    <a:pt x="1215866" y="427101"/>
                    <a:pt x="1179671" y="461010"/>
                  </a:cubicBezTo>
                  <a:lnTo>
                    <a:pt x="1179671" y="104870"/>
                  </a:lnTo>
                  <a:cubicBezTo>
                    <a:pt x="1179671" y="46958"/>
                    <a:pt x="1132713" y="0"/>
                    <a:pt x="1074801" y="0"/>
                  </a:cubicBezTo>
                  <a:lnTo>
                    <a:pt x="104870" y="0"/>
                  </a:lnTo>
                  <a:cubicBezTo>
                    <a:pt x="46958" y="0"/>
                    <a:pt x="0" y="46958"/>
                    <a:pt x="0" y="104870"/>
                  </a:cubicBezTo>
                  <a:lnTo>
                    <a:pt x="0" y="1179671"/>
                  </a:lnTo>
                  <a:lnTo>
                    <a:pt x="463106" y="1179671"/>
                  </a:lnTo>
                  <a:cubicBezTo>
                    <a:pt x="423100" y="1144810"/>
                    <a:pt x="398812" y="1092327"/>
                    <a:pt x="403003" y="1034225"/>
                  </a:cubicBezTo>
                  <a:cubicBezTo>
                    <a:pt x="409003" y="950595"/>
                    <a:pt x="475107" y="881443"/>
                    <a:pt x="558451" y="872300"/>
                  </a:cubicBezTo>
                  <a:cubicBezTo>
                    <a:pt x="664464" y="860679"/>
                    <a:pt x="754285" y="943356"/>
                    <a:pt x="754285" y="1047083"/>
                  </a:cubicBezTo>
                  <a:cubicBezTo>
                    <a:pt x="754285" y="1100042"/>
                    <a:pt x="730758" y="1147477"/>
                    <a:pt x="693706" y="1179671"/>
                  </a:cubicBezTo>
                  <a:lnTo>
                    <a:pt x="1179671" y="1179671"/>
                  </a:lnTo>
                  <a:lnTo>
                    <a:pt x="1179671" y="718661"/>
                  </a:lnTo>
                  <a:cubicBezTo>
                    <a:pt x="1211294" y="748284"/>
                    <a:pt x="1253681" y="766572"/>
                    <a:pt x="1300448" y="766572"/>
                  </a:cubicBezTo>
                  <a:cubicBezTo>
                    <a:pt x="1404747" y="766572"/>
                    <a:pt x="1487900" y="676275"/>
                    <a:pt x="1476089" y="569595"/>
                  </a:cubicBezTo>
                  <a:cubicBezTo>
                    <a:pt x="1467041" y="488728"/>
                    <a:pt x="1401699" y="423386"/>
                    <a:pt x="1320832" y="414242"/>
                  </a:cubicBezTo>
                  <a:close/>
                </a:path>
              </a:pathLst>
            </a:custGeom>
            <a:solidFill>
              <a:srgbClr val="0070C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25" name="Gráfico 10">
              <a:extLst>
                <a:ext uri="{FF2B5EF4-FFF2-40B4-BE49-F238E27FC236}">
                  <a16:creationId xmlns:a16="http://schemas.microsoft.com/office/drawing/2014/main" id="{B51B3A57-A0F4-68DB-FDB7-90D3F703B5D4}"/>
                </a:ext>
              </a:extLst>
            </p:cNvPr>
            <p:cNvGrpSpPr/>
            <p:nvPr/>
          </p:nvGrpSpPr>
          <p:grpSpPr>
            <a:xfrm>
              <a:off x="8884700" y="1417202"/>
              <a:ext cx="134118" cy="88774"/>
              <a:chOff x="7078433" y="605270"/>
              <a:chExt cx="178512" cy="118158"/>
            </a:xfrm>
          </p:grpSpPr>
          <p:sp>
            <p:nvSpPr>
              <p:cNvPr id="148" name="Forma Livre: Forma 147">
                <a:extLst>
                  <a:ext uri="{FF2B5EF4-FFF2-40B4-BE49-F238E27FC236}">
                    <a16:creationId xmlns:a16="http://schemas.microsoft.com/office/drawing/2014/main" id="{874708C0-018E-0B0C-F7E9-C347012059CA}"/>
                  </a:ext>
                </a:extLst>
              </p:cNvPr>
              <p:cNvSpPr/>
              <p:nvPr/>
            </p:nvSpPr>
            <p:spPr>
              <a:xfrm>
                <a:off x="7078433" y="665646"/>
                <a:ext cx="68008" cy="49053"/>
              </a:xfrm>
              <a:custGeom>
                <a:avLst/>
                <a:gdLst>
                  <a:gd name="connsiteX0" fmla="*/ 52483 w 68008"/>
                  <a:gd name="connsiteY0" fmla="*/ 36481 h 49053"/>
                  <a:gd name="connsiteX1" fmla="*/ 10668 w 68008"/>
                  <a:gd name="connsiteY1" fmla="*/ 49054 h 49053"/>
                  <a:gd name="connsiteX2" fmla="*/ 0 w 68008"/>
                  <a:gd name="connsiteY2" fmla="*/ 3619 h 49053"/>
                  <a:gd name="connsiteX3" fmla="*/ 68008 w 68008"/>
                  <a:gd name="connsiteY3" fmla="*/ 0 h 49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008" h="49053">
                    <a:moveTo>
                      <a:pt x="52483" y="36481"/>
                    </a:moveTo>
                    <a:lnTo>
                      <a:pt x="10668" y="49054"/>
                    </a:lnTo>
                    <a:lnTo>
                      <a:pt x="0" y="3619"/>
                    </a:lnTo>
                    <a:lnTo>
                      <a:pt x="68008" y="0"/>
                    </a:lnTo>
                    <a:close/>
                  </a:path>
                </a:pathLst>
              </a:custGeom>
              <a:solidFill>
                <a:srgbClr val="663E3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9" name="Forma Livre: Forma 148">
                <a:extLst>
                  <a:ext uri="{FF2B5EF4-FFF2-40B4-BE49-F238E27FC236}">
                    <a16:creationId xmlns:a16="http://schemas.microsoft.com/office/drawing/2014/main" id="{586BAD5E-CE27-E88E-6F3C-502EE0801CC2}"/>
                  </a:ext>
                </a:extLst>
              </p:cNvPr>
              <p:cNvSpPr/>
              <p:nvPr/>
            </p:nvSpPr>
            <p:spPr>
              <a:xfrm>
                <a:off x="7130158" y="638213"/>
                <a:ext cx="90101" cy="85215"/>
              </a:xfrm>
              <a:custGeom>
                <a:avLst/>
                <a:gdLst>
                  <a:gd name="connsiteX0" fmla="*/ 6663 w 90101"/>
                  <a:gd name="connsiteY0" fmla="*/ 74390 h 85215"/>
                  <a:gd name="connsiteX1" fmla="*/ 14950 w 90101"/>
                  <a:gd name="connsiteY1" fmla="*/ 84868 h 85215"/>
                  <a:gd name="connsiteX2" fmla="*/ 90102 w 90101"/>
                  <a:gd name="connsiteY2" fmla="*/ 47435 h 85215"/>
                  <a:gd name="connsiteX3" fmla="*/ 89054 w 90101"/>
                  <a:gd name="connsiteY3" fmla="*/ 20384 h 85215"/>
                  <a:gd name="connsiteX4" fmla="*/ 57717 w 90101"/>
                  <a:gd name="connsiteY4" fmla="*/ 0 h 85215"/>
                  <a:gd name="connsiteX5" fmla="*/ 19808 w 90101"/>
                  <a:gd name="connsiteY5" fmla="*/ 15716 h 85215"/>
                  <a:gd name="connsiteX6" fmla="*/ 186 w 90101"/>
                  <a:gd name="connsiteY6" fmla="*/ 40481 h 85215"/>
                  <a:gd name="connsiteX7" fmla="*/ 186 w 90101"/>
                  <a:gd name="connsiteY7" fmla="*/ 40481 h 85215"/>
                  <a:gd name="connsiteX8" fmla="*/ 6663 w 90101"/>
                  <a:gd name="connsiteY8" fmla="*/ 74390 h 852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0101" h="85215">
                    <a:moveTo>
                      <a:pt x="6663" y="74390"/>
                    </a:moveTo>
                    <a:cubicBezTo>
                      <a:pt x="9044" y="79248"/>
                      <a:pt x="11902" y="83439"/>
                      <a:pt x="14950" y="84868"/>
                    </a:cubicBezTo>
                    <a:cubicBezTo>
                      <a:pt x="42096" y="89440"/>
                      <a:pt x="90102" y="47435"/>
                      <a:pt x="90102" y="47435"/>
                    </a:cubicBezTo>
                    <a:lnTo>
                      <a:pt x="89054" y="20384"/>
                    </a:lnTo>
                    <a:lnTo>
                      <a:pt x="57717" y="0"/>
                    </a:lnTo>
                    <a:lnTo>
                      <a:pt x="19808" y="15716"/>
                    </a:lnTo>
                    <a:cubicBezTo>
                      <a:pt x="9711" y="19907"/>
                      <a:pt x="2377" y="29147"/>
                      <a:pt x="186" y="40481"/>
                    </a:cubicBezTo>
                    <a:lnTo>
                      <a:pt x="186" y="40481"/>
                    </a:lnTo>
                    <a:cubicBezTo>
                      <a:pt x="-671" y="52007"/>
                      <a:pt x="1424" y="63818"/>
                      <a:pt x="6663" y="74390"/>
                    </a:cubicBezTo>
                    <a:close/>
                  </a:path>
                </a:pathLst>
              </a:custGeom>
              <a:solidFill>
                <a:srgbClr val="825A4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0" name="Forma Livre: Forma 149">
                <a:extLst>
                  <a:ext uri="{FF2B5EF4-FFF2-40B4-BE49-F238E27FC236}">
                    <a16:creationId xmlns:a16="http://schemas.microsoft.com/office/drawing/2014/main" id="{6F4513DA-25F7-FA38-9401-5CD1E037A1A8}"/>
                  </a:ext>
                </a:extLst>
              </p:cNvPr>
              <p:cNvSpPr/>
              <p:nvPr/>
            </p:nvSpPr>
            <p:spPr>
              <a:xfrm>
                <a:off x="7144060" y="605270"/>
                <a:ext cx="112885" cy="98244"/>
              </a:xfrm>
              <a:custGeom>
                <a:avLst/>
                <a:gdLst>
                  <a:gd name="connsiteX0" fmla="*/ 24956 w 112885"/>
                  <a:gd name="connsiteY0" fmla="*/ 47327 h 98244"/>
                  <a:gd name="connsiteX1" fmla="*/ 47911 w 112885"/>
                  <a:gd name="connsiteY1" fmla="*/ 45326 h 98244"/>
                  <a:gd name="connsiteX2" fmla="*/ 58579 w 112885"/>
                  <a:gd name="connsiteY2" fmla="*/ 71901 h 98244"/>
                  <a:gd name="connsiteX3" fmla="*/ 99441 w 112885"/>
                  <a:gd name="connsiteY3" fmla="*/ 95999 h 98244"/>
                  <a:gd name="connsiteX4" fmla="*/ 112871 w 112885"/>
                  <a:gd name="connsiteY4" fmla="*/ 71044 h 98244"/>
                  <a:gd name="connsiteX5" fmla="*/ 104489 w 112885"/>
                  <a:gd name="connsiteY5" fmla="*/ 52470 h 98244"/>
                  <a:gd name="connsiteX6" fmla="*/ 71533 w 112885"/>
                  <a:gd name="connsiteY6" fmla="*/ 19037 h 98244"/>
                  <a:gd name="connsiteX7" fmla="*/ 44577 w 112885"/>
                  <a:gd name="connsiteY7" fmla="*/ 1416 h 98244"/>
                  <a:gd name="connsiteX8" fmla="*/ 10763 w 112885"/>
                  <a:gd name="connsiteY8" fmla="*/ 31325 h 98244"/>
                  <a:gd name="connsiteX9" fmla="*/ 0 w 112885"/>
                  <a:gd name="connsiteY9" fmla="*/ 51803 h 98244"/>
                  <a:gd name="connsiteX10" fmla="*/ 0 w 112885"/>
                  <a:gd name="connsiteY10" fmla="*/ 51803 h 98244"/>
                  <a:gd name="connsiteX11" fmla="*/ 24956 w 112885"/>
                  <a:gd name="connsiteY11" fmla="*/ 47327 h 98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2885" h="98244">
                    <a:moveTo>
                      <a:pt x="24956" y="47327"/>
                    </a:moveTo>
                    <a:cubicBezTo>
                      <a:pt x="31909" y="45993"/>
                      <a:pt x="46006" y="38468"/>
                      <a:pt x="47911" y="45326"/>
                    </a:cubicBezTo>
                    <a:cubicBezTo>
                      <a:pt x="49340" y="50279"/>
                      <a:pt x="56102" y="66567"/>
                      <a:pt x="58579" y="71901"/>
                    </a:cubicBezTo>
                    <a:cubicBezTo>
                      <a:pt x="64484" y="84665"/>
                      <a:pt x="80105" y="105048"/>
                      <a:pt x="99441" y="95999"/>
                    </a:cubicBezTo>
                    <a:cubicBezTo>
                      <a:pt x="109157" y="91523"/>
                      <a:pt x="113157" y="78188"/>
                      <a:pt x="112871" y="71044"/>
                    </a:cubicBezTo>
                    <a:cubicBezTo>
                      <a:pt x="112586" y="64091"/>
                      <a:pt x="109347" y="57518"/>
                      <a:pt x="104489" y="52470"/>
                    </a:cubicBezTo>
                    <a:cubicBezTo>
                      <a:pt x="93059" y="40754"/>
                      <a:pt x="73533" y="27134"/>
                      <a:pt x="71533" y="19037"/>
                    </a:cubicBezTo>
                    <a:cubicBezTo>
                      <a:pt x="68199" y="5417"/>
                      <a:pt x="55054" y="-3632"/>
                      <a:pt x="44577" y="1416"/>
                    </a:cubicBezTo>
                    <a:cubicBezTo>
                      <a:pt x="33338" y="6845"/>
                      <a:pt x="19050" y="20752"/>
                      <a:pt x="10763" y="31325"/>
                    </a:cubicBezTo>
                    <a:cubicBezTo>
                      <a:pt x="6001" y="37516"/>
                      <a:pt x="2381" y="44374"/>
                      <a:pt x="0" y="51803"/>
                    </a:cubicBezTo>
                    <a:lnTo>
                      <a:pt x="0" y="51803"/>
                    </a:lnTo>
                    <a:lnTo>
                      <a:pt x="24956" y="47327"/>
                    </a:lnTo>
                    <a:close/>
                  </a:path>
                </a:pathLst>
              </a:custGeom>
              <a:solidFill>
                <a:srgbClr val="13223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1" name="Forma Livre: Forma 150">
                <a:extLst>
                  <a:ext uri="{FF2B5EF4-FFF2-40B4-BE49-F238E27FC236}">
                    <a16:creationId xmlns:a16="http://schemas.microsoft.com/office/drawing/2014/main" id="{DBAEC414-7C5E-EB3F-4DBB-C08A97AF27FB}"/>
                  </a:ext>
                </a:extLst>
              </p:cNvPr>
              <p:cNvSpPr/>
              <p:nvPr/>
            </p:nvSpPr>
            <p:spPr>
              <a:xfrm>
                <a:off x="7151743" y="639847"/>
                <a:ext cx="14732" cy="19629"/>
              </a:xfrm>
              <a:custGeom>
                <a:avLst/>
                <a:gdLst>
                  <a:gd name="connsiteX0" fmla="*/ 9843 w 14732"/>
                  <a:gd name="connsiteY0" fmla="*/ 462 h 19629"/>
                  <a:gd name="connsiteX1" fmla="*/ 14320 w 14732"/>
                  <a:gd name="connsiteY1" fmla="*/ 12845 h 19629"/>
                  <a:gd name="connsiteX2" fmla="*/ 4890 w 14732"/>
                  <a:gd name="connsiteY2" fmla="*/ 19131 h 19629"/>
                  <a:gd name="connsiteX3" fmla="*/ 413 w 14732"/>
                  <a:gd name="connsiteY3" fmla="*/ 6749 h 19629"/>
                  <a:gd name="connsiteX4" fmla="*/ 9843 w 14732"/>
                  <a:gd name="connsiteY4" fmla="*/ 462 h 19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732" h="19629">
                    <a:moveTo>
                      <a:pt x="9843" y="462"/>
                    </a:moveTo>
                    <a:cubicBezTo>
                      <a:pt x="13653" y="2177"/>
                      <a:pt x="15653" y="7701"/>
                      <a:pt x="14320" y="12845"/>
                    </a:cubicBezTo>
                    <a:cubicBezTo>
                      <a:pt x="12986" y="17988"/>
                      <a:pt x="8700" y="20846"/>
                      <a:pt x="4890" y="19131"/>
                    </a:cubicBezTo>
                    <a:cubicBezTo>
                      <a:pt x="1080" y="17417"/>
                      <a:pt x="-920" y="11892"/>
                      <a:pt x="413" y="6749"/>
                    </a:cubicBezTo>
                    <a:cubicBezTo>
                      <a:pt x="1842" y="1605"/>
                      <a:pt x="6033" y="-1157"/>
                      <a:pt x="9843" y="462"/>
                    </a:cubicBezTo>
                    <a:close/>
                  </a:path>
                </a:pathLst>
              </a:custGeom>
              <a:solidFill>
                <a:srgbClr val="825A4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6" name="Forma Livre: Forma 25">
              <a:extLst>
                <a:ext uri="{FF2B5EF4-FFF2-40B4-BE49-F238E27FC236}">
                  <a16:creationId xmlns:a16="http://schemas.microsoft.com/office/drawing/2014/main" id="{BA5110C9-649A-1221-CC6F-74B6196683D1}"/>
                </a:ext>
              </a:extLst>
            </p:cNvPr>
            <p:cNvSpPr/>
            <p:nvPr/>
          </p:nvSpPr>
          <p:spPr>
            <a:xfrm>
              <a:off x="8867310" y="1507146"/>
              <a:ext cx="39288" cy="76929"/>
            </a:xfrm>
            <a:custGeom>
              <a:avLst/>
              <a:gdLst>
                <a:gd name="connsiteX0" fmla="*/ 31242 w 52292"/>
                <a:gd name="connsiteY0" fmla="*/ 0 h 102393"/>
                <a:gd name="connsiteX1" fmla="*/ 52292 w 52292"/>
                <a:gd name="connsiteY1" fmla="*/ 58674 h 102393"/>
                <a:gd name="connsiteX2" fmla="*/ 0 w 52292"/>
                <a:gd name="connsiteY2" fmla="*/ 102394 h 102393"/>
                <a:gd name="connsiteX3" fmla="*/ 0 w 52292"/>
                <a:gd name="connsiteY3" fmla="*/ 0 h 102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292" h="102393">
                  <a:moveTo>
                    <a:pt x="31242" y="0"/>
                  </a:moveTo>
                  <a:lnTo>
                    <a:pt x="52292" y="58674"/>
                  </a:lnTo>
                  <a:lnTo>
                    <a:pt x="0" y="1023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E73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27" name="Gráfico 10">
              <a:extLst>
                <a:ext uri="{FF2B5EF4-FFF2-40B4-BE49-F238E27FC236}">
                  <a16:creationId xmlns:a16="http://schemas.microsoft.com/office/drawing/2014/main" id="{82FEF276-6167-D053-93DF-074D9A508BCF}"/>
                </a:ext>
              </a:extLst>
            </p:cNvPr>
            <p:cNvGrpSpPr/>
            <p:nvPr/>
          </p:nvGrpSpPr>
          <p:grpSpPr>
            <a:xfrm>
              <a:off x="8782989" y="1684979"/>
              <a:ext cx="84320" cy="49521"/>
              <a:chOff x="6943056" y="961682"/>
              <a:chExt cx="112230" cy="65913"/>
            </a:xfrm>
          </p:grpSpPr>
          <p:sp>
            <p:nvSpPr>
              <p:cNvPr id="146" name="Forma Livre: Forma 145">
                <a:extLst>
                  <a:ext uri="{FF2B5EF4-FFF2-40B4-BE49-F238E27FC236}">
                    <a16:creationId xmlns:a16="http://schemas.microsoft.com/office/drawing/2014/main" id="{2D7DD5C7-CBB2-73F8-36F9-45CF92840DEC}"/>
                  </a:ext>
                </a:extLst>
              </p:cNvPr>
              <p:cNvSpPr/>
              <p:nvPr/>
            </p:nvSpPr>
            <p:spPr>
              <a:xfrm>
                <a:off x="6943056" y="987305"/>
                <a:ext cx="112230" cy="40290"/>
              </a:xfrm>
              <a:custGeom>
                <a:avLst/>
                <a:gdLst>
                  <a:gd name="connsiteX0" fmla="*/ 36317 w 112230"/>
                  <a:gd name="connsiteY0" fmla="*/ 0 h 40290"/>
                  <a:gd name="connsiteX1" fmla="*/ 93943 w 112230"/>
                  <a:gd name="connsiteY1" fmla="*/ 26479 h 40290"/>
                  <a:gd name="connsiteX2" fmla="*/ 112231 w 112230"/>
                  <a:gd name="connsiteY2" fmla="*/ 40291 h 40290"/>
                  <a:gd name="connsiteX3" fmla="*/ 63653 w 112230"/>
                  <a:gd name="connsiteY3" fmla="*/ 40291 h 40290"/>
                  <a:gd name="connsiteX4" fmla="*/ 23267 w 112230"/>
                  <a:gd name="connsiteY4" fmla="*/ 33338 h 40290"/>
                  <a:gd name="connsiteX5" fmla="*/ 23267 w 112230"/>
                  <a:gd name="connsiteY5" fmla="*/ 40291 h 40290"/>
                  <a:gd name="connsiteX6" fmla="*/ 1455 w 112230"/>
                  <a:gd name="connsiteY6" fmla="*/ 40291 h 40290"/>
                  <a:gd name="connsiteX7" fmla="*/ 8122 w 112230"/>
                  <a:gd name="connsiteY7" fmla="*/ 0 h 40290"/>
                  <a:gd name="connsiteX8" fmla="*/ 36317 w 112230"/>
                  <a:gd name="connsiteY8" fmla="*/ 0 h 40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2230" h="40290">
                    <a:moveTo>
                      <a:pt x="36317" y="0"/>
                    </a:moveTo>
                    <a:cubicBezTo>
                      <a:pt x="36317" y="0"/>
                      <a:pt x="53843" y="16288"/>
                      <a:pt x="93943" y="26479"/>
                    </a:cubicBezTo>
                    <a:cubicBezTo>
                      <a:pt x="102801" y="28766"/>
                      <a:pt x="112231" y="25718"/>
                      <a:pt x="112231" y="40291"/>
                    </a:cubicBezTo>
                    <a:cubicBezTo>
                      <a:pt x="93562" y="40291"/>
                      <a:pt x="63653" y="40291"/>
                      <a:pt x="63653" y="40291"/>
                    </a:cubicBezTo>
                    <a:lnTo>
                      <a:pt x="23267" y="33338"/>
                    </a:lnTo>
                    <a:lnTo>
                      <a:pt x="23267" y="40291"/>
                    </a:lnTo>
                    <a:lnTo>
                      <a:pt x="1455" y="40291"/>
                    </a:lnTo>
                    <a:cubicBezTo>
                      <a:pt x="1455" y="40291"/>
                      <a:pt x="-4641" y="4572"/>
                      <a:pt x="8122" y="0"/>
                    </a:cubicBezTo>
                    <a:cubicBezTo>
                      <a:pt x="19838" y="0"/>
                      <a:pt x="36317" y="0"/>
                      <a:pt x="36317" y="0"/>
                    </a:cubicBezTo>
                    <a:close/>
                  </a:path>
                </a:pathLst>
              </a:custGeom>
              <a:solidFill>
                <a:srgbClr val="EE730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7" name="Forma Livre: Forma 146">
                <a:extLst>
                  <a:ext uri="{FF2B5EF4-FFF2-40B4-BE49-F238E27FC236}">
                    <a16:creationId xmlns:a16="http://schemas.microsoft.com/office/drawing/2014/main" id="{AC620660-A5E1-2F3B-BB5D-17A372CDEE05}"/>
                  </a:ext>
                </a:extLst>
              </p:cNvPr>
              <p:cNvSpPr/>
              <p:nvPr/>
            </p:nvSpPr>
            <p:spPr>
              <a:xfrm>
                <a:off x="6951083" y="961682"/>
                <a:ext cx="28289" cy="30029"/>
              </a:xfrm>
              <a:custGeom>
                <a:avLst/>
                <a:gdLst>
                  <a:gd name="connsiteX0" fmla="*/ 24003 w 28289"/>
                  <a:gd name="connsiteY0" fmla="*/ 0 h 30029"/>
                  <a:gd name="connsiteX1" fmla="*/ 28289 w 28289"/>
                  <a:gd name="connsiteY1" fmla="*/ 25622 h 30029"/>
                  <a:gd name="connsiteX2" fmla="*/ 28289 w 28289"/>
                  <a:gd name="connsiteY2" fmla="*/ 25622 h 30029"/>
                  <a:gd name="connsiteX3" fmla="*/ 1524 w 28289"/>
                  <a:gd name="connsiteY3" fmla="*/ 26480 h 30029"/>
                  <a:gd name="connsiteX4" fmla="*/ 0 w 28289"/>
                  <a:gd name="connsiteY4" fmla="*/ 25622 h 30029"/>
                  <a:gd name="connsiteX5" fmla="*/ 2191 w 28289"/>
                  <a:gd name="connsiteY5" fmla="*/ 0 h 30029"/>
                  <a:gd name="connsiteX6" fmla="*/ 24003 w 28289"/>
                  <a:gd name="connsiteY6" fmla="*/ 0 h 300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289" h="30029">
                    <a:moveTo>
                      <a:pt x="24003" y="0"/>
                    </a:moveTo>
                    <a:lnTo>
                      <a:pt x="28289" y="25622"/>
                    </a:lnTo>
                    <a:lnTo>
                      <a:pt x="28289" y="25622"/>
                    </a:lnTo>
                    <a:cubicBezTo>
                      <a:pt x="20288" y="31147"/>
                      <a:pt x="9906" y="31528"/>
                      <a:pt x="1524" y="26480"/>
                    </a:cubicBezTo>
                    <a:lnTo>
                      <a:pt x="0" y="25622"/>
                    </a:lnTo>
                    <a:lnTo>
                      <a:pt x="2191" y="0"/>
                    </a:lnTo>
                    <a:lnTo>
                      <a:pt x="24003" y="0"/>
                    </a:lnTo>
                    <a:close/>
                  </a:path>
                </a:pathLst>
              </a:custGeom>
              <a:solidFill>
                <a:srgbClr val="825A4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8" name="Forma Livre: Forma 27">
              <a:extLst>
                <a:ext uri="{FF2B5EF4-FFF2-40B4-BE49-F238E27FC236}">
                  <a16:creationId xmlns:a16="http://schemas.microsoft.com/office/drawing/2014/main" id="{2C5F6657-EB73-AEF9-B1FA-7D84DACE294A}"/>
                </a:ext>
              </a:extLst>
            </p:cNvPr>
            <p:cNvSpPr/>
            <p:nvPr/>
          </p:nvSpPr>
          <p:spPr>
            <a:xfrm>
              <a:off x="8507000" y="1662222"/>
              <a:ext cx="22176" cy="23186"/>
            </a:xfrm>
            <a:custGeom>
              <a:avLst/>
              <a:gdLst>
                <a:gd name="connsiteX0" fmla="*/ 26279 w 29516"/>
                <a:gd name="connsiteY0" fmla="*/ 30861 h 30860"/>
                <a:gd name="connsiteX1" fmla="*/ 2752 w 29516"/>
                <a:gd name="connsiteY1" fmla="*/ 26194 h 30860"/>
                <a:gd name="connsiteX2" fmla="*/ 2752 w 29516"/>
                <a:gd name="connsiteY2" fmla="*/ 26194 h 30860"/>
                <a:gd name="connsiteX3" fmla="*/ 4752 w 29516"/>
                <a:gd name="connsiteY3" fmla="*/ 1333 h 30860"/>
                <a:gd name="connsiteX4" fmla="*/ 5704 w 29516"/>
                <a:gd name="connsiteY4" fmla="*/ 0 h 30860"/>
                <a:gd name="connsiteX5" fmla="*/ 29517 w 29516"/>
                <a:gd name="connsiteY5" fmla="*/ 2762 h 30860"/>
                <a:gd name="connsiteX6" fmla="*/ 26279 w 29516"/>
                <a:gd name="connsiteY6" fmla="*/ 30861 h 3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516" h="30860">
                  <a:moveTo>
                    <a:pt x="26279" y="30861"/>
                  </a:moveTo>
                  <a:lnTo>
                    <a:pt x="2752" y="26194"/>
                  </a:lnTo>
                  <a:lnTo>
                    <a:pt x="2752" y="26194"/>
                  </a:lnTo>
                  <a:cubicBezTo>
                    <a:pt x="-1534" y="18193"/>
                    <a:pt x="-773" y="8477"/>
                    <a:pt x="4752" y="1333"/>
                  </a:cubicBezTo>
                  <a:lnTo>
                    <a:pt x="5704" y="0"/>
                  </a:lnTo>
                  <a:lnTo>
                    <a:pt x="29517" y="2762"/>
                  </a:lnTo>
                  <a:lnTo>
                    <a:pt x="26279" y="30861"/>
                  </a:lnTo>
                  <a:close/>
                </a:path>
              </a:pathLst>
            </a:custGeom>
            <a:solidFill>
              <a:srgbClr val="825A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orma Livre: Forma 28">
              <a:extLst>
                <a:ext uri="{FF2B5EF4-FFF2-40B4-BE49-F238E27FC236}">
                  <a16:creationId xmlns:a16="http://schemas.microsoft.com/office/drawing/2014/main" id="{8655CAF9-1B80-3AB3-50B6-1F1FDB3892C0}"/>
                </a:ext>
              </a:extLst>
            </p:cNvPr>
            <p:cNvSpPr/>
            <p:nvPr/>
          </p:nvSpPr>
          <p:spPr>
            <a:xfrm>
              <a:off x="8721251" y="1519097"/>
              <a:ext cx="152499" cy="174684"/>
            </a:xfrm>
            <a:custGeom>
              <a:avLst/>
              <a:gdLst>
                <a:gd name="connsiteX0" fmla="*/ 20765 w 202977"/>
                <a:gd name="connsiteY0" fmla="*/ 100108 h 232505"/>
                <a:gd name="connsiteX1" fmla="*/ 111157 w 202977"/>
                <a:gd name="connsiteY1" fmla="*/ 61817 h 232505"/>
                <a:gd name="connsiteX2" fmla="*/ 83820 w 202977"/>
                <a:gd name="connsiteY2" fmla="*/ 232505 h 232505"/>
                <a:gd name="connsiteX3" fmla="*/ 118205 w 202977"/>
                <a:gd name="connsiteY3" fmla="*/ 232505 h 232505"/>
                <a:gd name="connsiteX4" fmla="*/ 202978 w 202977"/>
                <a:gd name="connsiteY4" fmla="*/ 10573 h 232505"/>
                <a:gd name="connsiteX5" fmla="*/ 0 w 202977"/>
                <a:gd name="connsiteY5" fmla="*/ 0 h 232505"/>
                <a:gd name="connsiteX6" fmla="*/ 0 w 202977"/>
                <a:gd name="connsiteY6" fmla="*/ 102394 h 232505"/>
                <a:gd name="connsiteX7" fmla="*/ 20765 w 202977"/>
                <a:gd name="connsiteY7" fmla="*/ 100108 h 2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977" h="232505">
                  <a:moveTo>
                    <a:pt x="20765" y="100108"/>
                  </a:moveTo>
                  <a:cubicBezTo>
                    <a:pt x="20765" y="100108"/>
                    <a:pt x="51149" y="98869"/>
                    <a:pt x="111157" y="61817"/>
                  </a:cubicBezTo>
                  <a:cubicBezTo>
                    <a:pt x="70580" y="134112"/>
                    <a:pt x="83820" y="232505"/>
                    <a:pt x="83820" y="232505"/>
                  </a:cubicBezTo>
                  <a:lnTo>
                    <a:pt x="118205" y="232505"/>
                  </a:lnTo>
                  <a:lnTo>
                    <a:pt x="202978" y="10573"/>
                  </a:lnTo>
                  <a:lnTo>
                    <a:pt x="0" y="0"/>
                  </a:lnTo>
                  <a:lnTo>
                    <a:pt x="0" y="102394"/>
                  </a:lnTo>
                  <a:lnTo>
                    <a:pt x="20765" y="100108"/>
                  </a:lnTo>
                  <a:close/>
                </a:path>
              </a:pathLst>
            </a:custGeom>
            <a:solidFill>
              <a:srgbClr val="1322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orma Livre: Forma 29">
              <a:extLst>
                <a:ext uri="{FF2B5EF4-FFF2-40B4-BE49-F238E27FC236}">
                  <a16:creationId xmlns:a16="http://schemas.microsoft.com/office/drawing/2014/main" id="{E424B96A-A335-EDA3-AC77-F8D89C0109CC}"/>
                </a:ext>
              </a:extLst>
            </p:cNvPr>
            <p:cNvSpPr/>
            <p:nvPr/>
          </p:nvSpPr>
          <p:spPr>
            <a:xfrm>
              <a:off x="8665432" y="1431927"/>
              <a:ext cx="237444" cy="133614"/>
            </a:xfrm>
            <a:custGeom>
              <a:avLst/>
              <a:gdLst>
                <a:gd name="connsiteX0" fmla="*/ 316040 w 316039"/>
                <a:gd name="connsiteY0" fmla="*/ 41157 h 177840"/>
                <a:gd name="connsiteX1" fmla="*/ 0 w 316039"/>
                <a:gd name="connsiteY1" fmla="*/ 70304 h 177840"/>
                <a:gd name="connsiteX2" fmla="*/ 90011 w 316039"/>
                <a:gd name="connsiteY2" fmla="*/ 177841 h 177840"/>
                <a:gd name="connsiteX3" fmla="*/ 199454 w 316039"/>
                <a:gd name="connsiteY3" fmla="*/ 140789 h 177840"/>
                <a:gd name="connsiteX4" fmla="*/ 282416 w 316039"/>
                <a:gd name="connsiteY4" fmla="*/ 163744 h 177840"/>
                <a:gd name="connsiteX5" fmla="*/ 316040 w 316039"/>
                <a:gd name="connsiteY5" fmla="*/ 41157 h 177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6039" h="177840">
                  <a:moveTo>
                    <a:pt x="316040" y="41157"/>
                  </a:moveTo>
                  <a:cubicBezTo>
                    <a:pt x="316040" y="41157"/>
                    <a:pt x="210121" y="-68571"/>
                    <a:pt x="0" y="70304"/>
                  </a:cubicBezTo>
                  <a:cubicBezTo>
                    <a:pt x="31147" y="107546"/>
                    <a:pt x="90011" y="177841"/>
                    <a:pt x="90011" y="177841"/>
                  </a:cubicBezTo>
                  <a:lnTo>
                    <a:pt x="199454" y="140789"/>
                  </a:lnTo>
                  <a:lnTo>
                    <a:pt x="282416" y="163744"/>
                  </a:lnTo>
                  <a:lnTo>
                    <a:pt x="316040" y="41157"/>
                  </a:lnTo>
                  <a:close/>
                </a:path>
              </a:pathLst>
            </a:custGeom>
            <a:solidFill>
              <a:srgbClr val="EEA00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31" name="Gráfico 10">
              <a:extLst>
                <a:ext uri="{FF2B5EF4-FFF2-40B4-BE49-F238E27FC236}">
                  <a16:creationId xmlns:a16="http://schemas.microsoft.com/office/drawing/2014/main" id="{D7EEDA29-0352-58A8-A4A4-CBAE8E849592}"/>
                </a:ext>
              </a:extLst>
            </p:cNvPr>
            <p:cNvGrpSpPr/>
            <p:nvPr/>
          </p:nvGrpSpPr>
          <p:grpSpPr>
            <a:xfrm>
              <a:off x="8815356" y="1537703"/>
              <a:ext cx="137905" cy="221629"/>
              <a:chOff x="6986136" y="765658"/>
              <a:chExt cx="183552" cy="294989"/>
            </a:xfrm>
            <a:solidFill>
              <a:srgbClr val="F8B68F"/>
            </a:solidFill>
          </p:grpSpPr>
          <p:sp>
            <p:nvSpPr>
              <p:cNvPr id="142" name="Forma Livre: Forma 141">
                <a:extLst>
                  <a:ext uri="{FF2B5EF4-FFF2-40B4-BE49-F238E27FC236}">
                    <a16:creationId xmlns:a16="http://schemas.microsoft.com/office/drawing/2014/main" id="{2CB1503C-540A-DC48-36A7-4A1B99F97A06}"/>
                  </a:ext>
                </a:extLst>
              </p:cNvPr>
              <p:cNvSpPr/>
              <p:nvPr/>
            </p:nvSpPr>
            <p:spPr>
              <a:xfrm>
                <a:off x="6986136" y="765658"/>
                <a:ext cx="138302" cy="261270"/>
              </a:xfrm>
              <a:custGeom>
                <a:avLst/>
                <a:gdLst>
                  <a:gd name="connsiteX0" fmla="*/ 0 w 138302"/>
                  <a:gd name="connsiteY0" fmla="*/ 0 h 261270"/>
                  <a:gd name="connsiteX1" fmla="*/ 22955 w 138302"/>
                  <a:gd name="connsiteY1" fmla="*/ 135922 h 261270"/>
                  <a:gd name="connsiteX2" fmla="*/ 126301 w 138302"/>
                  <a:gd name="connsiteY2" fmla="*/ 261271 h 261270"/>
                  <a:gd name="connsiteX3" fmla="*/ 138303 w 138302"/>
                  <a:gd name="connsiteY3" fmla="*/ 234791 h 261270"/>
                  <a:gd name="connsiteX4" fmla="*/ 79534 w 138302"/>
                  <a:gd name="connsiteY4" fmla="*/ 130588 h 261270"/>
                  <a:gd name="connsiteX5" fmla="*/ 83058 w 138302"/>
                  <a:gd name="connsiteY5" fmla="*/ 22860 h 261270"/>
                  <a:gd name="connsiteX6" fmla="*/ 0 w 138302"/>
                  <a:gd name="connsiteY6" fmla="*/ 0 h 261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8302" h="261270">
                    <a:moveTo>
                      <a:pt x="0" y="0"/>
                    </a:moveTo>
                    <a:cubicBezTo>
                      <a:pt x="0" y="0"/>
                      <a:pt x="5334" y="91821"/>
                      <a:pt x="22955" y="135922"/>
                    </a:cubicBezTo>
                    <a:cubicBezTo>
                      <a:pt x="40576" y="180023"/>
                      <a:pt x="126301" y="261271"/>
                      <a:pt x="126301" y="261271"/>
                    </a:cubicBezTo>
                    <a:lnTo>
                      <a:pt x="138303" y="234791"/>
                    </a:lnTo>
                    <a:lnTo>
                      <a:pt x="79534" y="130588"/>
                    </a:lnTo>
                    <a:lnTo>
                      <a:pt x="83058" y="2286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25A4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143" name="Gráfico 10">
                <a:extLst>
                  <a:ext uri="{FF2B5EF4-FFF2-40B4-BE49-F238E27FC236}">
                    <a16:creationId xmlns:a16="http://schemas.microsoft.com/office/drawing/2014/main" id="{B1B55395-8E7B-C439-8DEE-561928B41B9C}"/>
                  </a:ext>
                </a:extLst>
              </p:cNvPr>
              <p:cNvGrpSpPr/>
              <p:nvPr/>
            </p:nvGrpSpPr>
            <p:grpSpPr>
              <a:xfrm>
                <a:off x="7093196" y="979494"/>
                <a:ext cx="76492" cy="81153"/>
                <a:chOff x="7093196" y="979494"/>
                <a:chExt cx="76492" cy="81153"/>
              </a:xfrm>
              <a:solidFill>
                <a:srgbClr val="F8B68F"/>
              </a:solidFill>
            </p:grpSpPr>
            <p:sp>
              <p:nvSpPr>
                <p:cNvPr id="144" name="Forma Livre: Forma 143">
                  <a:extLst>
                    <a:ext uri="{FF2B5EF4-FFF2-40B4-BE49-F238E27FC236}">
                      <a16:creationId xmlns:a16="http://schemas.microsoft.com/office/drawing/2014/main" id="{E53AFD21-0255-B0F8-DEB0-8684563049E4}"/>
                    </a:ext>
                  </a:extLst>
                </p:cNvPr>
                <p:cNvSpPr/>
                <p:nvPr/>
              </p:nvSpPr>
              <p:spPr>
                <a:xfrm>
                  <a:off x="7093196" y="979494"/>
                  <a:ext cx="76492" cy="81153"/>
                </a:xfrm>
                <a:custGeom>
                  <a:avLst/>
                  <a:gdLst>
                    <a:gd name="connsiteX0" fmla="*/ 31052 w 76492"/>
                    <a:gd name="connsiteY0" fmla="*/ 22289 h 81153"/>
                    <a:gd name="connsiteX1" fmla="*/ 46292 w 76492"/>
                    <a:gd name="connsiteY1" fmla="*/ 45625 h 81153"/>
                    <a:gd name="connsiteX2" fmla="*/ 72390 w 76492"/>
                    <a:gd name="connsiteY2" fmla="*/ 81153 h 81153"/>
                    <a:gd name="connsiteX3" fmla="*/ 35528 w 76492"/>
                    <a:gd name="connsiteY3" fmla="*/ 75247 h 81153"/>
                    <a:gd name="connsiteX4" fmla="*/ 10668 w 76492"/>
                    <a:gd name="connsiteY4" fmla="*/ 47720 h 81153"/>
                    <a:gd name="connsiteX5" fmla="*/ 0 w 76492"/>
                    <a:gd name="connsiteY5" fmla="*/ 14954 h 81153"/>
                    <a:gd name="connsiteX6" fmla="*/ 9144 w 76492"/>
                    <a:gd name="connsiteY6" fmla="*/ 0 h 81153"/>
                    <a:gd name="connsiteX7" fmla="*/ 16002 w 76492"/>
                    <a:gd name="connsiteY7" fmla="*/ 2286 h 81153"/>
                    <a:gd name="connsiteX8" fmla="*/ 31052 w 76492"/>
                    <a:gd name="connsiteY8" fmla="*/ 22289 h 811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6492" h="81153">
                      <a:moveTo>
                        <a:pt x="31052" y="22289"/>
                      </a:moveTo>
                      <a:cubicBezTo>
                        <a:pt x="31528" y="24765"/>
                        <a:pt x="33909" y="33052"/>
                        <a:pt x="46292" y="45625"/>
                      </a:cubicBezTo>
                      <a:cubicBezTo>
                        <a:pt x="57436" y="56864"/>
                        <a:pt x="87344" y="73533"/>
                        <a:pt x="72390" y="81153"/>
                      </a:cubicBezTo>
                      <a:cubicBezTo>
                        <a:pt x="55626" y="77533"/>
                        <a:pt x="35528" y="75247"/>
                        <a:pt x="35528" y="75247"/>
                      </a:cubicBezTo>
                      <a:cubicBezTo>
                        <a:pt x="25622" y="72009"/>
                        <a:pt x="15430" y="57817"/>
                        <a:pt x="10668" y="47720"/>
                      </a:cubicBezTo>
                      <a:lnTo>
                        <a:pt x="0" y="14954"/>
                      </a:lnTo>
                      <a:cubicBezTo>
                        <a:pt x="0" y="14954"/>
                        <a:pt x="8858" y="762"/>
                        <a:pt x="9144" y="0"/>
                      </a:cubicBezTo>
                      <a:lnTo>
                        <a:pt x="16002" y="2286"/>
                      </a:lnTo>
                      <a:cubicBezTo>
                        <a:pt x="20003" y="9811"/>
                        <a:pt x="25051" y="16478"/>
                        <a:pt x="31052" y="22289"/>
                      </a:cubicBezTo>
                      <a:close/>
                    </a:path>
                  </a:pathLst>
                </a:custGeom>
                <a:solidFill>
                  <a:srgbClr val="825A4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5" name="Forma Livre: Forma 144">
                  <a:extLst>
                    <a:ext uri="{FF2B5EF4-FFF2-40B4-BE49-F238E27FC236}">
                      <a16:creationId xmlns:a16="http://schemas.microsoft.com/office/drawing/2014/main" id="{B526224A-C6AA-3433-672F-CAD0FB9555C4}"/>
                    </a:ext>
                  </a:extLst>
                </p:cNvPr>
                <p:cNvSpPr/>
                <p:nvPr/>
              </p:nvSpPr>
              <p:spPr>
                <a:xfrm>
                  <a:off x="7097959" y="987686"/>
                  <a:ext cx="57721" cy="30773"/>
                </a:xfrm>
                <a:custGeom>
                  <a:avLst/>
                  <a:gdLst>
                    <a:gd name="connsiteX0" fmla="*/ 25813 w 57721"/>
                    <a:gd name="connsiteY0" fmla="*/ 22860 h 30773"/>
                    <a:gd name="connsiteX1" fmla="*/ 25908 w 57721"/>
                    <a:gd name="connsiteY1" fmla="*/ 25432 h 30773"/>
                    <a:gd name="connsiteX2" fmla="*/ 19431 w 57721"/>
                    <a:gd name="connsiteY2" fmla="*/ 23622 h 30773"/>
                    <a:gd name="connsiteX3" fmla="*/ 0 w 57721"/>
                    <a:gd name="connsiteY3" fmla="*/ 8287 h 30773"/>
                    <a:gd name="connsiteX4" fmla="*/ 8668 w 57721"/>
                    <a:gd name="connsiteY4" fmla="*/ 0 h 30773"/>
                    <a:gd name="connsiteX5" fmla="*/ 57721 w 57721"/>
                    <a:gd name="connsiteY5" fmla="*/ 25146 h 30773"/>
                    <a:gd name="connsiteX6" fmla="*/ 45911 w 57721"/>
                    <a:gd name="connsiteY6" fmla="*/ 30480 h 30773"/>
                    <a:gd name="connsiteX7" fmla="*/ 25813 w 57721"/>
                    <a:gd name="connsiteY7" fmla="*/ 22860 h 307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7721" h="30773">
                      <a:moveTo>
                        <a:pt x="25813" y="22860"/>
                      </a:moveTo>
                      <a:cubicBezTo>
                        <a:pt x="25813" y="22860"/>
                        <a:pt x="25717" y="23813"/>
                        <a:pt x="25908" y="25432"/>
                      </a:cubicBezTo>
                      <a:cubicBezTo>
                        <a:pt x="23813" y="24670"/>
                        <a:pt x="21622" y="24098"/>
                        <a:pt x="19431" y="23622"/>
                      </a:cubicBezTo>
                      <a:cubicBezTo>
                        <a:pt x="13049" y="18383"/>
                        <a:pt x="6477" y="13430"/>
                        <a:pt x="0" y="8287"/>
                      </a:cubicBezTo>
                      <a:cubicBezTo>
                        <a:pt x="3524" y="5048"/>
                        <a:pt x="8382" y="381"/>
                        <a:pt x="8668" y="0"/>
                      </a:cubicBezTo>
                      <a:lnTo>
                        <a:pt x="57721" y="25146"/>
                      </a:lnTo>
                      <a:cubicBezTo>
                        <a:pt x="57721" y="25146"/>
                        <a:pt x="57341" y="32290"/>
                        <a:pt x="45911" y="30480"/>
                      </a:cubicBezTo>
                      <a:cubicBezTo>
                        <a:pt x="34576" y="28765"/>
                        <a:pt x="25813" y="22860"/>
                        <a:pt x="25813" y="22860"/>
                      </a:cubicBezTo>
                      <a:close/>
                    </a:path>
                  </a:pathLst>
                </a:custGeom>
                <a:solidFill>
                  <a:srgbClr val="825A4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32" name="Forma Livre: Forma 31">
              <a:extLst>
                <a:ext uri="{FF2B5EF4-FFF2-40B4-BE49-F238E27FC236}">
                  <a16:creationId xmlns:a16="http://schemas.microsoft.com/office/drawing/2014/main" id="{9A0E7EFC-2EF3-D6E5-CD21-08D8D9DEE3C4}"/>
                </a:ext>
              </a:extLst>
            </p:cNvPr>
            <p:cNvSpPr/>
            <p:nvPr/>
          </p:nvSpPr>
          <p:spPr>
            <a:xfrm>
              <a:off x="8520947" y="1484747"/>
              <a:ext cx="219411" cy="245628"/>
            </a:xfrm>
            <a:custGeom>
              <a:avLst/>
              <a:gdLst>
                <a:gd name="connsiteX0" fmla="*/ 192405 w 292037"/>
                <a:gd name="connsiteY0" fmla="*/ 0 h 326931"/>
                <a:gd name="connsiteX1" fmla="*/ 132398 w 292037"/>
                <a:gd name="connsiteY1" fmla="*/ 98679 h 326931"/>
                <a:gd name="connsiteX2" fmla="*/ 185357 w 292037"/>
                <a:gd name="connsiteY2" fmla="*/ 257175 h 326931"/>
                <a:gd name="connsiteX3" fmla="*/ 7239 w 292037"/>
                <a:gd name="connsiteY3" fmla="*/ 234601 h 326931"/>
                <a:gd name="connsiteX4" fmla="*/ 0 w 292037"/>
                <a:gd name="connsiteY4" fmla="*/ 271177 h 326931"/>
                <a:gd name="connsiteX5" fmla="*/ 273653 w 292037"/>
                <a:gd name="connsiteY5" fmla="*/ 314992 h 326931"/>
                <a:gd name="connsiteX6" fmla="*/ 282512 w 292037"/>
                <a:gd name="connsiteY6" fmla="*/ 107537 h 326931"/>
                <a:gd name="connsiteX7" fmla="*/ 192405 w 292037"/>
                <a:gd name="connsiteY7" fmla="*/ 0 h 326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2037" h="326931">
                  <a:moveTo>
                    <a:pt x="192405" y="0"/>
                  </a:moveTo>
                  <a:cubicBezTo>
                    <a:pt x="192405" y="0"/>
                    <a:pt x="135922" y="43434"/>
                    <a:pt x="132398" y="98679"/>
                  </a:cubicBezTo>
                  <a:cubicBezTo>
                    <a:pt x="128873" y="153924"/>
                    <a:pt x="185357" y="257175"/>
                    <a:pt x="185357" y="257175"/>
                  </a:cubicBezTo>
                  <a:cubicBezTo>
                    <a:pt x="185357" y="257175"/>
                    <a:pt x="122111" y="204216"/>
                    <a:pt x="7239" y="234601"/>
                  </a:cubicBezTo>
                  <a:cubicBezTo>
                    <a:pt x="0" y="264890"/>
                    <a:pt x="0" y="271177"/>
                    <a:pt x="0" y="271177"/>
                  </a:cubicBezTo>
                  <a:cubicBezTo>
                    <a:pt x="0" y="271177"/>
                    <a:pt x="238316" y="357950"/>
                    <a:pt x="273653" y="314992"/>
                  </a:cubicBezTo>
                  <a:cubicBezTo>
                    <a:pt x="308991" y="272034"/>
                    <a:pt x="282512" y="107537"/>
                    <a:pt x="282512" y="107537"/>
                  </a:cubicBezTo>
                  <a:lnTo>
                    <a:pt x="192405" y="0"/>
                  </a:lnTo>
                  <a:close/>
                </a:path>
              </a:pathLst>
            </a:custGeom>
            <a:solidFill>
              <a:srgbClr val="1322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orma Livre: Forma 32">
              <a:extLst>
                <a:ext uri="{FF2B5EF4-FFF2-40B4-BE49-F238E27FC236}">
                  <a16:creationId xmlns:a16="http://schemas.microsoft.com/office/drawing/2014/main" id="{71A1209E-519E-D271-3B35-4B1049F538A8}"/>
                </a:ext>
              </a:extLst>
            </p:cNvPr>
            <p:cNvSpPr/>
            <p:nvPr/>
          </p:nvSpPr>
          <p:spPr>
            <a:xfrm>
              <a:off x="8479012" y="1651058"/>
              <a:ext cx="34421" cy="83298"/>
            </a:xfrm>
            <a:custGeom>
              <a:avLst/>
              <a:gdLst>
                <a:gd name="connsiteX0" fmla="*/ 42767 w 45815"/>
                <a:gd name="connsiteY0" fmla="*/ 41053 h 110870"/>
                <a:gd name="connsiteX1" fmla="*/ 20955 w 45815"/>
                <a:gd name="connsiteY1" fmla="*/ 99727 h 110870"/>
                <a:gd name="connsiteX2" fmla="*/ 12478 w 45815"/>
                <a:gd name="connsiteY2" fmla="*/ 110871 h 110870"/>
                <a:gd name="connsiteX3" fmla="*/ 0 w 45815"/>
                <a:gd name="connsiteY3" fmla="*/ 60484 h 110870"/>
                <a:gd name="connsiteX4" fmla="*/ 13335 w 45815"/>
                <a:gd name="connsiteY4" fmla="*/ 25432 h 110870"/>
                <a:gd name="connsiteX5" fmla="*/ 5810 w 45815"/>
                <a:gd name="connsiteY5" fmla="*/ 19717 h 110870"/>
                <a:gd name="connsiteX6" fmla="*/ 18193 w 45815"/>
                <a:gd name="connsiteY6" fmla="*/ 0 h 110870"/>
                <a:gd name="connsiteX7" fmla="*/ 45815 w 45815"/>
                <a:gd name="connsiteY7" fmla="*/ 14859 h 110870"/>
                <a:gd name="connsiteX8" fmla="*/ 42767 w 45815"/>
                <a:gd name="connsiteY8" fmla="*/ 41053 h 110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815" h="110870">
                  <a:moveTo>
                    <a:pt x="42767" y="41053"/>
                  </a:moveTo>
                  <a:cubicBezTo>
                    <a:pt x="42767" y="41053"/>
                    <a:pt x="24955" y="46577"/>
                    <a:pt x="20955" y="99727"/>
                  </a:cubicBezTo>
                  <a:cubicBezTo>
                    <a:pt x="20098" y="110680"/>
                    <a:pt x="16383" y="108014"/>
                    <a:pt x="12478" y="110871"/>
                  </a:cubicBezTo>
                  <a:cubicBezTo>
                    <a:pt x="8953" y="94488"/>
                    <a:pt x="0" y="60484"/>
                    <a:pt x="0" y="60484"/>
                  </a:cubicBezTo>
                  <a:lnTo>
                    <a:pt x="13335" y="25432"/>
                  </a:lnTo>
                  <a:lnTo>
                    <a:pt x="5810" y="19717"/>
                  </a:lnTo>
                  <a:lnTo>
                    <a:pt x="18193" y="0"/>
                  </a:lnTo>
                  <a:cubicBezTo>
                    <a:pt x="18193" y="0"/>
                    <a:pt x="42958" y="2572"/>
                    <a:pt x="45815" y="14859"/>
                  </a:cubicBezTo>
                  <a:cubicBezTo>
                    <a:pt x="44482" y="25813"/>
                    <a:pt x="42767" y="41053"/>
                    <a:pt x="42767" y="41053"/>
                  </a:cubicBezTo>
                  <a:close/>
                </a:path>
              </a:pathLst>
            </a:custGeom>
            <a:solidFill>
              <a:srgbClr val="EE73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34" name="Gráfico 10">
              <a:extLst>
                <a:ext uri="{FF2B5EF4-FFF2-40B4-BE49-F238E27FC236}">
                  <a16:creationId xmlns:a16="http://schemas.microsoft.com/office/drawing/2014/main" id="{2244E18F-1EC1-ED13-BA1A-8F7A9099B6B9}"/>
                </a:ext>
              </a:extLst>
            </p:cNvPr>
            <p:cNvGrpSpPr/>
            <p:nvPr/>
          </p:nvGrpSpPr>
          <p:grpSpPr>
            <a:xfrm>
              <a:off x="9867253" y="2675478"/>
              <a:ext cx="462866" cy="914141"/>
              <a:chOff x="8386215" y="2280038"/>
              <a:chExt cx="616076" cy="1216723"/>
            </a:xfrm>
            <a:solidFill>
              <a:srgbClr val="0070C0"/>
            </a:solidFill>
          </p:grpSpPr>
          <p:sp>
            <p:nvSpPr>
              <p:cNvPr id="131" name="Forma Livre: Forma 130">
                <a:extLst>
                  <a:ext uri="{FF2B5EF4-FFF2-40B4-BE49-F238E27FC236}">
                    <a16:creationId xmlns:a16="http://schemas.microsoft.com/office/drawing/2014/main" id="{38303DD9-1B90-6CB2-E996-1B549442B74B}"/>
                  </a:ext>
                </a:extLst>
              </p:cNvPr>
              <p:cNvSpPr/>
              <p:nvPr/>
            </p:nvSpPr>
            <p:spPr>
              <a:xfrm>
                <a:off x="8588621" y="2280038"/>
                <a:ext cx="413670" cy="1216723"/>
              </a:xfrm>
              <a:custGeom>
                <a:avLst/>
                <a:gdLst>
                  <a:gd name="connsiteX0" fmla="*/ 391382 w 413670"/>
                  <a:gd name="connsiteY0" fmla="*/ 1216724 h 1216723"/>
                  <a:gd name="connsiteX1" fmla="*/ 0 w 413670"/>
                  <a:gd name="connsiteY1" fmla="*/ 0 h 1216723"/>
                  <a:gd name="connsiteX2" fmla="*/ 22288 w 413670"/>
                  <a:gd name="connsiteY2" fmla="*/ 0 h 1216723"/>
                  <a:gd name="connsiteX3" fmla="*/ 413671 w 413670"/>
                  <a:gd name="connsiteY3" fmla="*/ 1216724 h 1216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3670" h="1216723">
                    <a:moveTo>
                      <a:pt x="391382" y="1216724"/>
                    </a:moveTo>
                    <a:lnTo>
                      <a:pt x="0" y="0"/>
                    </a:lnTo>
                    <a:lnTo>
                      <a:pt x="22288" y="0"/>
                    </a:lnTo>
                    <a:lnTo>
                      <a:pt x="413671" y="121672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2" name="Forma Livre: Forma 131">
                <a:extLst>
                  <a:ext uri="{FF2B5EF4-FFF2-40B4-BE49-F238E27FC236}">
                    <a16:creationId xmlns:a16="http://schemas.microsoft.com/office/drawing/2014/main" id="{9B69881B-7AFD-1432-5BF0-45256867A6A4}"/>
                  </a:ext>
                </a:extLst>
              </p:cNvPr>
              <p:cNvSpPr/>
              <p:nvPr/>
            </p:nvSpPr>
            <p:spPr>
              <a:xfrm>
                <a:off x="8386215" y="2280038"/>
                <a:ext cx="413670" cy="1216723"/>
              </a:xfrm>
              <a:custGeom>
                <a:avLst/>
                <a:gdLst>
                  <a:gd name="connsiteX0" fmla="*/ 391382 w 413670"/>
                  <a:gd name="connsiteY0" fmla="*/ 1216724 h 1216723"/>
                  <a:gd name="connsiteX1" fmla="*/ 0 w 413670"/>
                  <a:gd name="connsiteY1" fmla="*/ 0 h 1216723"/>
                  <a:gd name="connsiteX2" fmla="*/ 22288 w 413670"/>
                  <a:gd name="connsiteY2" fmla="*/ 0 h 1216723"/>
                  <a:gd name="connsiteX3" fmla="*/ 413671 w 413670"/>
                  <a:gd name="connsiteY3" fmla="*/ 1216724 h 1216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3670" h="1216723">
                    <a:moveTo>
                      <a:pt x="391382" y="1216724"/>
                    </a:moveTo>
                    <a:lnTo>
                      <a:pt x="0" y="0"/>
                    </a:lnTo>
                    <a:lnTo>
                      <a:pt x="22288" y="0"/>
                    </a:lnTo>
                    <a:lnTo>
                      <a:pt x="413671" y="121672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3" name="Forma Livre: Forma 132">
                <a:extLst>
                  <a:ext uri="{FF2B5EF4-FFF2-40B4-BE49-F238E27FC236}">
                    <a16:creationId xmlns:a16="http://schemas.microsoft.com/office/drawing/2014/main" id="{CD409683-598A-267B-0E66-9DEC5E86FFBF}"/>
                  </a:ext>
                </a:extLst>
              </p:cNvPr>
              <p:cNvSpPr/>
              <p:nvPr/>
            </p:nvSpPr>
            <p:spPr>
              <a:xfrm>
                <a:off x="8498991" y="2595887"/>
                <a:ext cx="213264" cy="18287"/>
              </a:xfrm>
              <a:custGeom>
                <a:avLst/>
                <a:gdLst>
                  <a:gd name="connsiteX0" fmla="*/ 213265 w 213264"/>
                  <a:gd name="connsiteY0" fmla="*/ 95 h 18287"/>
                  <a:gd name="connsiteX1" fmla="*/ 213265 w 213264"/>
                  <a:gd name="connsiteY1" fmla="*/ 18288 h 18287"/>
                  <a:gd name="connsiteX2" fmla="*/ 3620 w 213264"/>
                  <a:gd name="connsiteY2" fmla="*/ 18193 h 18287"/>
                  <a:gd name="connsiteX3" fmla="*/ 0 w 213264"/>
                  <a:gd name="connsiteY3" fmla="*/ 0 h 18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3264" h="18287">
                    <a:moveTo>
                      <a:pt x="213265" y="95"/>
                    </a:moveTo>
                    <a:lnTo>
                      <a:pt x="213265" y="18288"/>
                    </a:lnTo>
                    <a:lnTo>
                      <a:pt x="3620" y="181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4" name="Forma Livre: Forma 133">
                <a:extLst>
                  <a:ext uri="{FF2B5EF4-FFF2-40B4-BE49-F238E27FC236}">
                    <a16:creationId xmlns:a16="http://schemas.microsoft.com/office/drawing/2014/main" id="{69DCF88C-B760-8CAE-1173-31901E0F5086}"/>
                  </a:ext>
                </a:extLst>
              </p:cNvPr>
              <p:cNvSpPr/>
              <p:nvPr/>
            </p:nvSpPr>
            <p:spPr>
              <a:xfrm>
                <a:off x="8455653" y="2477967"/>
                <a:ext cx="213264" cy="18287"/>
              </a:xfrm>
              <a:custGeom>
                <a:avLst/>
                <a:gdLst>
                  <a:gd name="connsiteX0" fmla="*/ 213265 w 213264"/>
                  <a:gd name="connsiteY0" fmla="*/ 191 h 18287"/>
                  <a:gd name="connsiteX1" fmla="*/ 213265 w 213264"/>
                  <a:gd name="connsiteY1" fmla="*/ 18288 h 18287"/>
                  <a:gd name="connsiteX2" fmla="*/ 3620 w 213264"/>
                  <a:gd name="connsiteY2" fmla="*/ 18193 h 18287"/>
                  <a:gd name="connsiteX3" fmla="*/ 0 w 213264"/>
                  <a:gd name="connsiteY3" fmla="*/ 0 h 18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3264" h="18287">
                    <a:moveTo>
                      <a:pt x="213265" y="191"/>
                    </a:moveTo>
                    <a:lnTo>
                      <a:pt x="213265" y="18288"/>
                    </a:lnTo>
                    <a:lnTo>
                      <a:pt x="3620" y="181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5" name="Forma Livre: Forma 134">
                <a:extLst>
                  <a:ext uri="{FF2B5EF4-FFF2-40B4-BE49-F238E27FC236}">
                    <a16:creationId xmlns:a16="http://schemas.microsoft.com/office/drawing/2014/main" id="{D602FCC0-8BDE-0503-C519-49BA26733ED8}"/>
                  </a:ext>
                </a:extLst>
              </p:cNvPr>
              <p:cNvSpPr/>
              <p:nvPr/>
            </p:nvSpPr>
            <p:spPr>
              <a:xfrm>
                <a:off x="8419838" y="2360143"/>
                <a:ext cx="213264" cy="18192"/>
              </a:xfrm>
              <a:custGeom>
                <a:avLst/>
                <a:gdLst>
                  <a:gd name="connsiteX0" fmla="*/ 213265 w 213264"/>
                  <a:gd name="connsiteY0" fmla="*/ 95 h 18192"/>
                  <a:gd name="connsiteX1" fmla="*/ 213265 w 213264"/>
                  <a:gd name="connsiteY1" fmla="*/ 18193 h 18192"/>
                  <a:gd name="connsiteX2" fmla="*/ 3524 w 213264"/>
                  <a:gd name="connsiteY2" fmla="*/ 18097 h 18192"/>
                  <a:gd name="connsiteX3" fmla="*/ 0 w 213264"/>
                  <a:gd name="connsiteY3" fmla="*/ 0 h 18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3264" h="18192">
                    <a:moveTo>
                      <a:pt x="213265" y="95"/>
                    </a:moveTo>
                    <a:lnTo>
                      <a:pt x="213265" y="18193"/>
                    </a:lnTo>
                    <a:lnTo>
                      <a:pt x="3524" y="18097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6" name="Forma Livre: Forma 135">
                <a:extLst>
                  <a:ext uri="{FF2B5EF4-FFF2-40B4-BE49-F238E27FC236}">
                    <a16:creationId xmlns:a16="http://schemas.microsoft.com/office/drawing/2014/main" id="{2AC9C59F-BFB0-304C-39D9-78F23CD6B22E}"/>
                  </a:ext>
                </a:extLst>
              </p:cNvPr>
              <p:cNvSpPr/>
              <p:nvPr/>
            </p:nvSpPr>
            <p:spPr>
              <a:xfrm>
                <a:off x="8537187" y="2715330"/>
                <a:ext cx="213264" cy="18287"/>
              </a:xfrm>
              <a:custGeom>
                <a:avLst/>
                <a:gdLst>
                  <a:gd name="connsiteX0" fmla="*/ 213265 w 213264"/>
                  <a:gd name="connsiteY0" fmla="*/ 95 h 18287"/>
                  <a:gd name="connsiteX1" fmla="*/ 213265 w 213264"/>
                  <a:gd name="connsiteY1" fmla="*/ 18288 h 18287"/>
                  <a:gd name="connsiteX2" fmla="*/ 3620 w 213264"/>
                  <a:gd name="connsiteY2" fmla="*/ 18098 h 18287"/>
                  <a:gd name="connsiteX3" fmla="*/ 0 w 213264"/>
                  <a:gd name="connsiteY3" fmla="*/ 0 h 18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3264" h="18287">
                    <a:moveTo>
                      <a:pt x="213265" y="95"/>
                    </a:moveTo>
                    <a:lnTo>
                      <a:pt x="213265" y="18288"/>
                    </a:lnTo>
                    <a:lnTo>
                      <a:pt x="3620" y="1809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7" name="Forma Livre: Forma 136">
                <a:extLst>
                  <a:ext uri="{FF2B5EF4-FFF2-40B4-BE49-F238E27FC236}">
                    <a16:creationId xmlns:a16="http://schemas.microsoft.com/office/drawing/2014/main" id="{997C07FE-96D2-5FC3-2A41-CC4D6B372D3A}"/>
                  </a:ext>
                </a:extLst>
              </p:cNvPr>
              <p:cNvSpPr/>
              <p:nvPr/>
            </p:nvSpPr>
            <p:spPr>
              <a:xfrm>
                <a:off x="8573096" y="2834678"/>
                <a:ext cx="213264" cy="18288"/>
              </a:xfrm>
              <a:custGeom>
                <a:avLst/>
                <a:gdLst>
                  <a:gd name="connsiteX0" fmla="*/ 213265 w 213264"/>
                  <a:gd name="connsiteY0" fmla="*/ 191 h 18288"/>
                  <a:gd name="connsiteX1" fmla="*/ 213265 w 213264"/>
                  <a:gd name="connsiteY1" fmla="*/ 18288 h 18288"/>
                  <a:gd name="connsiteX2" fmla="*/ 3524 w 213264"/>
                  <a:gd name="connsiteY2" fmla="*/ 18193 h 18288"/>
                  <a:gd name="connsiteX3" fmla="*/ 0 w 213264"/>
                  <a:gd name="connsiteY3" fmla="*/ 0 h 18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3264" h="18288">
                    <a:moveTo>
                      <a:pt x="213265" y="191"/>
                    </a:moveTo>
                    <a:lnTo>
                      <a:pt x="213265" y="18288"/>
                    </a:lnTo>
                    <a:lnTo>
                      <a:pt x="3524" y="181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8" name="Forma Livre: Forma 137">
                <a:extLst>
                  <a:ext uri="{FF2B5EF4-FFF2-40B4-BE49-F238E27FC236}">
                    <a16:creationId xmlns:a16="http://schemas.microsoft.com/office/drawing/2014/main" id="{30DFF5B6-213F-93B9-AFB9-0A0302A02789}"/>
                  </a:ext>
                </a:extLst>
              </p:cNvPr>
              <p:cNvSpPr/>
              <p:nvPr/>
            </p:nvSpPr>
            <p:spPr>
              <a:xfrm>
                <a:off x="8618625" y="2958789"/>
                <a:ext cx="213264" cy="18288"/>
              </a:xfrm>
              <a:custGeom>
                <a:avLst/>
                <a:gdLst>
                  <a:gd name="connsiteX0" fmla="*/ 204788 w 213264"/>
                  <a:gd name="connsiteY0" fmla="*/ 95 h 18288"/>
                  <a:gd name="connsiteX1" fmla="*/ 213265 w 213264"/>
                  <a:gd name="connsiteY1" fmla="*/ 18288 h 18288"/>
                  <a:gd name="connsiteX2" fmla="*/ 3524 w 213264"/>
                  <a:gd name="connsiteY2" fmla="*/ 18097 h 18288"/>
                  <a:gd name="connsiteX3" fmla="*/ 0 w 213264"/>
                  <a:gd name="connsiteY3" fmla="*/ 0 h 18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3264" h="18288">
                    <a:moveTo>
                      <a:pt x="204788" y="95"/>
                    </a:moveTo>
                    <a:lnTo>
                      <a:pt x="213265" y="18288"/>
                    </a:lnTo>
                    <a:lnTo>
                      <a:pt x="3524" y="18097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9" name="Forma Livre: Forma 138">
                <a:extLst>
                  <a:ext uri="{FF2B5EF4-FFF2-40B4-BE49-F238E27FC236}">
                    <a16:creationId xmlns:a16="http://schemas.microsoft.com/office/drawing/2014/main" id="{62368B50-495D-DB7F-CF6D-BF3D6DF007EB}"/>
                  </a:ext>
                </a:extLst>
              </p:cNvPr>
              <p:cNvSpPr/>
              <p:nvPr/>
            </p:nvSpPr>
            <p:spPr>
              <a:xfrm>
                <a:off x="8657963" y="3082805"/>
                <a:ext cx="213264" cy="18287"/>
              </a:xfrm>
              <a:custGeom>
                <a:avLst/>
                <a:gdLst>
                  <a:gd name="connsiteX0" fmla="*/ 204788 w 213264"/>
                  <a:gd name="connsiteY0" fmla="*/ 190 h 18287"/>
                  <a:gd name="connsiteX1" fmla="*/ 213265 w 213264"/>
                  <a:gd name="connsiteY1" fmla="*/ 18288 h 18287"/>
                  <a:gd name="connsiteX2" fmla="*/ 3524 w 213264"/>
                  <a:gd name="connsiteY2" fmla="*/ 18192 h 18287"/>
                  <a:gd name="connsiteX3" fmla="*/ 0 w 213264"/>
                  <a:gd name="connsiteY3" fmla="*/ 0 h 18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3264" h="18287">
                    <a:moveTo>
                      <a:pt x="204788" y="190"/>
                    </a:moveTo>
                    <a:lnTo>
                      <a:pt x="213265" y="18288"/>
                    </a:lnTo>
                    <a:lnTo>
                      <a:pt x="3524" y="18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0" name="Forma Livre: Forma 139">
                <a:extLst>
                  <a:ext uri="{FF2B5EF4-FFF2-40B4-BE49-F238E27FC236}">
                    <a16:creationId xmlns:a16="http://schemas.microsoft.com/office/drawing/2014/main" id="{4A2C89FC-D8F9-C366-7693-DD239BEC4A20}"/>
                  </a:ext>
                </a:extLst>
              </p:cNvPr>
              <p:cNvSpPr/>
              <p:nvPr/>
            </p:nvSpPr>
            <p:spPr>
              <a:xfrm>
                <a:off x="8694730" y="3204153"/>
                <a:ext cx="213264" cy="18287"/>
              </a:xfrm>
              <a:custGeom>
                <a:avLst/>
                <a:gdLst>
                  <a:gd name="connsiteX0" fmla="*/ 204788 w 213264"/>
                  <a:gd name="connsiteY0" fmla="*/ 95 h 18287"/>
                  <a:gd name="connsiteX1" fmla="*/ 213265 w 213264"/>
                  <a:gd name="connsiteY1" fmla="*/ 18288 h 18287"/>
                  <a:gd name="connsiteX2" fmla="*/ 3619 w 213264"/>
                  <a:gd name="connsiteY2" fmla="*/ 18097 h 18287"/>
                  <a:gd name="connsiteX3" fmla="*/ 0 w 213264"/>
                  <a:gd name="connsiteY3" fmla="*/ 0 h 18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3264" h="18287">
                    <a:moveTo>
                      <a:pt x="204788" y="95"/>
                    </a:moveTo>
                    <a:lnTo>
                      <a:pt x="213265" y="18288"/>
                    </a:lnTo>
                    <a:lnTo>
                      <a:pt x="3619" y="18097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1" name="Forma Livre: Forma 140">
                <a:extLst>
                  <a:ext uri="{FF2B5EF4-FFF2-40B4-BE49-F238E27FC236}">
                    <a16:creationId xmlns:a16="http://schemas.microsoft.com/office/drawing/2014/main" id="{0B444B6A-4552-6C52-CB66-20F81EFAED84}"/>
                  </a:ext>
                </a:extLst>
              </p:cNvPr>
              <p:cNvSpPr/>
              <p:nvPr/>
            </p:nvSpPr>
            <p:spPr>
              <a:xfrm>
                <a:off x="8725210" y="3328074"/>
                <a:ext cx="213359" cy="18287"/>
              </a:xfrm>
              <a:custGeom>
                <a:avLst/>
                <a:gdLst>
                  <a:gd name="connsiteX0" fmla="*/ 204883 w 213359"/>
                  <a:gd name="connsiteY0" fmla="*/ 95 h 18287"/>
                  <a:gd name="connsiteX1" fmla="*/ 213360 w 213359"/>
                  <a:gd name="connsiteY1" fmla="*/ 18288 h 18287"/>
                  <a:gd name="connsiteX2" fmla="*/ 3620 w 213359"/>
                  <a:gd name="connsiteY2" fmla="*/ 18192 h 18287"/>
                  <a:gd name="connsiteX3" fmla="*/ 0 w 213359"/>
                  <a:gd name="connsiteY3" fmla="*/ 0 h 18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3359" h="18287">
                    <a:moveTo>
                      <a:pt x="204883" y="95"/>
                    </a:moveTo>
                    <a:lnTo>
                      <a:pt x="213360" y="18288"/>
                    </a:lnTo>
                    <a:lnTo>
                      <a:pt x="3620" y="18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35" name="Gráfico 10">
              <a:extLst>
                <a:ext uri="{FF2B5EF4-FFF2-40B4-BE49-F238E27FC236}">
                  <a16:creationId xmlns:a16="http://schemas.microsoft.com/office/drawing/2014/main" id="{A7E2ECB1-36FE-9AF8-E796-DCF1AEFD7090}"/>
                </a:ext>
              </a:extLst>
            </p:cNvPr>
            <p:cNvGrpSpPr/>
            <p:nvPr/>
          </p:nvGrpSpPr>
          <p:grpSpPr>
            <a:xfrm>
              <a:off x="9563685" y="2675478"/>
              <a:ext cx="462867" cy="914141"/>
              <a:chOff x="7982165" y="2280038"/>
              <a:chExt cx="616077" cy="1216723"/>
            </a:xfrm>
            <a:solidFill>
              <a:srgbClr val="0070C0"/>
            </a:solidFill>
          </p:grpSpPr>
          <p:sp>
            <p:nvSpPr>
              <p:cNvPr id="120" name="Forma Livre: Forma 119">
                <a:extLst>
                  <a:ext uri="{FF2B5EF4-FFF2-40B4-BE49-F238E27FC236}">
                    <a16:creationId xmlns:a16="http://schemas.microsoft.com/office/drawing/2014/main" id="{FD6B2D60-3C2B-C6BB-BE6B-391520484BA6}"/>
                  </a:ext>
                </a:extLst>
              </p:cNvPr>
              <p:cNvSpPr/>
              <p:nvPr/>
            </p:nvSpPr>
            <p:spPr>
              <a:xfrm>
                <a:off x="7982165" y="2280038"/>
                <a:ext cx="413670" cy="1216723"/>
              </a:xfrm>
              <a:custGeom>
                <a:avLst/>
                <a:gdLst>
                  <a:gd name="connsiteX0" fmla="*/ 22288 w 413670"/>
                  <a:gd name="connsiteY0" fmla="*/ 1216724 h 1216723"/>
                  <a:gd name="connsiteX1" fmla="*/ 413671 w 413670"/>
                  <a:gd name="connsiteY1" fmla="*/ 0 h 1216723"/>
                  <a:gd name="connsiteX2" fmla="*/ 391382 w 413670"/>
                  <a:gd name="connsiteY2" fmla="*/ 0 h 1216723"/>
                  <a:gd name="connsiteX3" fmla="*/ 0 w 413670"/>
                  <a:gd name="connsiteY3" fmla="*/ 1216724 h 1216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3670" h="1216723">
                    <a:moveTo>
                      <a:pt x="22288" y="1216724"/>
                    </a:moveTo>
                    <a:lnTo>
                      <a:pt x="413671" y="0"/>
                    </a:lnTo>
                    <a:lnTo>
                      <a:pt x="391382" y="0"/>
                    </a:lnTo>
                    <a:lnTo>
                      <a:pt x="0" y="121672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1" name="Forma Livre: Forma 120">
                <a:extLst>
                  <a:ext uri="{FF2B5EF4-FFF2-40B4-BE49-F238E27FC236}">
                    <a16:creationId xmlns:a16="http://schemas.microsoft.com/office/drawing/2014/main" id="{120E5B75-2F54-1690-8B56-24A3512165FE}"/>
                  </a:ext>
                </a:extLst>
              </p:cNvPr>
              <p:cNvSpPr/>
              <p:nvPr/>
            </p:nvSpPr>
            <p:spPr>
              <a:xfrm>
                <a:off x="8184476" y="2280038"/>
                <a:ext cx="413766" cy="1216723"/>
              </a:xfrm>
              <a:custGeom>
                <a:avLst/>
                <a:gdLst>
                  <a:gd name="connsiteX0" fmla="*/ 22384 w 413766"/>
                  <a:gd name="connsiteY0" fmla="*/ 1216724 h 1216723"/>
                  <a:gd name="connsiteX1" fmla="*/ 413766 w 413766"/>
                  <a:gd name="connsiteY1" fmla="*/ 0 h 1216723"/>
                  <a:gd name="connsiteX2" fmla="*/ 391478 w 413766"/>
                  <a:gd name="connsiteY2" fmla="*/ 0 h 1216723"/>
                  <a:gd name="connsiteX3" fmla="*/ 0 w 413766"/>
                  <a:gd name="connsiteY3" fmla="*/ 1216724 h 1216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3766" h="1216723">
                    <a:moveTo>
                      <a:pt x="22384" y="1216724"/>
                    </a:moveTo>
                    <a:lnTo>
                      <a:pt x="413766" y="0"/>
                    </a:lnTo>
                    <a:lnTo>
                      <a:pt x="391478" y="0"/>
                    </a:lnTo>
                    <a:lnTo>
                      <a:pt x="0" y="121672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2" name="Forma Livre: Forma 121">
                <a:extLst>
                  <a:ext uri="{FF2B5EF4-FFF2-40B4-BE49-F238E27FC236}">
                    <a16:creationId xmlns:a16="http://schemas.microsoft.com/office/drawing/2014/main" id="{18BAFDD8-B259-9A51-2CBA-CF2D12125D08}"/>
                  </a:ext>
                </a:extLst>
              </p:cNvPr>
              <p:cNvSpPr/>
              <p:nvPr/>
            </p:nvSpPr>
            <p:spPr>
              <a:xfrm>
                <a:off x="8272106" y="2595887"/>
                <a:ext cx="213360" cy="18287"/>
              </a:xfrm>
              <a:custGeom>
                <a:avLst/>
                <a:gdLst>
                  <a:gd name="connsiteX0" fmla="*/ 0 w 213360"/>
                  <a:gd name="connsiteY0" fmla="*/ 95 h 18287"/>
                  <a:gd name="connsiteX1" fmla="*/ 0 w 213360"/>
                  <a:gd name="connsiteY1" fmla="*/ 18288 h 18287"/>
                  <a:gd name="connsiteX2" fmla="*/ 209741 w 213360"/>
                  <a:gd name="connsiteY2" fmla="*/ 18193 h 18287"/>
                  <a:gd name="connsiteX3" fmla="*/ 213360 w 213360"/>
                  <a:gd name="connsiteY3" fmla="*/ 0 h 18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3360" h="18287">
                    <a:moveTo>
                      <a:pt x="0" y="95"/>
                    </a:moveTo>
                    <a:lnTo>
                      <a:pt x="0" y="18288"/>
                    </a:lnTo>
                    <a:lnTo>
                      <a:pt x="209741" y="18193"/>
                    </a:lnTo>
                    <a:lnTo>
                      <a:pt x="21336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3" name="Forma Livre: Forma 122">
                <a:extLst>
                  <a:ext uri="{FF2B5EF4-FFF2-40B4-BE49-F238E27FC236}">
                    <a16:creationId xmlns:a16="http://schemas.microsoft.com/office/drawing/2014/main" id="{09CDA4D9-A324-9AA3-C617-A786492755B5}"/>
                  </a:ext>
                </a:extLst>
              </p:cNvPr>
              <p:cNvSpPr/>
              <p:nvPr/>
            </p:nvSpPr>
            <p:spPr>
              <a:xfrm>
                <a:off x="8315540" y="2477967"/>
                <a:ext cx="213264" cy="18287"/>
              </a:xfrm>
              <a:custGeom>
                <a:avLst/>
                <a:gdLst>
                  <a:gd name="connsiteX0" fmla="*/ 0 w 213264"/>
                  <a:gd name="connsiteY0" fmla="*/ 191 h 18287"/>
                  <a:gd name="connsiteX1" fmla="*/ 0 w 213264"/>
                  <a:gd name="connsiteY1" fmla="*/ 18288 h 18287"/>
                  <a:gd name="connsiteX2" fmla="*/ 209645 w 213264"/>
                  <a:gd name="connsiteY2" fmla="*/ 18193 h 18287"/>
                  <a:gd name="connsiteX3" fmla="*/ 213265 w 213264"/>
                  <a:gd name="connsiteY3" fmla="*/ 0 h 18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3264" h="18287">
                    <a:moveTo>
                      <a:pt x="0" y="191"/>
                    </a:moveTo>
                    <a:lnTo>
                      <a:pt x="0" y="18288"/>
                    </a:lnTo>
                    <a:lnTo>
                      <a:pt x="209645" y="18193"/>
                    </a:lnTo>
                    <a:lnTo>
                      <a:pt x="213265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4" name="Forma Livre: Forma 123">
                <a:extLst>
                  <a:ext uri="{FF2B5EF4-FFF2-40B4-BE49-F238E27FC236}">
                    <a16:creationId xmlns:a16="http://schemas.microsoft.com/office/drawing/2014/main" id="{24A11CBE-0A4B-5445-63A3-28221934C30B}"/>
                  </a:ext>
                </a:extLst>
              </p:cNvPr>
              <p:cNvSpPr/>
              <p:nvPr/>
            </p:nvSpPr>
            <p:spPr>
              <a:xfrm>
                <a:off x="8351354" y="2360143"/>
                <a:ext cx="213264" cy="18192"/>
              </a:xfrm>
              <a:custGeom>
                <a:avLst/>
                <a:gdLst>
                  <a:gd name="connsiteX0" fmla="*/ 0 w 213264"/>
                  <a:gd name="connsiteY0" fmla="*/ 95 h 18192"/>
                  <a:gd name="connsiteX1" fmla="*/ 0 w 213264"/>
                  <a:gd name="connsiteY1" fmla="*/ 18193 h 18192"/>
                  <a:gd name="connsiteX2" fmla="*/ 209645 w 213264"/>
                  <a:gd name="connsiteY2" fmla="*/ 18097 h 18192"/>
                  <a:gd name="connsiteX3" fmla="*/ 213265 w 213264"/>
                  <a:gd name="connsiteY3" fmla="*/ 0 h 18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3264" h="18192">
                    <a:moveTo>
                      <a:pt x="0" y="95"/>
                    </a:moveTo>
                    <a:lnTo>
                      <a:pt x="0" y="18193"/>
                    </a:lnTo>
                    <a:lnTo>
                      <a:pt x="209645" y="18097"/>
                    </a:lnTo>
                    <a:lnTo>
                      <a:pt x="213265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5" name="Forma Livre: Forma 124">
                <a:extLst>
                  <a:ext uri="{FF2B5EF4-FFF2-40B4-BE49-F238E27FC236}">
                    <a16:creationId xmlns:a16="http://schemas.microsoft.com/office/drawing/2014/main" id="{A2F54A76-5077-BC46-EFAA-1494D90FBCC8}"/>
                  </a:ext>
                </a:extLst>
              </p:cNvPr>
              <p:cNvSpPr/>
              <p:nvPr/>
            </p:nvSpPr>
            <p:spPr>
              <a:xfrm>
                <a:off x="8233911" y="2715330"/>
                <a:ext cx="213359" cy="18287"/>
              </a:xfrm>
              <a:custGeom>
                <a:avLst/>
                <a:gdLst>
                  <a:gd name="connsiteX0" fmla="*/ 0 w 213359"/>
                  <a:gd name="connsiteY0" fmla="*/ 95 h 18287"/>
                  <a:gd name="connsiteX1" fmla="*/ 0 w 213359"/>
                  <a:gd name="connsiteY1" fmla="*/ 18288 h 18287"/>
                  <a:gd name="connsiteX2" fmla="*/ 209740 w 213359"/>
                  <a:gd name="connsiteY2" fmla="*/ 18098 h 18287"/>
                  <a:gd name="connsiteX3" fmla="*/ 213360 w 213359"/>
                  <a:gd name="connsiteY3" fmla="*/ 0 h 18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3359" h="18287">
                    <a:moveTo>
                      <a:pt x="0" y="95"/>
                    </a:moveTo>
                    <a:lnTo>
                      <a:pt x="0" y="18288"/>
                    </a:lnTo>
                    <a:lnTo>
                      <a:pt x="209740" y="18098"/>
                    </a:lnTo>
                    <a:lnTo>
                      <a:pt x="21336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6" name="Forma Livre: Forma 125">
                <a:extLst>
                  <a:ext uri="{FF2B5EF4-FFF2-40B4-BE49-F238E27FC236}">
                    <a16:creationId xmlns:a16="http://schemas.microsoft.com/office/drawing/2014/main" id="{A48E1BF7-FC71-698B-E19F-C9C9F47144C8}"/>
                  </a:ext>
                </a:extLst>
              </p:cNvPr>
              <p:cNvSpPr/>
              <p:nvPr/>
            </p:nvSpPr>
            <p:spPr>
              <a:xfrm>
                <a:off x="8198096" y="2834678"/>
                <a:ext cx="213264" cy="18288"/>
              </a:xfrm>
              <a:custGeom>
                <a:avLst/>
                <a:gdLst>
                  <a:gd name="connsiteX0" fmla="*/ 0 w 213264"/>
                  <a:gd name="connsiteY0" fmla="*/ 191 h 18288"/>
                  <a:gd name="connsiteX1" fmla="*/ 0 w 213264"/>
                  <a:gd name="connsiteY1" fmla="*/ 18288 h 18288"/>
                  <a:gd name="connsiteX2" fmla="*/ 209740 w 213264"/>
                  <a:gd name="connsiteY2" fmla="*/ 18193 h 18288"/>
                  <a:gd name="connsiteX3" fmla="*/ 213265 w 213264"/>
                  <a:gd name="connsiteY3" fmla="*/ 0 h 18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3264" h="18288">
                    <a:moveTo>
                      <a:pt x="0" y="191"/>
                    </a:moveTo>
                    <a:lnTo>
                      <a:pt x="0" y="18288"/>
                    </a:lnTo>
                    <a:lnTo>
                      <a:pt x="209740" y="18193"/>
                    </a:lnTo>
                    <a:lnTo>
                      <a:pt x="213265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7" name="Forma Livre: Forma 126">
                <a:extLst>
                  <a:ext uri="{FF2B5EF4-FFF2-40B4-BE49-F238E27FC236}">
                    <a16:creationId xmlns:a16="http://schemas.microsoft.com/office/drawing/2014/main" id="{80784BCF-A628-72C5-1861-7BEFA3D6FCF7}"/>
                  </a:ext>
                </a:extLst>
              </p:cNvPr>
              <p:cNvSpPr/>
              <p:nvPr/>
            </p:nvSpPr>
            <p:spPr>
              <a:xfrm>
                <a:off x="8152567" y="2958789"/>
                <a:ext cx="213264" cy="18288"/>
              </a:xfrm>
              <a:custGeom>
                <a:avLst/>
                <a:gdLst>
                  <a:gd name="connsiteX0" fmla="*/ 8477 w 213264"/>
                  <a:gd name="connsiteY0" fmla="*/ 95 h 18288"/>
                  <a:gd name="connsiteX1" fmla="*/ 0 w 213264"/>
                  <a:gd name="connsiteY1" fmla="*/ 18288 h 18288"/>
                  <a:gd name="connsiteX2" fmla="*/ 209645 w 213264"/>
                  <a:gd name="connsiteY2" fmla="*/ 18097 h 18288"/>
                  <a:gd name="connsiteX3" fmla="*/ 213265 w 213264"/>
                  <a:gd name="connsiteY3" fmla="*/ 0 h 18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3264" h="18288">
                    <a:moveTo>
                      <a:pt x="8477" y="95"/>
                    </a:moveTo>
                    <a:lnTo>
                      <a:pt x="0" y="18288"/>
                    </a:lnTo>
                    <a:lnTo>
                      <a:pt x="209645" y="18097"/>
                    </a:lnTo>
                    <a:lnTo>
                      <a:pt x="213265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8" name="Forma Livre: Forma 127">
                <a:extLst>
                  <a:ext uri="{FF2B5EF4-FFF2-40B4-BE49-F238E27FC236}">
                    <a16:creationId xmlns:a16="http://schemas.microsoft.com/office/drawing/2014/main" id="{A0BD407E-BA5E-24C9-B451-1A848F867708}"/>
                  </a:ext>
                </a:extLst>
              </p:cNvPr>
              <p:cNvSpPr/>
              <p:nvPr/>
            </p:nvSpPr>
            <p:spPr>
              <a:xfrm>
                <a:off x="8113229" y="3082805"/>
                <a:ext cx="213264" cy="18287"/>
              </a:xfrm>
              <a:custGeom>
                <a:avLst/>
                <a:gdLst>
                  <a:gd name="connsiteX0" fmla="*/ 8477 w 213264"/>
                  <a:gd name="connsiteY0" fmla="*/ 190 h 18287"/>
                  <a:gd name="connsiteX1" fmla="*/ 0 w 213264"/>
                  <a:gd name="connsiteY1" fmla="*/ 18288 h 18287"/>
                  <a:gd name="connsiteX2" fmla="*/ 209741 w 213264"/>
                  <a:gd name="connsiteY2" fmla="*/ 18192 h 18287"/>
                  <a:gd name="connsiteX3" fmla="*/ 213265 w 213264"/>
                  <a:gd name="connsiteY3" fmla="*/ 0 h 18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3264" h="18287">
                    <a:moveTo>
                      <a:pt x="8477" y="190"/>
                    </a:moveTo>
                    <a:lnTo>
                      <a:pt x="0" y="18288"/>
                    </a:lnTo>
                    <a:lnTo>
                      <a:pt x="209741" y="18192"/>
                    </a:lnTo>
                    <a:lnTo>
                      <a:pt x="213265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9" name="Forma Livre: Forma 128">
                <a:extLst>
                  <a:ext uri="{FF2B5EF4-FFF2-40B4-BE49-F238E27FC236}">
                    <a16:creationId xmlns:a16="http://schemas.microsoft.com/office/drawing/2014/main" id="{60BAD111-75FF-6130-FBC2-8BB9ED6AEB87}"/>
                  </a:ext>
                </a:extLst>
              </p:cNvPr>
              <p:cNvSpPr/>
              <p:nvPr/>
            </p:nvSpPr>
            <p:spPr>
              <a:xfrm>
                <a:off x="8076367" y="3204153"/>
                <a:ext cx="213359" cy="18287"/>
              </a:xfrm>
              <a:custGeom>
                <a:avLst/>
                <a:gdLst>
                  <a:gd name="connsiteX0" fmla="*/ 8477 w 213359"/>
                  <a:gd name="connsiteY0" fmla="*/ 95 h 18287"/>
                  <a:gd name="connsiteX1" fmla="*/ 0 w 213359"/>
                  <a:gd name="connsiteY1" fmla="*/ 18288 h 18287"/>
                  <a:gd name="connsiteX2" fmla="*/ 209740 w 213359"/>
                  <a:gd name="connsiteY2" fmla="*/ 18097 h 18287"/>
                  <a:gd name="connsiteX3" fmla="*/ 213360 w 213359"/>
                  <a:gd name="connsiteY3" fmla="*/ 0 h 18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3359" h="18287">
                    <a:moveTo>
                      <a:pt x="8477" y="95"/>
                    </a:moveTo>
                    <a:lnTo>
                      <a:pt x="0" y="18288"/>
                    </a:lnTo>
                    <a:lnTo>
                      <a:pt x="209740" y="18097"/>
                    </a:lnTo>
                    <a:lnTo>
                      <a:pt x="21336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0" name="Forma Livre: Forma 129">
                <a:extLst>
                  <a:ext uri="{FF2B5EF4-FFF2-40B4-BE49-F238E27FC236}">
                    <a16:creationId xmlns:a16="http://schemas.microsoft.com/office/drawing/2014/main" id="{FCA05A3F-2023-3DB8-6E13-D2D9A40B40F4}"/>
                  </a:ext>
                </a:extLst>
              </p:cNvPr>
              <p:cNvSpPr/>
              <p:nvPr/>
            </p:nvSpPr>
            <p:spPr>
              <a:xfrm>
                <a:off x="8045887" y="3328074"/>
                <a:ext cx="213264" cy="18287"/>
              </a:xfrm>
              <a:custGeom>
                <a:avLst/>
                <a:gdLst>
                  <a:gd name="connsiteX0" fmla="*/ 8477 w 213264"/>
                  <a:gd name="connsiteY0" fmla="*/ 95 h 18287"/>
                  <a:gd name="connsiteX1" fmla="*/ 0 w 213264"/>
                  <a:gd name="connsiteY1" fmla="*/ 18288 h 18287"/>
                  <a:gd name="connsiteX2" fmla="*/ 209741 w 213264"/>
                  <a:gd name="connsiteY2" fmla="*/ 18192 h 18287"/>
                  <a:gd name="connsiteX3" fmla="*/ 213265 w 213264"/>
                  <a:gd name="connsiteY3" fmla="*/ 0 h 18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3264" h="18287">
                    <a:moveTo>
                      <a:pt x="8477" y="95"/>
                    </a:moveTo>
                    <a:lnTo>
                      <a:pt x="0" y="18288"/>
                    </a:lnTo>
                    <a:lnTo>
                      <a:pt x="209741" y="18192"/>
                    </a:lnTo>
                    <a:lnTo>
                      <a:pt x="213265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36" name="Gráfico 10">
              <a:extLst>
                <a:ext uri="{FF2B5EF4-FFF2-40B4-BE49-F238E27FC236}">
                  <a16:creationId xmlns:a16="http://schemas.microsoft.com/office/drawing/2014/main" id="{E9346D6F-18DC-E4BF-F44F-FB906E987CC3}"/>
                </a:ext>
              </a:extLst>
            </p:cNvPr>
            <p:cNvGrpSpPr/>
            <p:nvPr/>
          </p:nvGrpSpPr>
          <p:grpSpPr>
            <a:xfrm>
              <a:off x="9791692" y="1908531"/>
              <a:ext cx="257147" cy="831066"/>
              <a:chOff x="8285643" y="1259231"/>
              <a:chExt cx="342263" cy="1106151"/>
            </a:xfrm>
          </p:grpSpPr>
          <p:grpSp>
            <p:nvGrpSpPr>
              <p:cNvPr id="94" name="Gráfico 10">
                <a:extLst>
                  <a:ext uri="{FF2B5EF4-FFF2-40B4-BE49-F238E27FC236}">
                    <a16:creationId xmlns:a16="http://schemas.microsoft.com/office/drawing/2014/main" id="{776D4BF2-3E67-1741-D5E3-8CE1E49E4D03}"/>
                  </a:ext>
                </a:extLst>
              </p:cNvPr>
              <p:cNvGrpSpPr/>
              <p:nvPr/>
            </p:nvGrpSpPr>
            <p:grpSpPr>
              <a:xfrm>
                <a:off x="8343067" y="2293849"/>
                <a:ext cx="123158" cy="71533"/>
                <a:chOff x="8343067" y="2293849"/>
                <a:chExt cx="123158" cy="71533"/>
              </a:xfrm>
            </p:grpSpPr>
            <p:sp>
              <p:nvSpPr>
                <p:cNvPr id="118" name="Forma Livre: Forma 117">
                  <a:extLst>
                    <a:ext uri="{FF2B5EF4-FFF2-40B4-BE49-F238E27FC236}">
                      <a16:creationId xmlns:a16="http://schemas.microsoft.com/office/drawing/2014/main" id="{923955BF-C580-4827-7BCB-69C9E22F2CF2}"/>
                    </a:ext>
                  </a:extLst>
                </p:cNvPr>
                <p:cNvSpPr/>
                <p:nvPr/>
              </p:nvSpPr>
              <p:spPr>
                <a:xfrm>
                  <a:off x="8343067" y="2321567"/>
                  <a:ext cx="122149" cy="43815"/>
                </a:xfrm>
                <a:custGeom>
                  <a:avLst/>
                  <a:gdLst>
                    <a:gd name="connsiteX0" fmla="*/ 82582 w 122149"/>
                    <a:gd name="connsiteY0" fmla="*/ 95 h 43815"/>
                    <a:gd name="connsiteX1" fmla="*/ 19907 w 122149"/>
                    <a:gd name="connsiteY1" fmla="*/ 28861 h 43815"/>
                    <a:gd name="connsiteX2" fmla="*/ 0 w 122149"/>
                    <a:gd name="connsiteY2" fmla="*/ 43815 h 43815"/>
                    <a:gd name="connsiteX3" fmla="*/ 52864 w 122149"/>
                    <a:gd name="connsiteY3" fmla="*/ 43815 h 43815"/>
                    <a:gd name="connsiteX4" fmla="*/ 96869 w 122149"/>
                    <a:gd name="connsiteY4" fmla="*/ 36195 h 43815"/>
                    <a:gd name="connsiteX5" fmla="*/ 96869 w 122149"/>
                    <a:gd name="connsiteY5" fmla="*/ 43815 h 43815"/>
                    <a:gd name="connsiteX6" fmla="*/ 120587 w 122149"/>
                    <a:gd name="connsiteY6" fmla="*/ 43815 h 43815"/>
                    <a:gd name="connsiteX7" fmla="*/ 113347 w 122149"/>
                    <a:gd name="connsiteY7" fmla="*/ 0 h 43815"/>
                    <a:gd name="connsiteX8" fmla="*/ 82582 w 122149"/>
                    <a:gd name="connsiteY8" fmla="*/ 95 h 438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22149" h="43815">
                      <a:moveTo>
                        <a:pt x="82582" y="95"/>
                      </a:moveTo>
                      <a:cubicBezTo>
                        <a:pt x="82582" y="95"/>
                        <a:pt x="63437" y="17812"/>
                        <a:pt x="19907" y="28861"/>
                      </a:cubicBezTo>
                      <a:cubicBezTo>
                        <a:pt x="10287" y="31337"/>
                        <a:pt x="0" y="28004"/>
                        <a:pt x="0" y="43815"/>
                      </a:cubicBezTo>
                      <a:cubicBezTo>
                        <a:pt x="20384" y="43815"/>
                        <a:pt x="52864" y="43815"/>
                        <a:pt x="52864" y="43815"/>
                      </a:cubicBezTo>
                      <a:lnTo>
                        <a:pt x="96869" y="36195"/>
                      </a:lnTo>
                      <a:lnTo>
                        <a:pt x="96869" y="43815"/>
                      </a:lnTo>
                      <a:lnTo>
                        <a:pt x="120587" y="43815"/>
                      </a:lnTo>
                      <a:cubicBezTo>
                        <a:pt x="120587" y="43815"/>
                        <a:pt x="127159" y="4953"/>
                        <a:pt x="113347" y="0"/>
                      </a:cubicBezTo>
                      <a:cubicBezTo>
                        <a:pt x="100394" y="95"/>
                        <a:pt x="82582" y="95"/>
                        <a:pt x="82582" y="95"/>
                      </a:cubicBezTo>
                      <a:close/>
                    </a:path>
                  </a:pathLst>
                </a:custGeom>
                <a:solidFill>
                  <a:srgbClr val="13223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9" name="Forma Livre: Forma 118">
                  <a:extLst>
                    <a:ext uri="{FF2B5EF4-FFF2-40B4-BE49-F238E27FC236}">
                      <a16:creationId xmlns:a16="http://schemas.microsoft.com/office/drawing/2014/main" id="{01AD544C-6E88-B2D2-9032-B7BFDD5AD921}"/>
                    </a:ext>
                  </a:extLst>
                </p:cNvPr>
                <p:cNvSpPr/>
                <p:nvPr/>
              </p:nvSpPr>
              <p:spPr>
                <a:xfrm>
                  <a:off x="8425649" y="2293849"/>
                  <a:ext cx="40576" cy="32685"/>
                </a:xfrm>
                <a:custGeom>
                  <a:avLst/>
                  <a:gdLst>
                    <a:gd name="connsiteX0" fmla="*/ 2667 w 40576"/>
                    <a:gd name="connsiteY0" fmla="*/ 0 h 32685"/>
                    <a:gd name="connsiteX1" fmla="*/ 0 w 40576"/>
                    <a:gd name="connsiteY1" fmla="*/ 27908 h 32685"/>
                    <a:gd name="connsiteX2" fmla="*/ 0 w 40576"/>
                    <a:gd name="connsiteY2" fmla="*/ 27908 h 32685"/>
                    <a:gd name="connsiteX3" fmla="*/ 29051 w 40576"/>
                    <a:gd name="connsiteY3" fmla="*/ 28861 h 32685"/>
                    <a:gd name="connsiteX4" fmla="*/ 30671 w 40576"/>
                    <a:gd name="connsiteY4" fmla="*/ 27908 h 32685"/>
                    <a:gd name="connsiteX5" fmla="*/ 40576 w 40576"/>
                    <a:gd name="connsiteY5" fmla="*/ 0 h 32685"/>
                    <a:gd name="connsiteX6" fmla="*/ 2667 w 40576"/>
                    <a:gd name="connsiteY6" fmla="*/ 0 h 326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0576" h="32685">
                      <a:moveTo>
                        <a:pt x="2667" y="0"/>
                      </a:moveTo>
                      <a:lnTo>
                        <a:pt x="0" y="27908"/>
                      </a:lnTo>
                      <a:lnTo>
                        <a:pt x="0" y="27908"/>
                      </a:lnTo>
                      <a:cubicBezTo>
                        <a:pt x="8667" y="33909"/>
                        <a:pt x="20002" y="34290"/>
                        <a:pt x="29051" y="28861"/>
                      </a:cubicBezTo>
                      <a:lnTo>
                        <a:pt x="30671" y="27908"/>
                      </a:lnTo>
                      <a:lnTo>
                        <a:pt x="40576" y="0"/>
                      </a:lnTo>
                      <a:lnTo>
                        <a:pt x="2667" y="0"/>
                      </a:lnTo>
                      <a:close/>
                    </a:path>
                  </a:pathLst>
                </a:custGeom>
                <a:solidFill>
                  <a:srgbClr val="F8B68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95" name="Gráfico 10">
                <a:extLst>
                  <a:ext uri="{FF2B5EF4-FFF2-40B4-BE49-F238E27FC236}">
                    <a16:creationId xmlns:a16="http://schemas.microsoft.com/office/drawing/2014/main" id="{4714FCC5-6E5E-3BC0-CCDC-4ACEB6E746D4}"/>
                  </a:ext>
                </a:extLst>
              </p:cNvPr>
              <p:cNvGrpSpPr/>
              <p:nvPr/>
            </p:nvGrpSpPr>
            <p:grpSpPr>
              <a:xfrm>
                <a:off x="8475274" y="2293849"/>
                <a:ext cx="123158" cy="71533"/>
                <a:chOff x="8475274" y="2293849"/>
                <a:chExt cx="123158" cy="71533"/>
              </a:xfrm>
            </p:grpSpPr>
            <p:sp>
              <p:nvSpPr>
                <p:cNvPr id="116" name="Forma Livre: Forma 115">
                  <a:extLst>
                    <a:ext uri="{FF2B5EF4-FFF2-40B4-BE49-F238E27FC236}">
                      <a16:creationId xmlns:a16="http://schemas.microsoft.com/office/drawing/2014/main" id="{89CFBF56-F353-AD04-F18E-6BAE01AD965C}"/>
                    </a:ext>
                  </a:extLst>
                </p:cNvPr>
                <p:cNvSpPr/>
                <p:nvPr/>
              </p:nvSpPr>
              <p:spPr>
                <a:xfrm>
                  <a:off x="8475274" y="2321567"/>
                  <a:ext cx="122149" cy="43815"/>
                </a:xfrm>
                <a:custGeom>
                  <a:avLst/>
                  <a:gdLst>
                    <a:gd name="connsiteX0" fmla="*/ 82582 w 122149"/>
                    <a:gd name="connsiteY0" fmla="*/ 95 h 43815"/>
                    <a:gd name="connsiteX1" fmla="*/ 19907 w 122149"/>
                    <a:gd name="connsiteY1" fmla="*/ 28861 h 43815"/>
                    <a:gd name="connsiteX2" fmla="*/ 0 w 122149"/>
                    <a:gd name="connsiteY2" fmla="*/ 43815 h 43815"/>
                    <a:gd name="connsiteX3" fmla="*/ 52864 w 122149"/>
                    <a:gd name="connsiteY3" fmla="*/ 43815 h 43815"/>
                    <a:gd name="connsiteX4" fmla="*/ 96869 w 122149"/>
                    <a:gd name="connsiteY4" fmla="*/ 36195 h 43815"/>
                    <a:gd name="connsiteX5" fmla="*/ 96869 w 122149"/>
                    <a:gd name="connsiteY5" fmla="*/ 43815 h 43815"/>
                    <a:gd name="connsiteX6" fmla="*/ 120587 w 122149"/>
                    <a:gd name="connsiteY6" fmla="*/ 43815 h 43815"/>
                    <a:gd name="connsiteX7" fmla="*/ 113347 w 122149"/>
                    <a:gd name="connsiteY7" fmla="*/ 0 h 43815"/>
                    <a:gd name="connsiteX8" fmla="*/ 82582 w 122149"/>
                    <a:gd name="connsiteY8" fmla="*/ 95 h 438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22149" h="43815">
                      <a:moveTo>
                        <a:pt x="82582" y="95"/>
                      </a:moveTo>
                      <a:cubicBezTo>
                        <a:pt x="82582" y="95"/>
                        <a:pt x="63437" y="17812"/>
                        <a:pt x="19907" y="28861"/>
                      </a:cubicBezTo>
                      <a:cubicBezTo>
                        <a:pt x="10287" y="31337"/>
                        <a:pt x="0" y="28004"/>
                        <a:pt x="0" y="43815"/>
                      </a:cubicBezTo>
                      <a:cubicBezTo>
                        <a:pt x="20383" y="43815"/>
                        <a:pt x="52864" y="43815"/>
                        <a:pt x="52864" y="43815"/>
                      </a:cubicBezTo>
                      <a:lnTo>
                        <a:pt x="96869" y="36195"/>
                      </a:lnTo>
                      <a:lnTo>
                        <a:pt x="96869" y="43815"/>
                      </a:lnTo>
                      <a:lnTo>
                        <a:pt x="120587" y="43815"/>
                      </a:lnTo>
                      <a:cubicBezTo>
                        <a:pt x="120587" y="43815"/>
                        <a:pt x="127159" y="4953"/>
                        <a:pt x="113347" y="0"/>
                      </a:cubicBezTo>
                      <a:cubicBezTo>
                        <a:pt x="100489" y="95"/>
                        <a:pt x="82582" y="95"/>
                        <a:pt x="82582" y="95"/>
                      </a:cubicBezTo>
                      <a:close/>
                    </a:path>
                  </a:pathLst>
                </a:custGeom>
                <a:solidFill>
                  <a:srgbClr val="13223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Forma Livre: Forma 116">
                  <a:extLst>
                    <a:ext uri="{FF2B5EF4-FFF2-40B4-BE49-F238E27FC236}">
                      <a16:creationId xmlns:a16="http://schemas.microsoft.com/office/drawing/2014/main" id="{2CFA06F2-CEBB-F815-5905-2D523F4606E4}"/>
                    </a:ext>
                  </a:extLst>
                </p:cNvPr>
                <p:cNvSpPr/>
                <p:nvPr/>
              </p:nvSpPr>
              <p:spPr>
                <a:xfrm>
                  <a:off x="8557856" y="2293849"/>
                  <a:ext cx="40576" cy="32685"/>
                </a:xfrm>
                <a:custGeom>
                  <a:avLst/>
                  <a:gdLst>
                    <a:gd name="connsiteX0" fmla="*/ 2667 w 40576"/>
                    <a:gd name="connsiteY0" fmla="*/ 0 h 32685"/>
                    <a:gd name="connsiteX1" fmla="*/ 0 w 40576"/>
                    <a:gd name="connsiteY1" fmla="*/ 27908 h 32685"/>
                    <a:gd name="connsiteX2" fmla="*/ 0 w 40576"/>
                    <a:gd name="connsiteY2" fmla="*/ 27908 h 32685"/>
                    <a:gd name="connsiteX3" fmla="*/ 29051 w 40576"/>
                    <a:gd name="connsiteY3" fmla="*/ 28861 h 32685"/>
                    <a:gd name="connsiteX4" fmla="*/ 30671 w 40576"/>
                    <a:gd name="connsiteY4" fmla="*/ 27908 h 32685"/>
                    <a:gd name="connsiteX5" fmla="*/ 40577 w 40576"/>
                    <a:gd name="connsiteY5" fmla="*/ 0 h 32685"/>
                    <a:gd name="connsiteX6" fmla="*/ 2667 w 40576"/>
                    <a:gd name="connsiteY6" fmla="*/ 0 h 326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0576" h="32685">
                      <a:moveTo>
                        <a:pt x="2667" y="0"/>
                      </a:moveTo>
                      <a:lnTo>
                        <a:pt x="0" y="27908"/>
                      </a:lnTo>
                      <a:lnTo>
                        <a:pt x="0" y="27908"/>
                      </a:lnTo>
                      <a:cubicBezTo>
                        <a:pt x="8668" y="33909"/>
                        <a:pt x="20003" y="34290"/>
                        <a:pt x="29051" y="28861"/>
                      </a:cubicBezTo>
                      <a:lnTo>
                        <a:pt x="30671" y="27908"/>
                      </a:lnTo>
                      <a:lnTo>
                        <a:pt x="40577" y="0"/>
                      </a:lnTo>
                      <a:lnTo>
                        <a:pt x="2667" y="0"/>
                      </a:lnTo>
                      <a:close/>
                    </a:path>
                  </a:pathLst>
                </a:custGeom>
                <a:solidFill>
                  <a:srgbClr val="F8B68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00" name="Gráfico 10">
                <a:extLst>
                  <a:ext uri="{FF2B5EF4-FFF2-40B4-BE49-F238E27FC236}">
                    <a16:creationId xmlns:a16="http://schemas.microsoft.com/office/drawing/2014/main" id="{3A3D7398-7183-4823-C2AA-AD3DDC62284D}"/>
                  </a:ext>
                </a:extLst>
              </p:cNvPr>
              <p:cNvGrpSpPr/>
              <p:nvPr/>
            </p:nvGrpSpPr>
            <p:grpSpPr>
              <a:xfrm>
                <a:off x="8469845" y="1259231"/>
                <a:ext cx="109278" cy="163556"/>
                <a:chOff x="8469845" y="1259231"/>
                <a:chExt cx="109278" cy="163556"/>
              </a:xfrm>
            </p:grpSpPr>
            <p:sp>
              <p:nvSpPr>
                <p:cNvPr id="112" name="Forma Livre: Forma 111">
                  <a:extLst>
                    <a:ext uri="{FF2B5EF4-FFF2-40B4-BE49-F238E27FC236}">
                      <a16:creationId xmlns:a16="http://schemas.microsoft.com/office/drawing/2014/main" id="{CB54514A-EF59-32DB-7F93-252DC2022ED7}"/>
                    </a:ext>
                  </a:extLst>
                </p:cNvPr>
                <p:cNvSpPr/>
                <p:nvPr/>
              </p:nvSpPr>
              <p:spPr>
                <a:xfrm>
                  <a:off x="8512898" y="1350017"/>
                  <a:ext cx="48006" cy="72770"/>
                </a:xfrm>
                <a:custGeom>
                  <a:avLst/>
                  <a:gdLst>
                    <a:gd name="connsiteX0" fmla="*/ 0 w 48006"/>
                    <a:gd name="connsiteY0" fmla="*/ 27242 h 72770"/>
                    <a:gd name="connsiteX1" fmla="*/ 7430 w 48006"/>
                    <a:gd name="connsiteY1" fmla="*/ 72771 h 72770"/>
                    <a:gd name="connsiteX2" fmla="*/ 48006 w 48006"/>
                    <a:gd name="connsiteY2" fmla="*/ 54673 h 72770"/>
                    <a:gd name="connsiteX3" fmla="*/ 34576 w 48006"/>
                    <a:gd name="connsiteY3" fmla="*/ 0 h 727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8006" h="72770">
                      <a:moveTo>
                        <a:pt x="0" y="27242"/>
                      </a:moveTo>
                      <a:lnTo>
                        <a:pt x="7430" y="72771"/>
                      </a:lnTo>
                      <a:lnTo>
                        <a:pt x="48006" y="54673"/>
                      </a:lnTo>
                      <a:lnTo>
                        <a:pt x="34576" y="0"/>
                      </a:lnTo>
                      <a:close/>
                    </a:path>
                  </a:pathLst>
                </a:custGeom>
                <a:solidFill>
                  <a:srgbClr val="F4A08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3" name="Forma Livre: Forma 112">
                  <a:extLst>
                    <a:ext uri="{FF2B5EF4-FFF2-40B4-BE49-F238E27FC236}">
                      <a16:creationId xmlns:a16="http://schemas.microsoft.com/office/drawing/2014/main" id="{F221A9B5-25DA-3400-4651-98A7B9266C06}"/>
                    </a:ext>
                  </a:extLst>
                </p:cNvPr>
                <p:cNvSpPr/>
                <p:nvPr/>
              </p:nvSpPr>
              <p:spPr>
                <a:xfrm>
                  <a:off x="8477781" y="1279437"/>
                  <a:ext cx="70197" cy="102042"/>
                </a:xfrm>
                <a:custGeom>
                  <a:avLst/>
                  <a:gdLst>
                    <a:gd name="connsiteX0" fmla="*/ 20353 w 70197"/>
                    <a:gd name="connsiteY0" fmla="*/ 102013 h 102042"/>
                    <a:gd name="connsiteX1" fmla="*/ 6733 w 70197"/>
                    <a:gd name="connsiteY1" fmla="*/ 98774 h 102042"/>
                    <a:gd name="connsiteX2" fmla="*/ 9018 w 70197"/>
                    <a:gd name="connsiteY2" fmla="*/ 10954 h 102042"/>
                    <a:gd name="connsiteX3" fmla="*/ 35117 w 70197"/>
                    <a:gd name="connsiteY3" fmla="*/ 0 h 102042"/>
                    <a:gd name="connsiteX4" fmla="*/ 68264 w 70197"/>
                    <a:gd name="connsiteY4" fmla="*/ 20669 h 102042"/>
                    <a:gd name="connsiteX5" fmla="*/ 70169 w 70197"/>
                    <a:gd name="connsiteY5" fmla="*/ 63627 h 102042"/>
                    <a:gd name="connsiteX6" fmla="*/ 55310 w 70197"/>
                    <a:gd name="connsiteY6" fmla="*/ 93250 h 102042"/>
                    <a:gd name="connsiteX7" fmla="*/ 55310 w 70197"/>
                    <a:gd name="connsiteY7" fmla="*/ 93250 h 102042"/>
                    <a:gd name="connsiteX8" fmla="*/ 20353 w 70197"/>
                    <a:gd name="connsiteY8" fmla="*/ 102013 h 1020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0197" h="102042">
                      <a:moveTo>
                        <a:pt x="20353" y="102013"/>
                      </a:moveTo>
                      <a:cubicBezTo>
                        <a:pt x="14638" y="101822"/>
                        <a:pt x="9400" y="100965"/>
                        <a:pt x="6733" y="98774"/>
                      </a:cubicBezTo>
                      <a:cubicBezTo>
                        <a:pt x="-9650" y="74962"/>
                        <a:pt x="9018" y="10954"/>
                        <a:pt x="9018" y="10954"/>
                      </a:cubicBezTo>
                      <a:lnTo>
                        <a:pt x="35117" y="0"/>
                      </a:lnTo>
                      <a:lnTo>
                        <a:pt x="68264" y="20669"/>
                      </a:lnTo>
                      <a:lnTo>
                        <a:pt x="70169" y="63627"/>
                      </a:lnTo>
                      <a:cubicBezTo>
                        <a:pt x="70645" y="75057"/>
                        <a:pt x="65216" y="86106"/>
                        <a:pt x="55310" y="93250"/>
                      </a:cubicBezTo>
                      <a:lnTo>
                        <a:pt x="55310" y="93250"/>
                      </a:lnTo>
                      <a:cubicBezTo>
                        <a:pt x="44833" y="99155"/>
                        <a:pt x="32736" y="102394"/>
                        <a:pt x="20353" y="102013"/>
                      </a:cubicBezTo>
                      <a:close/>
                    </a:path>
                  </a:pathLst>
                </a:custGeom>
                <a:solidFill>
                  <a:srgbClr val="F8B68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4" name="Forma Livre: Forma 113">
                  <a:extLst>
                    <a:ext uri="{FF2B5EF4-FFF2-40B4-BE49-F238E27FC236}">
                      <a16:creationId xmlns:a16="http://schemas.microsoft.com/office/drawing/2014/main" id="{861D1F67-AA84-6716-D971-ACE559F02053}"/>
                    </a:ext>
                  </a:extLst>
                </p:cNvPr>
                <p:cNvSpPr/>
                <p:nvPr/>
              </p:nvSpPr>
              <p:spPr>
                <a:xfrm>
                  <a:off x="8469845" y="1259231"/>
                  <a:ext cx="109278" cy="90785"/>
                </a:xfrm>
                <a:custGeom>
                  <a:avLst/>
                  <a:gdLst>
                    <a:gd name="connsiteX0" fmla="*/ 67056 w 109278"/>
                    <a:gd name="connsiteY0" fmla="*/ 53257 h 90785"/>
                    <a:gd name="connsiteX1" fmla="*/ 50863 w 109278"/>
                    <a:gd name="connsiteY1" fmla="*/ 42589 h 90785"/>
                    <a:gd name="connsiteX2" fmla="*/ 32956 w 109278"/>
                    <a:gd name="connsiteY2" fmla="*/ 44208 h 90785"/>
                    <a:gd name="connsiteX3" fmla="*/ 0 w 109278"/>
                    <a:gd name="connsiteY3" fmla="*/ 16014 h 90785"/>
                    <a:gd name="connsiteX4" fmla="*/ 27527 w 109278"/>
                    <a:gd name="connsiteY4" fmla="*/ 1250 h 90785"/>
                    <a:gd name="connsiteX5" fmla="*/ 106013 w 109278"/>
                    <a:gd name="connsiteY5" fmla="*/ 26206 h 90785"/>
                    <a:gd name="connsiteX6" fmla="*/ 92488 w 109278"/>
                    <a:gd name="connsiteY6" fmla="*/ 71545 h 90785"/>
                    <a:gd name="connsiteX7" fmla="*/ 77819 w 109278"/>
                    <a:gd name="connsiteY7" fmla="*/ 90785 h 90785"/>
                    <a:gd name="connsiteX8" fmla="*/ 77819 w 109278"/>
                    <a:gd name="connsiteY8" fmla="*/ 90785 h 90785"/>
                    <a:gd name="connsiteX9" fmla="*/ 67056 w 109278"/>
                    <a:gd name="connsiteY9" fmla="*/ 53257 h 907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09278" h="90785">
                      <a:moveTo>
                        <a:pt x="67056" y="53257"/>
                      </a:moveTo>
                      <a:cubicBezTo>
                        <a:pt x="65246" y="46018"/>
                        <a:pt x="58198" y="41350"/>
                        <a:pt x="50863" y="42589"/>
                      </a:cubicBezTo>
                      <a:cubicBezTo>
                        <a:pt x="45529" y="43446"/>
                        <a:pt x="39053" y="44208"/>
                        <a:pt x="32956" y="44208"/>
                      </a:cubicBezTo>
                      <a:cubicBezTo>
                        <a:pt x="18193" y="44208"/>
                        <a:pt x="0" y="38493"/>
                        <a:pt x="0" y="16014"/>
                      </a:cubicBezTo>
                      <a:cubicBezTo>
                        <a:pt x="0" y="-6370"/>
                        <a:pt x="27527" y="1250"/>
                        <a:pt x="27527" y="1250"/>
                      </a:cubicBezTo>
                      <a:cubicBezTo>
                        <a:pt x="27527" y="1250"/>
                        <a:pt x="84106" y="9823"/>
                        <a:pt x="106013" y="26206"/>
                      </a:cubicBezTo>
                      <a:cubicBezTo>
                        <a:pt x="116491" y="34016"/>
                        <a:pt x="98965" y="58972"/>
                        <a:pt x="92488" y="71545"/>
                      </a:cubicBezTo>
                      <a:cubicBezTo>
                        <a:pt x="88773" y="78784"/>
                        <a:pt x="83820" y="85261"/>
                        <a:pt x="77819" y="90785"/>
                      </a:cubicBezTo>
                      <a:lnTo>
                        <a:pt x="77819" y="90785"/>
                      </a:lnTo>
                      <a:lnTo>
                        <a:pt x="67056" y="53257"/>
                      </a:lnTo>
                      <a:close/>
                    </a:path>
                  </a:pathLst>
                </a:custGeom>
                <a:solidFill>
                  <a:srgbClr val="FFC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5" name="Forma Livre: Forma 114">
                  <a:extLst>
                    <a:ext uri="{FF2B5EF4-FFF2-40B4-BE49-F238E27FC236}">
                      <a16:creationId xmlns:a16="http://schemas.microsoft.com/office/drawing/2014/main" id="{FEA8C8E9-EA5C-A25F-DF27-434902E64745}"/>
                    </a:ext>
                  </a:extLst>
                </p:cNvPr>
                <p:cNvSpPr/>
                <p:nvPr/>
              </p:nvSpPr>
              <p:spPr>
                <a:xfrm>
                  <a:off x="8538195" y="1324162"/>
                  <a:ext cx="19604" cy="16658"/>
                </a:xfrm>
                <a:custGeom>
                  <a:avLst/>
                  <a:gdLst>
                    <a:gd name="connsiteX0" fmla="*/ 17565 w 19604"/>
                    <a:gd name="connsiteY0" fmla="*/ 1852 h 16658"/>
                    <a:gd name="connsiteX1" fmla="*/ 3849 w 19604"/>
                    <a:gd name="connsiteY1" fmla="*/ 3090 h 16658"/>
                    <a:gd name="connsiteX2" fmla="*/ 2040 w 19604"/>
                    <a:gd name="connsiteY2" fmla="*/ 14806 h 16658"/>
                    <a:gd name="connsiteX3" fmla="*/ 15756 w 19604"/>
                    <a:gd name="connsiteY3" fmla="*/ 13568 h 16658"/>
                    <a:gd name="connsiteX4" fmla="*/ 17565 w 19604"/>
                    <a:gd name="connsiteY4" fmla="*/ 1852 h 166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604" h="16658">
                      <a:moveTo>
                        <a:pt x="17565" y="1852"/>
                      </a:moveTo>
                      <a:cubicBezTo>
                        <a:pt x="14327" y="-1005"/>
                        <a:pt x="8136" y="-529"/>
                        <a:pt x="3849" y="3090"/>
                      </a:cubicBezTo>
                      <a:cubicBezTo>
                        <a:pt x="-437" y="6710"/>
                        <a:pt x="-1294" y="11949"/>
                        <a:pt x="2040" y="14806"/>
                      </a:cubicBezTo>
                      <a:cubicBezTo>
                        <a:pt x="5278" y="17664"/>
                        <a:pt x="11469" y="17188"/>
                        <a:pt x="15756" y="13568"/>
                      </a:cubicBezTo>
                      <a:cubicBezTo>
                        <a:pt x="20042" y="10044"/>
                        <a:pt x="20899" y="4805"/>
                        <a:pt x="17565" y="1852"/>
                      </a:cubicBezTo>
                      <a:close/>
                    </a:path>
                  </a:pathLst>
                </a:custGeom>
                <a:solidFill>
                  <a:srgbClr val="F8B68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04" name="Forma Livre: Forma 103">
                <a:extLst>
                  <a:ext uri="{FF2B5EF4-FFF2-40B4-BE49-F238E27FC236}">
                    <a16:creationId xmlns:a16="http://schemas.microsoft.com/office/drawing/2014/main" id="{A5ED742B-EDB0-4C6C-4128-611556C72FE9}"/>
                  </a:ext>
                </a:extLst>
              </p:cNvPr>
              <p:cNvSpPr/>
              <p:nvPr/>
            </p:nvSpPr>
            <p:spPr>
              <a:xfrm>
                <a:off x="8422791" y="1404690"/>
                <a:ext cx="205115" cy="399192"/>
              </a:xfrm>
              <a:custGeom>
                <a:avLst/>
                <a:gdLst>
                  <a:gd name="connsiteX0" fmla="*/ 97536 w 205115"/>
                  <a:gd name="connsiteY0" fmla="*/ 18098 h 399192"/>
                  <a:gd name="connsiteX1" fmla="*/ 0 w 205115"/>
                  <a:gd name="connsiteY1" fmla="*/ 351092 h 399192"/>
                  <a:gd name="connsiteX2" fmla="*/ 185928 w 205115"/>
                  <a:gd name="connsiteY2" fmla="*/ 399193 h 399192"/>
                  <a:gd name="connsiteX3" fmla="*/ 138113 w 205115"/>
                  <a:gd name="connsiteY3" fmla="*/ 0 h 399192"/>
                  <a:gd name="connsiteX4" fmla="*/ 97536 w 205115"/>
                  <a:gd name="connsiteY4" fmla="*/ 18098 h 399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5115" h="399192">
                    <a:moveTo>
                      <a:pt x="97536" y="18098"/>
                    </a:moveTo>
                    <a:cubicBezTo>
                      <a:pt x="97536" y="18098"/>
                      <a:pt x="36481" y="118301"/>
                      <a:pt x="0" y="351092"/>
                    </a:cubicBezTo>
                    <a:cubicBezTo>
                      <a:pt x="73533" y="374237"/>
                      <a:pt x="185928" y="399193"/>
                      <a:pt x="185928" y="399193"/>
                    </a:cubicBezTo>
                    <a:cubicBezTo>
                      <a:pt x="185928" y="399193"/>
                      <a:pt x="252317" y="146876"/>
                      <a:pt x="138113" y="0"/>
                    </a:cubicBezTo>
                    <a:cubicBezTo>
                      <a:pt x="114110" y="0"/>
                      <a:pt x="97536" y="18098"/>
                      <a:pt x="97536" y="18098"/>
                    </a:cubicBezTo>
                    <a:close/>
                  </a:path>
                </a:pathLst>
              </a:custGeom>
              <a:solidFill>
                <a:srgbClr val="13223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5" name="Forma Livre: Forma 104">
                <a:extLst>
                  <a:ext uri="{FF2B5EF4-FFF2-40B4-BE49-F238E27FC236}">
                    <a16:creationId xmlns:a16="http://schemas.microsoft.com/office/drawing/2014/main" id="{326F5410-6220-0253-250A-29432284C716}"/>
                  </a:ext>
                </a:extLst>
              </p:cNvPr>
              <p:cNvSpPr/>
              <p:nvPr/>
            </p:nvSpPr>
            <p:spPr>
              <a:xfrm>
                <a:off x="8371642" y="1755782"/>
                <a:ext cx="152685" cy="546068"/>
              </a:xfrm>
              <a:custGeom>
                <a:avLst/>
                <a:gdLst>
                  <a:gd name="connsiteX0" fmla="*/ 51149 w 152685"/>
                  <a:gd name="connsiteY0" fmla="*/ 0 h 546068"/>
                  <a:gd name="connsiteX1" fmla="*/ 0 w 152685"/>
                  <a:gd name="connsiteY1" fmla="*/ 249269 h 546068"/>
                  <a:gd name="connsiteX2" fmla="*/ 51149 w 152685"/>
                  <a:gd name="connsiteY2" fmla="*/ 546068 h 546068"/>
                  <a:gd name="connsiteX3" fmla="*/ 98107 w 152685"/>
                  <a:gd name="connsiteY3" fmla="*/ 546068 h 546068"/>
                  <a:gd name="connsiteX4" fmla="*/ 95631 w 152685"/>
                  <a:gd name="connsiteY4" fmla="*/ 306705 h 546068"/>
                  <a:gd name="connsiteX5" fmla="*/ 100679 w 152685"/>
                  <a:gd name="connsiteY5" fmla="*/ 230981 h 546068"/>
                  <a:gd name="connsiteX6" fmla="*/ 152686 w 152685"/>
                  <a:gd name="connsiteY6" fmla="*/ 28004 h 546068"/>
                  <a:gd name="connsiteX7" fmla="*/ 51149 w 152685"/>
                  <a:gd name="connsiteY7" fmla="*/ 0 h 546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2685" h="546068">
                    <a:moveTo>
                      <a:pt x="51149" y="0"/>
                    </a:moveTo>
                    <a:cubicBezTo>
                      <a:pt x="51149" y="0"/>
                      <a:pt x="0" y="171545"/>
                      <a:pt x="0" y="249269"/>
                    </a:cubicBezTo>
                    <a:cubicBezTo>
                      <a:pt x="0" y="326993"/>
                      <a:pt x="51149" y="546068"/>
                      <a:pt x="51149" y="546068"/>
                    </a:cubicBezTo>
                    <a:lnTo>
                      <a:pt x="98107" y="546068"/>
                    </a:lnTo>
                    <a:cubicBezTo>
                      <a:pt x="98107" y="546068"/>
                      <a:pt x="109061" y="392811"/>
                      <a:pt x="95631" y="306705"/>
                    </a:cubicBezTo>
                    <a:cubicBezTo>
                      <a:pt x="91630" y="281368"/>
                      <a:pt x="93536" y="255556"/>
                      <a:pt x="100679" y="230981"/>
                    </a:cubicBezTo>
                    <a:cubicBezTo>
                      <a:pt x="125825" y="144685"/>
                      <a:pt x="152686" y="28004"/>
                      <a:pt x="152686" y="28004"/>
                    </a:cubicBezTo>
                    <a:lnTo>
                      <a:pt x="51149" y="0"/>
                    </a:lnTo>
                    <a:close/>
                  </a:path>
                </a:pathLst>
              </a:custGeom>
              <a:solidFill>
                <a:srgbClr val="EEA00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6" name="Forma Livre: Forma 105">
                <a:extLst>
                  <a:ext uri="{FF2B5EF4-FFF2-40B4-BE49-F238E27FC236}">
                    <a16:creationId xmlns:a16="http://schemas.microsoft.com/office/drawing/2014/main" id="{A2788889-519A-24C3-D22A-2C605A2F922C}"/>
                  </a:ext>
                </a:extLst>
              </p:cNvPr>
              <p:cNvSpPr/>
              <p:nvPr/>
            </p:nvSpPr>
            <p:spPr>
              <a:xfrm>
                <a:off x="8453671" y="1769498"/>
                <a:ext cx="155213" cy="532256"/>
              </a:xfrm>
              <a:custGeom>
                <a:avLst/>
                <a:gdLst>
                  <a:gd name="connsiteX0" fmla="*/ 4077 w 155213"/>
                  <a:gd name="connsiteY0" fmla="*/ 0 h 532256"/>
                  <a:gd name="connsiteX1" fmla="*/ 12078 w 155213"/>
                  <a:gd name="connsiteY1" fmla="*/ 253460 h 532256"/>
                  <a:gd name="connsiteX2" fmla="*/ 104089 w 155213"/>
                  <a:gd name="connsiteY2" fmla="*/ 532257 h 532256"/>
                  <a:gd name="connsiteX3" fmla="*/ 145618 w 155213"/>
                  <a:gd name="connsiteY3" fmla="*/ 532257 h 532256"/>
                  <a:gd name="connsiteX4" fmla="*/ 122663 w 155213"/>
                  <a:gd name="connsiteY4" fmla="*/ 294703 h 532256"/>
                  <a:gd name="connsiteX5" fmla="*/ 125711 w 155213"/>
                  <a:gd name="connsiteY5" fmla="*/ 204502 h 532256"/>
                  <a:gd name="connsiteX6" fmla="*/ 155143 w 155213"/>
                  <a:gd name="connsiteY6" fmla="*/ 34385 h 532256"/>
                  <a:gd name="connsiteX7" fmla="*/ 4077 w 155213"/>
                  <a:gd name="connsiteY7" fmla="*/ 0 h 532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5213" h="532256">
                    <a:moveTo>
                      <a:pt x="4077" y="0"/>
                    </a:moveTo>
                    <a:cubicBezTo>
                      <a:pt x="4077" y="0"/>
                      <a:pt x="-9163" y="186309"/>
                      <a:pt x="12078" y="253460"/>
                    </a:cubicBezTo>
                    <a:cubicBezTo>
                      <a:pt x="33318" y="320611"/>
                      <a:pt x="104089" y="532257"/>
                      <a:pt x="104089" y="532257"/>
                    </a:cubicBezTo>
                    <a:lnTo>
                      <a:pt x="145618" y="532257"/>
                    </a:lnTo>
                    <a:cubicBezTo>
                      <a:pt x="145618" y="532257"/>
                      <a:pt x="156191" y="417005"/>
                      <a:pt x="122663" y="294703"/>
                    </a:cubicBezTo>
                    <a:cubicBezTo>
                      <a:pt x="114471" y="264985"/>
                      <a:pt x="115710" y="233648"/>
                      <a:pt x="125711" y="204502"/>
                    </a:cubicBezTo>
                    <a:cubicBezTo>
                      <a:pt x="158096" y="109252"/>
                      <a:pt x="155143" y="34385"/>
                      <a:pt x="155143" y="34385"/>
                    </a:cubicBezTo>
                    <a:lnTo>
                      <a:pt x="4077" y="0"/>
                    </a:lnTo>
                    <a:close/>
                  </a:path>
                </a:pathLst>
              </a:custGeom>
              <a:solidFill>
                <a:srgbClr val="FFC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107" name="Gráfico 10">
                <a:extLst>
                  <a:ext uri="{FF2B5EF4-FFF2-40B4-BE49-F238E27FC236}">
                    <a16:creationId xmlns:a16="http://schemas.microsoft.com/office/drawing/2014/main" id="{D31144D7-CA1F-99C3-1DE2-5926F28DC039}"/>
                  </a:ext>
                </a:extLst>
              </p:cNvPr>
              <p:cNvGrpSpPr/>
              <p:nvPr/>
            </p:nvGrpSpPr>
            <p:grpSpPr>
              <a:xfrm>
                <a:off x="8285643" y="1766640"/>
                <a:ext cx="98572" cy="48927"/>
                <a:chOff x="8285643" y="1766640"/>
                <a:chExt cx="98572" cy="48927"/>
              </a:xfrm>
              <a:solidFill>
                <a:srgbClr val="F8B68F"/>
              </a:solidFill>
            </p:grpSpPr>
            <p:sp>
              <p:nvSpPr>
                <p:cNvPr id="110" name="Forma Livre: Forma 109">
                  <a:extLst>
                    <a:ext uri="{FF2B5EF4-FFF2-40B4-BE49-F238E27FC236}">
                      <a16:creationId xmlns:a16="http://schemas.microsoft.com/office/drawing/2014/main" id="{7405FE47-1167-DECF-69E6-1BF3D8487884}"/>
                    </a:ext>
                  </a:extLst>
                </p:cNvPr>
                <p:cNvSpPr/>
                <p:nvPr/>
              </p:nvSpPr>
              <p:spPr>
                <a:xfrm>
                  <a:off x="8285643" y="1779499"/>
                  <a:ext cx="98572" cy="36068"/>
                </a:xfrm>
                <a:custGeom>
                  <a:avLst/>
                  <a:gdLst>
                    <a:gd name="connsiteX0" fmla="*/ 68759 w 98572"/>
                    <a:gd name="connsiteY0" fmla="*/ 2191 h 36068"/>
                    <a:gd name="connsiteX1" fmla="*/ 42375 w 98572"/>
                    <a:gd name="connsiteY1" fmla="*/ 6287 h 36068"/>
                    <a:gd name="connsiteX2" fmla="*/ 370 w 98572"/>
                    <a:gd name="connsiteY2" fmla="*/ 10478 h 36068"/>
                    <a:gd name="connsiteX3" fmla="*/ 28183 w 98572"/>
                    <a:gd name="connsiteY3" fmla="*/ 32957 h 36068"/>
                    <a:gd name="connsiteX4" fmla="*/ 63711 w 98572"/>
                    <a:gd name="connsiteY4" fmla="*/ 32957 h 36068"/>
                    <a:gd name="connsiteX5" fmla="*/ 93810 w 98572"/>
                    <a:gd name="connsiteY5" fmla="*/ 19526 h 36068"/>
                    <a:gd name="connsiteX6" fmla="*/ 98573 w 98572"/>
                    <a:gd name="connsiteY6" fmla="*/ 3429 h 36068"/>
                    <a:gd name="connsiteX7" fmla="*/ 92476 w 98572"/>
                    <a:gd name="connsiteY7" fmla="*/ 0 h 36068"/>
                    <a:gd name="connsiteX8" fmla="*/ 68759 w 98572"/>
                    <a:gd name="connsiteY8" fmla="*/ 2191 h 360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8572" h="36068">
                      <a:moveTo>
                        <a:pt x="68759" y="2191"/>
                      </a:moveTo>
                      <a:cubicBezTo>
                        <a:pt x="66664" y="3429"/>
                        <a:pt x="59234" y="7049"/>
                        <a:pt x="42375" y="6287"/>
                      </a:cubicBezTo>
                      <a:cubicBezTo>
                        <a:pt x="27230" y="5620"/>
                        <a:pt x="-3726" y="-5048"/>
                        <a:pt x="370" y="10478"/>
                      </a:cubicBezTo>
                      <a:cubicBezTo>
                        <a:pt x="13705" y="20098"/>
                        <a:pt x="28183" y="32957"/>
                        <a:pt x="28183" y="32957"/>
                      </a:cubicBezTo>
                      <a:cubicBezTo>
                        <a:pt x="36850" y="38005"/>
                        <a:pt x="53519" y="36100"/>
                        <a:pt x="63711" y="32957"/>
                      </a:cubicBezTo>
                      <a:lnTo>
                        <a:pt x="93810" y="19526"/>
                      </a:lnTo>
                      <a:cubicBezTo>
                        <a:pt x="93810" y="19526"/>
                        <a:pt x="98191" y="4191"/>
                        <a:pt x="98573" y="3429"/>
                      </a:cubicBezTo>
                      <a:lnTo>
                        <a:pt x="92476" y="0"/>
                      </a:lnTo>
                      <a:cubicBezTo>
                        <a:pt x="84761" y="2000"/>
                        <a:pt x="76665" y="2667"/>
                        <a:pt x="68759" y="2191"/>
                      </a:cubicBezTo>
                      <a:close/>
                    </a:path>
                  </a:pathLst>
                </a:custGeom>
                <a:solidFill>
                  <a:srgbClr val="F8B68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1" name="Forma Livre: Forma 110">
                  <a:extLst>
                    <a:ext uri="{FF2B5EF4-FFF2-40B4-BE49-F238E27FC236}">
                      <a16:creationId xmlns:a16="http://schemas.microsoft.com/office/drawing/2014/main" id="{5A460F5D-3A04-BBC4-BBE9-1344CABB6172}"/>
                    </a:ext>
                  </a:extLst>
                </p:cNvPr>
                <p:cNvSpPr/>
                <p:nvPr/>
              </p:nvSpPr>
              <p:spPr>
                <a:xfrm>
                  <a:off x="8324932" y="1766640"/>
                  <a:ext cx="50710" cy="30098"/>
                </a:xfrm>
                <a:custGeom>
                  <a:avLst/>
                  <a:gdLst>
                    <a:gd name="connsiteX0" fmla="*/ 23469 w 50710"/>
                    <a:gd name="connsiteY0" fmla="*/ 21050 h 30098"/>
                    <a:gd name="connsiteX1" fmla="*/ 21564 w 50710"/>
                    <a:gd name="connsiteY1" fmla="*/ 22669 h 30098"/>
                    <a:gd name="connsiteX2" fmla="*/ 26993 w 50710"/>
                    <a:gd name="connsiteY2" fmla="*/ 26098 h 30098"/>
                    <a:gd name="connsiteX3" fmla="*/ 50330 w 50710"/>
                    <a:gd name="connsiteY3" fmla="*/ 30099 h 30098"/>
                    <a:gd name="connsiteX4" fmla="*/ 50711 w 50710"/>
                    <a:gd name="connsiteY4" fmla="*/ 18669 h 30098"/>
                    <a:gd name="connsiteX5" fmla="*/ 1371 w 50710"/>
                    <a:gd name="connsiteY5" fmla="*/ 0 h 30098"/>
                    <a:gd name="connsiteX6" fmla="*/ 5086 w 50710"/>
                    <a:gd name="connsiteY6" fmla="*/ 11811 h 30098"/>
                    <a:gd name="connsiteX7" fmla="*/ 23469 w 50710"/>
                    <a:gd name="connsiteY7" fmla="*/ 21050 h 300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0710" h="30098">
                      <a:moveTo>
                        <a:pt x="23469" y="21050"/>
                      </a:moveTo>
                      <a:cubicBezTo>
                        <a:pt x="23469" y="21050"/>
                        <a:pt x="22897" y="21717"/>
                        <a:pt x="21564" y="22669"/>
                      </a:cubicBezTo>
                      <a:cubicBezTo>
                        <a:pt x="23469" y="23717"/>
                        <a:pt x="25279" y="24860"/>
                        <a:pt x="26993" y="26098"/>
                      </a:cubicBezTo>
                      <a:cubicBezTo>
                        <a:pt x="34804" y="27337"/>
                        <a:pt x="42614" y="28765"/>
                        <a:pt x="50330" y="30099"/>
                      </a:cubicBezTo>
                      <a:cubicBezTo>
                        <a:pt x="50425" y="25527"/>
                        <a:pt x="50615" y="19050"/>
                        <a:pt x="50711" y="18669"/>
                      </a:cubicBezTo>
                      <a:lnTo>
                        <a:pt x="1371" y="0"/>
                      </a:lnTo>
                      <a:cubicBezTo>
                        <a:pt x="1371" y="0"/>
                        <a:pt x="-3487" y="4858"/>
                        <a:pt x="5086" y="11811"/>
                      </a:cubicBezTo>
                      <a:cubicBezTo>
                        <a:pt x="13658" y="18574"/>
                        <a:pt x="23469" y="21050"/>
                        <a:pt x="23469" y="21050"/>
                      </a:cubicBezTo>
                      <a:close/>
                    </a:path>
                  </a:pathLst>
                </a:custGeom>
                <a:solidFill>
                  <a:srgbClr val="F8B68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08" name="Forma Livre: Forma 107">
                <a:extLst>
                  <a:ext uri="{FF2B5EF4-FFF2-40B4-BE49-F238E27FC236}">
                    <a16:creationId xmlns:a16="http://schemas.microsoft.com/office/drawing/2014/main" id="{CB23D953-545E-4020-F63D-A5E6A389B27D}"/>
                  </a:ext>
                </a:extLst>
              </p:cNvPr>
              <p:cNvSpPr/>
              <p:nvPr/>
            </p:nvSpPr>
            <p:spPr>
              <a:xfrm>
                <a:off x="8371642" y="1503083"/>
                <a:ext cx="231076" cy="300799"/>
              </a:xfrm>
              <a:custGeom>
                <a:avLst/>
                <a:gdLst>
                  <a:gd name="connsiteX0" fmla="*/ 141256 w 231076"/>
                  <a:gd name="connsiteY0" fmla="*/ 0 h 300799"/>
                  <a:gd name="connsiteX1" fmla="*/ 127540 w 231076"/>
                  <a:gd name="connsiteY1" fmla="*/ 111633 h 300799"/>
                  <a:gd name="connsiteX2" fmla="*/ 100489 w 231076"/>
                  <a:gd name="connsiteY2" fmla="*/ 169259 h 300799"/>
                  <a:gd name="connsiteX3" fmla="*/ 0 w 231076"/>
                  <a:gd name="connsiteY3" fmla="*/ 275844 h 300799"/>
                  <a:gd name="connsiteX4" fmla="*/ 10001 w 231076"/>
                  <a:gd name="connsiteY4" fmla="*/ 300799 h 300799"/>
                  <a:gd name="connsiteX5" fmla="*/ 189262 w 231076"/>
                  <a:gd name="connsiteY5" fmla="*/ 187166 h 300799"/>
                  <a:gd name="connsiteX6" fmla="*/ 231077 w 231076"/>
                  <a:gd name="connsiteY6" fmla="*/ 16002 h 300799"/>
                  <a:gd name="connsiteX7" fmla="*/ 141256 w 231076"/>
                  <a:gd name="connsiteY7" fmla="*/ 0 h 300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1076" h="300799">
                    <a:moveTo>
                      <a:pt x="141256" y="0"/>
                    </a:moveTo>
                    <a:lnTo>
                      <a:pt x="127540" y="111633"/>
                    </a:lnTo>
                    <a:cubicBezTo>
                      <a:pt x="124873" y="133255"/>
                      <a:pt x="115443" y="153448"/>
                      <a:pt x="100489" y="169259"/>
                    </a:cubicBezTo>
                    <a:lnTo>
                      <a:pt x="0" y="275844"/>
                    </a:lnTo>
                    <a:lnTo>
                      <a:pt x="10001" y="300799"/>
                    </a:lnTo>
                    <a:cubicBezTo>
                      <a:pt x="10001" y="300799"/>
                      <a:pt x="161449" y="229457"/>
                      <a:pt x="189262" y="187166"/>
                    </a:cubicBezTo>
                    <a:cubicBezTo>
                      <a:pt x="217075" y="144875"/>
                      <a:pt x="231077" y="16002"/>
                      <a:pt x="231077" y="16002"/>
                    </a:cubicBezTo>
                    <a:lnTo>
                      <a:pt x="141256" y="0"/>
                    </a:lnTo>
                    <a:close/>
                  </a:path>
                </a:pathLst>
              </a:custGeom>
              <a:solidFill>
                <a:srgbClr val="13223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9" name="Forma Livre: Forma 108">
                <a:extLst>
                  <a:ext uri="{FF2B5EF4-FFF2-40B4-BE49-F238E27FC236}">
                    <a16:creationId xmlns:a16="http://schemas.microsoft.com/office/drawing/2014/main" id="{6978A27B-D12C-AF57-A2B2-8518C6185E12}"/>
                  </a:ext>
                </a:extLst>
              </p:cNvPr>
              <p:cNvSpPr/>
              <p:nvPr/>
            </p:nvSpPr>
            <p:spPr>
              <a:xfrm>
                <a:off x="8369356" y="1559662"/>
                <a:ext cx="229933" cy="246983"/>
              </a:xfrm>
              <a:custGeom>
                <a:avLst/>
                <a:gdLst>
                  <a:gd name="connsiteX0" fmla="*/ 225457 w 229933"/>
                  <a:gd name="connsiteY0" fmla="*/ 2286 h 246983"/>
                  <a:gd name="connsiteX1" fmla="*/ 189929 w 229933"/>
                  <a:gd name="connsiteY1" fmla="*/ 129445 h 246983"/>
                  <a:gd name="connsiteX2" fmla="*/ 13335 w 229933"/>
                  <a:gd name="connsiteY2" fmla="*/ 241459 h 246983"/>
                  <a:gd name="connsiteX3" fmla="*/ 4667 w 229933"/>
                  <a:gd name="connsiteY3" fmla="*/ 219647 h 246983"/>
                  <a:gd name="connsiteX4" fmla="*/ 104299 w 229933"/>
                  <a:gd name="connsiteY4" fmla="*/ 114014 h 246983"/>
                  <a:gd name="connsiteX5" fmla="*/ 131826 w 229933"/>
                  <a:gd name="connsiteY5" fmla="*/ 55340 h 246983"/>
                  <a:gd name="connsiteX6" fmla="*/ 137922 w 229933"/>
                  <a:gd name="connsiteY6" fmla="*/ 5334 h 246983"/>
                  <a:gd name="connsiteX7" fmla="*/ 134207 w 229933"/>
                  <a:gd name="connsiteY7" fmla="*/ 3048 h 246983"/>
                  <a:gd name="connsiteX8" fmla="*/ 127825 w 229933"/>
                  <a:gd name="connsiteY8" fmla="*/ 54864 h 246983"/>
                  <a:gd name="connsiteX9" fmla="*/ 101346 w 229933"/>
                  <a:gd name="connsiteY9" fmla="*/ 111347 h 246983"/>
                  <a:gd name="connsiteX10" fmla="*/ 857 w 229933"/>
                  <a:gd name="connsiteY10" fmla="*/ 217932 h 246983"/>
                  <a:gd name="connsiteX11" fmla="*/ 0 w 229933"/>
                  <a:gd name="connsiteY11" fmla="*/ 218885 h 246983"/>
                  <a:gd name="connsiteX12" fmla="*/ 11239 w 229933"/>
                  <a:gd name="connsiteY12" fmla="*/ 246983 h 246983"/>
                  <a:gd name="connsiteX13" fmla="*/ 13145 w 229933"/>
                  <a:gd name="connsiteY13" fmla="*/ 246126 h 246983"/>
                  <a:gd name="connsiteX14" fmla="*/ 193262 w 229933"/>
                  <a:gd name="connsiteY14" fmla="*/ 131826 h 246983"/>
                  <a:gd name="connsiteX15" fmla="*/ 229933 w 229933"/>
                  <a:gd name="connsiteY15" fmla="*/ 0 h 246983"/>
                  <a:gd name="connsiteX16" fmla="*/ 225457 w 229933"/>
                  <a:gd name="connsiteY16" fmla="*/ 2286 h 246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29933" h="246983">
                    <a:moveTo>
                      <a:pt x="225457" y="2286"/>
                    </a:moveTo>
                    <a:cubicBezTo>
                      <a:pt x="218884" y="43625"/>
                      <a:pt x="206978" y="103441"/>
                      <a:pt x="189929" y="129445"/>
                    </a:cubicBezTo>
                    <a:cubicBezTo>
                      <a:pt x="164401" y="168211"/>
                      <a:pt x="30956" y="232981"/>
                      <a:pt x="13335" y="241459"/>
                    </a:cubicBezTo>
                    <a:lnTo>
                      <a:pt x="4667" y="219647"/>
                    </a:lnTo>
                    <a:lnTo>
                      <a:pt x="104299" y="114014"/>
                    </a:lnTo>
                    <a:cubicBezTo>
                      <a:pt x="119634" y="97727"/>
                      <a:pt x="129159" y="77438"/>
                      <a:pt x="131826" y="55340"/>
                    </a:cubicBezTo>
                    <a:lnTo>
                      <a:pt x="137922" y="5334"/>
                    </a:lnTo>
                    <a:cubicBezTo>
                      <a:pt x="136684" y="4572"/>
                      <a:pt x="135446" y="3905"/>
                      <a:pt x="134207" y="3048"/>
                    </a:cubicBezTo>
                    <a:lnTo>
                      <a:pt x="127825" y="54864"/>
                    </a:lnTo>
                    <a:cubicBezTo>
                      <a:pt x="125254" y="76200"/>
                      <a:pt x="116014" y="95726"/>
                      <a:pt x="101346" y="111347"/>
                    </a:cubicBezTo>
                    <a:lnTo>
                      <a:pt x="857" y="217932"/>
                    </a:lnTo>
                    <a:lnTo>
                      <a:pt x="0" y="218885"/>
                    </a:lnTo>
                    <a:lnTo>
                      <a:pt x="11239" y="246983"/>
                    </a:lnTo>
                    <a:lnTo>
                      <a:pt x="13145" y="246126"/>
                    </a:lnTo>
                    <a:cubicBezTo>
                      <a:pt x="19336" y="243173"/>
                      <a:pt x="165354" y="174022"/>
                      <a:pt x="193262" y="131826"/>
                    </a:cubicBezTo>
                    <a:cubicBezTo>
                      <a:pt x="211455" y="104299"/>
                      <a:pt x="223552" y="41624"/>
                      <a:pt x="229933" y="0"/>
                    </a:cubicBezTo>
                    <a:cubicBezTo>
                      <a:pt x="228409" y="667"/>
                      <a:pt x="226981" y="1524"/>
                      <a:pt x="225457" y="2286"/>
                    </a:cubicBezTo>
                    <a:close/>
                  </a:path>
                </a:pathLst>
              </a:custGeom>
              <a:solidFill>
                <a:srgbClr val="0070C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37" name="Forma Livre: Forma 36">
              <a:extLst>
                <a:ext uri="{FF2B5EF4-FFF2-40B4-BE49-F238E27FC236}">
                  <a16:creationId xmlns:a16="http://schemas.microsoft.com/office/drawing/2014/main" id="{4DCBDEC4-451E-7568-FB96-956E2309C873}"/>
                </a:ext>
              </a:extLst>
            </p:cNvPr>
            <p:cNvSpPr/>
            <p:nvPr/>
          </p:nvSpPr>
          <p:spPr>
            <a:xfrm>
              <a:off x="9966225" y="2004077"/>
              <a:ext cx="32274" cy="30485"/>
            </a:xfrm>
            <a:custGeom>
              <a:avLst/>
              <a:gdLst>
                <a:gd name="connsiteX0" fmla="*/ 0 w 42957"/>
                <a:gd name="connsiteY0" fmla="*/ 22003 h 40576"/>
                <a:gd name="connsiteX1" fmla="*/ 39814 w 42957"/>
                <a:gd name="connsiteY1" fmla="*/ 0 h 40576"/>
                <a:gd name="connsiteX2" fmla="*/ 42958 w 42957"/>
                <a:gd name="connsiteY2" fmla="*/ 18288 h 40576"/>
                <a:gd name="connsiteX3" fmla="*/ 0 w 42957"/>
                <a:gd name="connsiteY3" fmla="*/ 40577 h 4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957" h="40576">
                  <a:moveTo>
                    <a:pt x="0" y="22003"/>
                  </a:moveTo>
                  <a:lnTo>
                    <a:pt x="39814" y="0"/>
                  </a:lnTo>
                  <a:lnTo>
                    <a:pt x="42958" y="18288"/>
                  </a:lnTo>
                  <a:lnTo>
                    <a:pt x="0" y="40577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orma Livre: Forma 37">
              <a:extLst>
                <a:ext uri="{FF2B5EF4-FFF2-40B4-BE49-F238E27FC236}">
                  <a16:creationId xmlns:a16="http://schemas.microsoft.com/office/drawing/2014/main" id="{CDC3088C-CB7B-2289-B2EB-EC391E710F18}"/>
                </a:ext>
              </a:extLst>
            </p:cNvPr>
            <p:cNvSpPr/>
            <p:nvPr/>
          </p:nvSpPr>
          <p:spPr>
            <a:xfrm>
              <a:off x="7619474" y="2914211"/>
              <a:ext cx="294408" cy="118155"/>
            </a:xfrm>
            <a:custGeom>
              <a:avLst/>
              <a:gdLst>
                <a:gd name="connsiteX0" fmla="*/ 65246 w 391858"/>
                <a:gd name="connsiteY0" fmla="*/ 0 h 157264"/>
                <a:gd name="connsiteX1" fmla="*/ 182975 w 391858"/>
                <a:gd name="connsiteY1" fmla="*/ 86392 h 157264"/>
                <a:gd name="connsiteX2" fmla="*/ 321755 w 391858"/>
                <a:gd name="connsiteY2" fmla="*/ 128207 h 157264"/>
                <a:gd name="connsiteX3" fmla="*/ 339090 w 391858"/>
                <a:gd name="connsiteY3" fmla="*/ 124682 h 157264"/>
                <a:gd name="connsiteX4" fmla="*/ 361950 w 391858"/>
                <a:gd name="connsiteY4" fmla="*/ 109728 h 157264"/>
                <a:gd name="connsiteX5" fmla="*/ 391859 w 391858"/>
                <a:gd name="connsiteY5" fmla="*/ 123825 h 157264"/>
                <a:gd name="connsiteX6" fmla="*/ 378523 w 391858"/>
                <a:gd name="connsiteY6" fmla="*/ 147257 h 157264"/>
                <a:gd name="connsiteX7" fmla="*/ 357950 w 391858"/>
                <a:gd name="connsiteY7" fmla="*/ 157258 h 157264"/>
                <a:gd name="connsiteX8" fmla="*/ 164878 w 391858"/>
                <a:gd name="connsiteY8" fmla="*/ 132493 h 157264"/>
                <a:gd name="connsiteX9" fmla="*/ 0 w 391858"/>
                <a:gd name="connsiteY9" fmla="*/ 50863 h 157264"/>
                <a:gd name="connsiteX10" fmla="*/ 65246 w 391858"/>
                <a:gd name="connsiteY10" fmla="*/ 0 h 157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1858" h="157264">
                  <a:moveTo>
                    <a:pt x="65246" y="0"/>
                  </a:moveTo>
                  <a:cubicBezTo>
                    <a:pt x="65246" y="0"/>
                    <a:pt x="137541" y="59626"/>
                    <a:pt x="182975" y="86392"/>
                  </a:cubicBezTo>
                  <a:cubicBezTo>
                    <a:pt x="220028" y="108204"/>
                    <a:pt x="295370" y="123349"/>
                    <a:pt x="321755" y="128207"/>
                  </a:cubicBezTo>
                  <a:cubicBezTo>
                    <a:pt x="327755" y="129350"/>
                    <a:pt x="333946" y="128016"/>
                    <a:pt x="339090" y="124682"/>
                  </a:cubicBezTo>
                  <a:lnTo>
                    <a:pt x="361950" y="109728"/>
                  </a:lnTo>
                  <a:cubicBezTo>
                    <a:pt x="361950" y="109728"/>
                    <a:pt x="387287" y="107728"/>
                    <a:pt x="391859" y="123825"/>
                  </a:cubicBezTo>
                  <a:cubicBezTo>
                    <a:pt x="387477" y="134017"/>
                    <a:pt x="382619" y="141732"/>
                    <a:pt x="378523" y="147257"/>
                  </a:cubicBezTo>
                  <a:cubicBezTo>
                    <a:pt x="373666" y="153734"/>
                    <a:pt x="366046" y="157448"/>
                    <a:pt x="357950" y="157258"/>
                  </a:cubicBezTo>
                  <a:cubicBezTo>
                    <a:pt x="325184" y="156496"/>
                    <a:pt x="230315" y="152591"/>
                    <a:pt x="164878" y="132493"/>
                  </a:cubicBezTo>
                  <a:cubicBezTo>
                    <a:pt x="84582" y="107823"/>
                    <a:pt x="0" y="50863"/>
                    <a:pt x="0" y="50863"/>
                  </a:cubicBezTo>
                  <a:lnTo>
                    <a:pt x="65246" y="0"/>
                  </a:lnTo>
                  <a:close/>
                </a:path>
              </a:pathLst>
            </a:custGeom>
            <a:solidFill>
              <a:srgbClr val="F4A08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39" name="Gráfico 10">
              <a:extLst>
                <a:ext uri="{FF2B5EF4-FFF2-40B4-BE49-F238E27FC236}">
                  <a16:creationId xmlns:a16="http://schemas.microsoft.com/office/drawing/2014/main" id="{EFC8A1DD-668E-CED2-1A3E-8F5F0F786718}"/>
                </a:ext>
              </a:extLst>
            </p:cNvPr>
            <p:cNvGrpSpPr/>
            <p:nvPr/>
          </p:nvGrpSpPr>
          <p:grpSpPr>
            <a:xfrm>
              <a:off x="7408107" y="2795488"/>
              <a:ext cx="338016" cy="766149"/>
              <a:chOff x="5113083" y="2439772"/>
              <a:chExt cx="449900" cy="1019746"/>
            </a:xfrm>
          </p:grpSpPr>
          <p:grpSp>
            <p:nvGrpSpPr>
              <p:cNvPr id="80" name="Gráfico 10">
                <a:extLst>
                  <a:ext uri="{FF2B5EF4-FFF2-40B4-BE49-F238E27FC236}">
                    <a16:creationId xmlns:a16="http://schemas.microsoft.com/office/drawing/2014/main" id="{F1C5D2C4-B369-C591-2DF1-F199CE58B2D9}"/>
                  </a:ext>
                </a:extLst>
              </p:cNvPr>
              <p:cNvGrpSpPr/>
              <p:nvPr/>
            </p:nvGrpSpPr>
            <p:grpSpPr>
              <a:xfrm>
                <a:off x="5407272" y="2439772"/>
                <a:ext cx="155711" cy="162687"/>
                <a:chOff x="5407272" y="2439772"/>
                <a:chExt cx="155711" cy="162687"/>
              </a:xfrm>
            </p:grpSpPr>
            <p:sp>
              <p:nvSpPr>
                <p:cNvPr id="90" name="Forma Livre: Forma 89">
                  <a:extLst>
                    <a:ext uri="{FF2B5EF4-FFF2-40B4-BE49-F238E27FC236}">
                      <a16:creationId xmlns:a16="http://schemas.microsoft.com/office/drawing/2014/main" id="{0E0C82AB-8CBA-415B-BC5A-22060D3AC0F4}"/>
                    </a:ext>
                  </a:extLst>
                </p:cNvPr>
                <p:cNvSpPr/>
                <p:nvPr/>
              </p:nvSpPr>
              <p:spPr>
                <a:xfrm>
                  <a:off x="5407272" y="2521592"/>
                  <a:ext cx="62198" cy="80867"/>
                </a:xfrm>
                <a:custGeom>
                  <a:avLst/>
                  <a:gdLst>
                    <a:gd name="connsiteX0" fmla="*/ 62198 w 62198"/>
                    <a:gd name="connsiteY0" fmla="*/ 36862 h 80867"/>
                    <a:gd name="connsiteX1" fmla="*/ 45815 w 62198"/>
                    <a:gd name="connsiteY1" fmla="*/ 80867 h 80867"/>
                    <a:gd name="connsiteX2" fmla="*/ 0 w 62198"/>
                    <a:gd name="connsiteY2" fmla="*/ 60674 h 80867"/>
                    <a:gd name="connsiteX3" fmla="*/ 40957 w 62198"/>
                    <a:gd name="connsiteY3" fmla="*/ 0 h 808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2198" h="80867">
                      <a:moveTo>
                        <a:pt x="62198" y="36862"/>
                      </a:moveTo>
                      <a:lnTo>
                        <a:pt x="45815" y="80867"/>
                      </a:lnTo>
                      <a:lnTo>
                        <a:pt x="0" y="60674"/>
                      </a:lnTo>
                      <a:lnTo>
                        <a:pt x="40957" y="0"/>
                      </a:lnTo>
                      <a:close/>
                    </a:path>
                  </a:pathLst>
                </a:custGeom>
                <a:solidFill>
                  <a:srgbClr val="F4A08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Forma Livre: Forma 90">
                  <a:extLst>
                    <a:ext uri="{FF2B5EF4-FFF2-40B4-BE49-F238E27FC236}">
                      <a16:creationId xmlns:a16="http://schemas.microsoft.com/office/drawing/2014/main" id="{353D1517-BF31-A943-3197-B426D9A8C2E6}"/>
                    </a:ext>
                  </a:extLst>
                </p:cNvPr>
                <p:cNvSpPr/>
                <p:nvPr/>
              </p:nvSpPr>
              <p:spPr>
                <a:xfrm>
                  <a:off x="5446847" y="2472157"/>
                  <a:ext cx="84345" cy="104150"/>
                </a:xfrm>
                <a:custGeom>
                  <a:avLst/>
                  <a:gdLst>
                    <a:gd name="connsiteX0" fmla="*/ 32624 w 84345"/>
                    <a:gd name="connsiteY0" fmla="*/ 100775 h 104150"/>
                    <a:gd name="connsiteX1" fmla="*/ 46721 w 84345"/>
                    <a:gd name="connsiteY1" fmla="*/ 103918 h 104150"/>
                    <a:gd name="connsiteX2" fmla="*/ 84345 w 84345"/>
                    <a:gd name="connsiteY2" fmla="*/ 21908 h 104150"/>
                    <a:gd name="connsiteX3" fmla="*/ 65200 w 84345"/>
                    <a:gd name="connsiteY3" fmla="*/ 0 h 104150"/>
                    <a:gd name="connsiteX4" fmla="*/ 25290 w 84345"/>
                    <a:gd name="connsiteY4" fmla="*/ 4096 h 104150"/>
                    <a:gd name="connsiteX5" fmla="*/ 4145 w 84345"/>
                    <a:gd name="connsiteY5" fmla="*/ 42767 h 104150"/>
                    <a:gd name="connsiteX6" fmla="*/ 4430 w 84345"/>
                    <a:gd name="connsiteY6" fmla="*/ 76771 h 104150"/>
                    <a:gd name="connsiteX7" fmla="*/ 4430 w 84345"/>
                    <a:gd name="connsiteY7" fmla="*/ 76771 h 104150"/>
                    <a:gd name="connsiteX8" fmla="*/ 32624 w 84345"/>
                    <a:gd name="connsiteY8" fmla="*/ 100775 h 104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4345" h="104150">
                      <a:moveTo>
                        <a:pt x="32624" y="100775"/>
                      </a:moveTo>
                      <a:cubicBezTo>
                        <a:pt x="37958" y="103156"/>
                        <a:pt x="43102" y="104775"/>
                        <a:pt x="46721" y="103918"/>
                      </a:cubicBezTo>
                      <a:cubicBezTo>
                        <a:pt x="72534" y="89440"/>
                        <a:pt x="84345" y="21908"/>
                        <a:pt x="84345" y="21908"/>
                      </a:cubicBezTo>
                      <a:lnTo>
                        <a:pt x="65200" y="0"/>
                      </a:lnTo>
                      <a:lnTo>
                        <a:pt x="25290" y="4096"/>
                      </a:lnTo>
                      <a:lnTo>
                        <a:pt x="4145" y="42767"/>
                      </a:lnTo>
                      <a:cubicBezTo>
                        <a:pt x="-1475" y="53150"/>
                        <a:pt x="-1380" y="65723"/>
                        <a:pt x="4430" y="76771"/>
                      </a:cubicBezTo>
                      <a:lnTo>
                        <a:pt x="4430" y="76771"/>
                      </a:lnTo>
                      <a:cubicBezTo>
                        <a:pt x="11384" y="86963"/>
                        <a:pt x="21099" y="95441"/>
                        <a:pt x="32624" y="100775"/>
                      </a:cubicBezTo>
                      <a:close/>
                    </a:path>
                  </a:pathLst>
                </a:custGeom>
                <a:solidFill>
                  <a:srgbClr val="F8B68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2" name="Forma Livre: Forma 91">
                  <a:extLst>
                    <a:ext uri="{FF2B5EF4-FFF2-40B4-BE49-F238E27FC236}">
                      <a16:creationId xmlns:a16="http://schemas.microsoft.com/office/drawing/2014/main" id="{31FD107B-EAB3-37C1-DA8B-418AA41C9616}"/>
                    </a:ext>
                  </a:extLst>
                </p:cNvPr>
                <p:cNvSpPr/>
                <p:nvPr/>
              </p:nvSpPr>
              <p:spPr>
                <a:xfrm>
                  <a:off x="5443350" y="2439772"/>
                  <a:ext cx="119633" cy="81819"/>
                </a:xfrm>
                <a:custGeom>
                  <a:avLst/>
                  <a:gdLst>
                    <a:gd name="connsiteX0" fmla="*/ 22596 w 119633"/>
                    <a:gd name="connsiteY0" fmla="*/ 61245 h 81819"/>
                    <a:gd name="connsiteX1" fmla="*/ 40407 w 119633"/>
                    <a:gd name="connsiteY1" fmla="*/ 44101 h 81819"/>
                    <a:gd name="connsiteX2" fmla="*/ 67173 w 119633"/>
                    <a:gd name="connsiteY2" fmla="*/ 59150 h 81819"/>
                    <a:gd name="connsiteX3" fmla="*/ 117655 w 119633"/>
                    <a:gd name="connsiteY3" fmla="*/ 51720 h 81819"/>
                    <a:gd name="connsiteX4" fmla="*/ 112035 w 119633"/>
                    <a:gd name="connsiteY4" fmla="*/ 21812 h 81819"/>
                    <a:gd name="connsiteX5" fmla="*/ 92509 w 119633"/>
                    <a:gd name="connsiteY5" fmla="*/ 11906 h 81819"/>
                    <a:gd name="connsiteX6" fmla="*/ 42408 w 119633"/>
                    <a:gd name="connsiteY6" fmla="*/ 6096 h 81819"/>
                    <a:gd name="connsiteX7" fmla="*/ 8022 w 119633"/>
                    <a:gd name="connsiteY7" fmla="*/ 9620 h 81819"/>
                    <a:gd name="connsiteX8" fmla="*/ 21 w 119633"/>
                    <a:gd name="connsiteY8" fmla="*/ 57436 h 81819"/>
                    <a:gd name="connsiteX9" fmla="*/ 4879 w 119633"/>
                    <a:gd name="connsiteY9" fmla="*/ 81820 h 81819"/>
                    <a:gd name="connsiteX10" fmla="*/ 4879 w 119633"/>
                    <a:gd name="connsiteY10" fmla="*/ 81820 h 81819"/>
                    <a:gd name="connsiteX11" fmla="*/ 22596 w 119633"/>
                    <a:gd name="connsiteY11" fmla="*/ 61245 h 818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19633" h="81819">
                      <a:moveTo>
                        <a:pt x="22596" y="61245"/>
                      </a:moveTo>
                      <a:cubicBezTo>
                        <a:pt x="27549" y="55435"/>
                        <a:pt x="34216" y="39624"/>
                        <a:pt x="40407" y="44101"/>
                      </a:cubicBezTo>
                      <a:cubicBezTo>
                        <a:pt x="44979" y="47339"/>
                        <a:pt x="61553" y="56293"/>
                        <a:pt x="67173" y="59150"/>
                      </a:cubicBezTo>
                      <a:cubicBezTo>
                        <a:pt x="80698" y="65818"/>
                        <a:pt x="107559" y="72390"/>
                        <a:pt x="117655" y="51720"/>
                      </a:cubicBezTo>
                      <a:cubicBezTo>
                        <a:pt x="122703" y="41433"/>
                        <a:pt x="117084" y="27622"/>
                        <a:pt x="112035" y="21812"/>
                      </a:cubicBezTo>
                      <a:cubicBezTo>
                        <a:pt x="107082" y="16192"/>
                        <a:pt x="100034" y="12858"/>
                        <a:pt x="92509" y="11906"/>
                      </a:cubicBezTo>
                      <a:cubicBezTo>
                        <a:pt x="74983" y="9811"/>
                        <a:pt x="49551" y="11620"/>
                        <a:pt x="42408" y="6096"/>
                      </a:cubicBezTo>
                      <a:cubicBezTo>
                        <a:pt x="30406" y="-3143"/>
                        <a:pt x="13356" y="-1810"/>
                        <a:pt x="8022" y="9620"/>
                      </a:cubicBezTo>
                      <a:cubicBezTo>
                        <a:pt x="2307" y="21812"/>
                        <a:pt x="-264" y="43053"/>
                        <a:pt x="21" y="57436"/>
                      </a:cubicBezTo>
                      <a:cubicBezTo>
                        <a:pt x="212" y="65818"/>
                        <a:pt x="1831" y="74009"/>
                        <a:pt x="4879" y="81820"/>
                      </a:cubicBezTo>
                      <a:lnTo>
                        <a:pt x="4879" y="81820"/>
                      </a:lnTo>
                      <a:lnTo>
                        <a:pt x="22596" y="61245"/>
                      </a:lnTo>
                      <a:close/>
                    </a:path>
                  </a:pathLst>
                </a:custGeom>
                <a:solidFill>
                  <a:srgbClr val="EE730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3" name="Forma Livre: Forma 92">
                  <a:extLst>
                    <a:ext uri="{FF2B5EF4-FFF2-40B4-BE49-F238E27FC236}">
                      <a16:creationId xmlns:a16="http://schemas.microsoft.com/office/drawing/2014/main" id="{6E7C6326-96DA-251A-7E84-F04FA498914B}"/>
                    </a:ext>
                  </a:extLst>
                </p:cNvPr>
                <p:cNvSpPr/>
                <p:nvPr/>
              </p:nvSpPr>
              <p:spPr>
                <a:xfrm>
                  <a:off x="5446750" y="2495550"/>
                  <a:ext cx="17912" cy="19413"/>
                </a:xfrm>
                <a:custGeom>
                  <a:avLst/>
                  <a:gdLst>
                    <a:gd name="connsiteX0" fmla="*/ 4718 w 17912"/>
                    <a:gd name="connsiteY0" fmla="*/ 229 h 19413"/>
                    <a:gd name="connsiteX1" fmla="*/ 16814 w 17912"/>
                    <a:gd name="connsiteY1" fmla="*/ 7563 h 19413"/>
                    <a:gd name="connsiteX2" fmla="*/ 13195 w 17912"/>
                    <a:gd name="connsiteY2" fmla="*/ 19184 h 19413"/>
                    <a:gd name="connsiteX3" fmla="*/ 1098 w 17912"/>
                    <a:gd name="connsiteY3" fmla="*/ 11850 h 19413"/>
                    <a:gd name="connsiteX4" fmla="*/ 4718 w 17912"/>
                    <a:gd name="connsiteY4" fmla="*/ 229 h 194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912" h="19413">
                      <a:moveTo>
                        <a:pt x="4718" y="229"/>
                      </a:moveTo>
                      <a:cubicBezTo>
                        <a:pt x="9004" y="-914"/>
                        <a:pt x="14433" y="2325"/>
                        <a:pt x="16814" y="7563"/>
                      </a:cubicBezTo>
                      <a:cubicBezTo>
                        <a:pt x="19196" y="12802"/>
                        <a:pt x="17576" y="18041"/>
                        <a:pt x="13195" y="19184"/>
                      </a:cubicBezTo>
                      <a:cubicBezTo>
                        <a:pt x="8909" y="20327"/>
                        <a:pt x="3479" y="17088"/>
                        <a:pt x="1098" y="11850"/>
                      </a:cubicBezTo>
                      <a:cubicBezTo>
                        <a:pt x="-1283" y="6611"/>
                        <a:pt x="336" y="1372"/>
                        <a:pt x="4718" y="229"/>
                      </a:cubicBezTo>
                      <a:close/>
                    </a:path>
                  </a:pathLst>
                </a:custGeom>
                <a:solidFill>
                  <a:srgbClr val="F8B68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81" name="Gráfico 10">
                <a:extLst>
                  <a:ext uri="{FF2B5EF4-FFF2-40B4-BE49-F238E27FC236}">
                    <a16:creationId xmlns:a16="http://schemas.microsoft.com/office/drawing/2014/main" id="{EB38641E-C840-25F0-7C58-9622B2F7C896}"/>
                  </a:ext>
                </a:extLst>
              </p:cNvPr>
              <p:cNvGrpSpPr/>
              <p:nvPr/>
            </p:nvGrpSpPr>
            <p:grpSpPr>
              <a:xfrm>
                <a:off x="5191530" y="3371127"/>
                <a:ext cx="113061" cy="88391"/>
                <a:chOff x="5191530" y="3371127"/>
                <a:chExt cx="113061" cy="88391"/>
              </a:xfrm>
            </p:grpSpPr>
            <p:sp>
              <p:nvSpPr>
                <p:cNvPr id="88" name="Forma Livre: Forma 87">
                  <a:extLst>
                    <a:ext uri="{FF2B5EF4-FFF2-40B4-BE49-F238E27FC236}">
                      <a16:creationId xmlns:a16="http://schemas.microsoft.com/office/drawing/2014/main" id="{7DEAF09F-2755-93B9-6778-EA68CC98A4BA}"/>
                    </a:ext>
                  </a:extLst>
                </p:cNvPr>
                <p:cNvSpPr/>
                <p:nvPr/>
              </p:nvSpPr>
              <p:spPr>
                <a:xfrm>
                  <a:off x="5191530" y="3395415"/>
                  <a:ext cx="113061" cy="64103"/>
                </a:xfrm>
                <a:custGeom>
                  <a:avLst/>
                  <a:gdLst>
                    <a:gd name="connsiteX0" fmla="*/ 48578 w 113061"/>
                    <a:gd name="connsiteY0" fmla="*/ 9144 h 64103"/>
                    <a:gd name="connsiteX1" fmla="*/ 103346 w 113061"/>
                    <a:gd name="connsiteY1" fmla="*/ 52673 h 64103"/>
                    <a:gd name="connsiteX2" fmla="*/ 113062 w 113061"/>
                    <a:gd name="connsiteY2" fmla="*/ 64103 h 64103"/>
                    <a:gd name="connsiteX3" fmla="*/ 50102 w 113061"/>
                    <a:gd name="connsiteY3" fmla="*/ 64103 h 64103"/>
                    <a:gd name="connsiteX4" fmla="*/ 25432 w 113061"/>
                    <a:gd name="connsiteY4" fmla="*/ 36386 h 64103"/>
                    <a:gd name="connsiteX5" fmla="*/ 17812 w 113061"/>
                    <a:gd name="connsiteY5" fmla="*/ 42958 h 64103"/>
                    <a:gd name="connsiteX6" fmla="*/ 0 w 113061"/>
                    <a:gd name="connsiteY6" fmla="*/ 25527 h 64103"/>
                    <a:gd name="connsiteX7" fmla="*/ 21812 w 113061"/>
                    <a:gd name="connsiteY7" fmla="*/ 0 h 64103"/>
                    <a:gd name="connsiteX8" fmla="*/ 48578 w 113061"/>
                    <a:gd name="connsiteY8" fmla="*/ 9144 h 641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3061" h="64103">
                      <a:moveTo>
                        <a:pt x="48578" y="9144"/>
                      </a:moveTo>
                      <a:cubicBezTo>
                        <a:pt x="48578" y="9144"/>
                        <a:pt x="48673" y="36386"/>
                        <a:pt x="103346" y="52673"/>
                      </a:cubicBezTo>
                      <a:cubicBezTo>
                        <a:pt x="114586" y="56007"/>
                        <a:pt x="110871" y="59341"/>
                        <a:pt x="113062" y="64103"/>
                      </a:cubicBezTo>
                      <a:cubicBezTo>
                        <a:pt x="95059" y="64103"/>
                        <a:pt x="50102" y="64103"/>
                        <a:pt x="50102" y="64103"/>
                      </a:cubicBezTo>
                      <a:lnTo>
                        <a:pt x="25432" y="36386"/>
                      </a:lnTo>
                      <a:lnTo>
                        <a:pt x="17812" y="42958"/>
                      </a:lnTo>
                      <a:lnTo>
                        <a:pt x="0" y="25527"/>
                      </a:lnTo>
                      <a:cubicBezTo>
                        <a:pt x="0" y="25527"/>
                        <a:pt x="8287" y="286"/>
                        <a:pt x="21812" y="0"/>
                      </a:cubicBezTo>
                      <a:cubicBezTo>
                        <a:pt x="33052" y="3810"/>
                        <a:pt x="48578" y="9144"/>
                        <a:pt x="48578" y="9144"/>
                      </a:cubicBezTo>
                      <a:close/>
                    </a:path>
                  </a:pathLst>
                </a:custGeom>
                <a:solidFill>
                  <a:srgbClr val="13223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9" name="Forma Livre: Forma 88">
                  <a:extLst>
                    <a:ext uri="{FF2B5EF4-FFF2-40B4-BE49-F238E27FC236}">
                      <a16:creationId xmlns:a16="http://schemas.microsoft.com/office/drawing/2014/main" id="{57C9BFC4-E39B-0830-9712-958F7CDBA5AA}"/>
                    </a:ext>
                  </a:extLst>
                </p:cNvPr>
                <p:cNvSpPr/>
                <p:nvPr/>
              </p:nvSpPr>
              <p:spPr>
                <a:xfrm>
                  <a:off x="5213343" y="3371127"/>
                  <a:ext cx="36956" cy="34383"/>
                </a:xfrm>
                <a:custGeom>
                  <a:avLst/>
                  <a:gdLst>
                    <a:gd name="connsiteX0" fmla="*/ 36957 w 36956"/>
                    <a:gd name="connsiteY0" fmla="*/ 9811 h 34383"/>
                    <a:gd name="connsiteX1" fmla="*/ 26765 w 36956"/>
                    <a:gd name="connsiteY1" fmla="*/ 33433 h 34383"/>
                    <a:gd name="connsiteX2" fmla="*/ 26765 w 36956"/>
                    <a:gd name="connsiteY2" fmla="*/ 33433 h 34383"/>
                    <a:gd name="connsiteX3" fmla="*/ 1143 w 36956"/>
                    <a:gd name="connsiteY3" fmla="*/ 25622 h 34383"/>
                    <a:gd name="connsiteX4" fmla="*/ 0 w 36956"/>
                    <a:gd name="connsiteY4" fmla="*/ 24289 h 34383"/>
                    <a:gd name="connsiteX5" fmla="*/ 8287 w 36956"/>
                    <a:gd name="connsiteY5" fmla="*/ 0 h 34383"/>
                    <a:gd name="connsiteX6" fmla="*/ 36957 w 36956"/>
                    <a:gd name="connsiteY6" fmla="*/ 9811 h 343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6956" h="34383">
                      <a:moveTo>
                        <a:pt x="36957" y="9811"/>
                      </a:moveTo>
                      <a:lnTo>
                        <a:pt x="26765" y="33433"/>
                      </a:lnTo>
                      <a:lnTo>
                        <a:pt x="26765" y="33433"/>
                      </a:lnTo>
                      <a:cubicBezTo>
                        <a:pt x="17431" y="36100"/>
                        <a:pt x="7429" y="33052"/>
                        <a:pt x="1143" y="25622"/>
                      </a:cubicBezTo>
                      <a:lnTo>
                        <a:pt x="0" y="24289"/>
                      </a:lnTo>
                      <a:lnTo>
                        <a:pt x="8287" y="0"/>
                      </a:lnTo>
                      <a:lnTo>
                        <a:pt x="36957" y="9811"/>
                      </a:lnTo>
                      <a:close/>
                    </a:path>
                  </a:pathLst>
                </a:custGeom>
                <a:solidFill>
                  <a:srgbClr val="F8B68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82" name="Forma Livre: Forma 81">
                <a:extLst>
                  <a:ext uri="{FF2B5EF4-FFF2-40B4-BE49-F238E27FC236}">
                    <a16:creationId xmlns:a16="http://schemas.microsoft.com/office/drawing/2014/main" id="{0AFE6341-9AF1-876C-DB27-26715B63BD7C}"/>
                  </a:ext>
                </a:extLst>
              </p:cNvPr>
              <p:cNvSpPr/>
              <p:nvPr/>
            </p:nvSpPr>
            <p:spPr>
              <a:xfrm>
                <a:off x="5177052" y="2558645"/>
                <a:ext cx="283439" cy="318705"/>
              </a:xfrm>
              <a:custGeom>
                <a:avLst/>
                <a:gdLst>
                  <a:gd name="connsiteX0" fmla="*/ 233839 w 283439"/>
                  <a:gd name="connsiteY0" fmla="*/ 571 h 318705"/>
                  <a:gd name="connsiteX1" fmla="*/ 0 w 283439"/>
                  <a:gd name="connsiteY1" fmla="*/ 215264 h 318705"/>
                  <a:gd name="connsiteX2" fmla="*/ 147352 w 283439"/>
                  <a:gd name="connsiteY2" fmla="*/ 318706 h 318705"/>
                  <a:gd name="connsiteX3" fmla="*/ 280606 w 283439"/>
                  <a:gd name="connsiteY3" fmla="*/ 44290 h 318705"/>
                  <a:gd name="connsiteX4" fmla="*/ 233839 w 283439"/>
                  <a:gd name="connsiteY4" fmla="*/ 571 h 318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3439" h="318705">
                    <a:moveTo>
                      <a:pt x="233839" y="571"/>
                    </a:moveTo>
                    <a:cubicBezTo>
                      <a:pt x="111919" y="-12860"/>
                      <a:pt x="0" y="215264"/>
                      <a:pt x="0" y="215264"/>
                    </a:cubicBezTo>
                    <a:lnTo>
                      <a:pt x="147352" y="318706"/>
                    </a:lnTo>
                    <a:cubicBezTo>
                      <a:pt x="147352" y="318706"/>
                      <a:pt x="306419" y="173068"/>
                      <a:pt x="280606" y="44290"/>
                    </a:cubicBezTo>
                    <a:cubicBezTo>
                      <a:pt x="276035" y="21335"/>
                      <a:pt x="257080" y="3142"/>
                      <a:pt x="233839" y="571"/>
                    </a:cubicBezTo>
                    <a:close/>
                  </a:path>
                </a:pathLst>
              </a:custGeom>
              <a:solidFill>
                <a:srgbClr val="FFC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83" name="Gráfico 10">
                <a:extLst>
                  <a:ext uri="{FF2B5EF4-FFF2-40B4-BE49-F238E27FC236}">
                    <a16:creationId xmlns:a16="http://schemas.microsoft.com/office/drawing/2014/main" id="{7E492FD8-98E9-2EEC-0B77-5C39E54E81A8}"/>
                  </a:ext>
                </a:extLst>
              </p:cNvPr>
              <p:cNvGrpSpPr/>
              <p:nvPr/>
            </p:nvGrpSpPr>
            <p:grpSpPr>
              <a:xfrm>
                <a:off x="5115780" y="3392272"/>
                <a:ext cx="112135" cy="65912"/>
                <a:chOff x="5115780" y="3392272"/>
                <a:chExt cx="112135" cy="65912"/>
              </a:xfrm>
            </p:grpSpPr>
            <p:sp>
              <p:nvSpPr>
                <p:cNvPr id="86" name="Forma Livre: Forma 85">
                  <a:extLst>
                    <a:ext uri="{FF2B5EF4-FFF2-40B4-BE49-F238E27FC236}">
                      <a16:creationId xmlns:a16="http://schemas.microsoft.com/office/drawing/2014/main" id="{C3ACC72C-B043-61DF-D5BA-9BEDAF0EE3B4}"/>
                    </a:ext>
                  </a:extLst>
                </p:cNvPr>
                <p:cNvSpPr/>
                <p:nvPr/>
              </p:nvSpPr>
              <p:spPr>
                <a:xfrm>
                  <a:off x="5115780" y="3417894"/>
                  <a:ext cx="112135" cy="40290"/>
                </a:xfrm>
                <a:custGeom>
                  <a:avLst/>
                  <a:gdLst>
                    <a:gd name="connsiteX0" fmla="*/ 36317 w 112135"/>
                    <a:gd name="connsiteY0" fmla="*/ 0 h 40290"/>
                    <a:gd name="connsiteX1" fmla="*/ 93848 w 112135"/>
                    <a:gd name="connsiteY1" fmla="*/ 26479 h 40290"/>
                    <a:gd name="connsiteX2" fmla="*/ 112135 w 112135"/>
                    <a:gd name="connsiteY2" fmla="*/ 40291 h 40290"/>
                    <a:gd name="connsiteX3" fmla="*/ 63558 w 112135"/>
                    <a:gd name="connsiteY3" fmla="*/ 40291 h 40290"/>
                    <a:gd name="connsiteX4" fmla="*/ 23172 w 112135"/>
                    <a:gd name="connsiteY4" fmla="*/ 33338 h 40290"/>
                    <a:gd name="connsiteX5" fmla="*/ 23172 w 112135"/>
                    <a:gd name="connsiteY5" fmla="*/ 40291 h 40290"/>
                    <a:gd name="connsiteX6" fmla="*/ 1455 w 112135"/>
                    <a:gd name="connsiteY6" fmla="*/ 40291 h 40290"/>
                    <a:gd name="connsiteX7" fmla="*/ 8122 w 112135"/>
                    <a:gd name="connsiteY7" fmla="*/ 95 h 40290"/>
                    <a:gd name="connsiteX8" fmla="*/ 36317 w 112135"/>
                    <a:gd name="connsiteY8" fmla="*/ 0 h 402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2135" h="40290">
                      <a:moveTo>
                        <a:pt x="36317" y="0"/>
                      </a:moveTo>
                      <a:cubicBezTo>
                        <a:pt x="36317" y="0"/>
                        <a:pt x="53842" y="16288"/>
                        <a:pt x="93848" y="26479"/>
                      </a:cubicBezTo>
                      <a:cubicBezTo>
                        <a:pt x="102610" y="28765"/>
                        <a:pt x="112135" y="25717"/>
                        <a:pt x="112135" y="40291"/>
                      </a:cubicBezTo>
                      <a:cubicBezTo>
                        <a:pt x="93467" y="40291"/>
                        <a:pt x="63558" y="40291"/>
                        <a:pt x="63558" y="40291"/>
                      </a:cubicBezTo>
                      <a:lnTo>
                        <a:pt x="23172" y="33338"/>
                      </a:lnTo>
                      <a:lnTo>
                        <a:pt x="23172" y="40291"/>
                      </a:lnTo>
                      <a:lnTo>
                        <a:pt x="1455" y="40291"/>
                      </a:lnTo>
                      <a:cubicBezTo>
                        <a:pt x="1455" y="40291"/>
                        <a:pt x="-4641" y="4667"/>
                        <a:pt x="8122" y="95"/>
                      </a:cubicBezTo>
                      <a:cubicBezTo>
                        <a:pt x="19838" y="0"/>
                        <a:pt x="36317" y="0"/>
                        <a:pt x="36317" y="0"/>
                      </a:cubicBezTo>
                      <a:close/>
                    </a:path>
                  </a:pathLst>
                </a:custGeom>
                <a:solidFill>
                  <a:srgbClr val="13223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7" name="Forma Livre: Forma 86">
                  <a:extLst>
                    <a:ext uri="{FF2B5EF4-FFF2-40B4-BE49-F238E27FC236}">
                      <a16:creationId xmlns:a16="http://schemas.microsoft.com/office/drawing/2014/main" id="{756F7CE8-EBB8-1243-C05D-F8D4F4C8EEF4}"/>
                    </a:ext>
                  </a:extLst>
                </p:cNvPr>
                <p:cNvSpPr/>
                <p:nvPr/>
              </p:nvSpPr>
              <p:spPr>
                <a:xfrm>
                  <a:off x="5123903" y="3392272"/>
                  <a:ext cx="28194" cy="30029"/>
                </a:xfrm>
                <a:custGeom>
                  <a:avLst/>
                  <a:gdLst>
                    <a:gd name="connsiteX0" fmla="*/ 23908 w 28194"/>
                    <a:gd name="connsiteY0" fmla="*/ 0 h 30029"/>
                    <a:gd name="connsiteX1" fmla="*/ 28194 w 28194"/>
                    <a:gd name="connsiteY1" fmla="*/ 25622 h 30029"/>
                    <a:gd name="connsiteX2" fmla="*/ 28194 w 28194"/>
                    <a:gd name="connsiteY2" fmla="*/ 25622 h 30029"/>
                    <a:gd name="connsiteX3" fmla="*/ 1524 w 28194"/>
                    <a:gd name="connsiteY3" fmla="*/ 26479 h 30029"/>
                    <a:gd name="connsiteX4" fmla="*/ 0 w 28194"/>
                    <a:gd name="connsiteY4" fmla="*/ 25622 h 30029"/>
                    <a:gd name="connsiteX5" fmla="*/ 2191 w 28194"/>
                    <a:gd name="connsiteY5" fmla="*/ 0 h 30029"/>
                    <a:gd name="connsiteX6" fmla="*/ 23908 w 28194"/>
                    <a:gd name="connsiteY6" fmla="*/ 0 h 300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8194" h="30029">
                      <a:moveTo>
                        <a:pt x="23908" y="0"/>
                      </a:moveTo>
                      <a:lnTo>
                        <a:pt x="28194" y="25622"/>
                      </a:lnTo>
                      <a:lnTo>
                        <a:pt x="28194" y="25622"/>
                      </a:lnTo>
                      <a:cubicBezTo>
                        <a:pt x="20193" y="31147"/>
                        <a:pt x="9811" y="31528"/>
                        <a:pt x="1524" y="26479"/>
                      </a:cubicBezTo>
                      <a:lnTo>
                        <a:pt x="0" y="25622"/>
                      </a:lnTo>
                      <a:lnTo>
                        <a:pt x="2191" y="0"/>
                      </a:lnTo>
                      <a:lnTo>
                        <a:pt x="23908" y="0"/>
                      </a:lnTo>
                      <a:close/>
                    </a:path>
                  </a:pathLst>
                </a:custGeom>
                <a:solidFill>
                  <a:srgbClr val="F8B68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84" name="Forma Livre: Forma 83">
                <a:extLst>
                  <a:ext uri="{FF2B5EF4-FFF2-40B4-BE49-F238E27FC236}">
                    <a16:creationId xmlns:a16="http://schemas.microsoft.com/office/drawing/2014/main" id="{BED42A03-E3F4-50E4-4DAD-F880DC2976EC}"/>
                  </a:ext>
                </a:extLst>
              </p:cNvPr>
              <p:cNvSpPr/>
              <p:nvPr/>
            </p:nvSpPr>
            <p:spPr>
              <a:xfrm>
                <a:off x="5191626" y="2836298"/>
                <a:ext cx="203853" cy="558545"/>
              </a:xfrm>
              <a:custGeom>
                <a:avLst/>
                <a:gdLst>
                  <a:gd name="connsiteX0" fmla="*/ 132779 w 203853"/>
                  <a:gd name="connsiteY0" fmla="*/ 41053 h 558545"/>
                  <a:gd name="connsiteX1" fmla="*/ 202883 w 203853"/>
                  <a:gd name="connsiteY1" fmla="*/ 265271 h 558545"/>
                  <a:gd name="connsiteX2" fmla="*/ 52006 w 203853"/>
                  <a:gd name="connsiteY2" fmla="*/ 558546 h 558545"/>
                  <a:gd name="connsiteX3" fmla="*/ 26480 w 203853"/>
                  <a:gd name="connsiteY3" fmla="*/ 546830 h 558545"/>
                  <a:gd name="connsiteX4" fmla="*/ 81153 w 203853"/>
                  <a:gd name="connsiteY4" fmla="*/ 308229 h 558545"/>
                  <a:gd name="connsiteX5" fmla="*/ 82772 w 203853"/>
                  <a:gd name="connsiteY5" fmla="*/ 254889 h 558545"/>
                  <a:gd name="connsiteX6" fmla="*/ 0 w 203853"/>
                  <a:gd name="connsiteY6" fmla="*/ 54769 h 558545"/>
                  <a:gd name="connsiteX7" fmla="*/ 74486 w 203853"/>
                  <a:gd name="connsiteY7" fmla="*/ 0 h 558545"/>
                  <a:gd name="connsiteX8" fmla="*/ 132779 w 203853"/>
                  <a:gd name="connsiteY8" fmla="*/ 41053 h 558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3853" h="558545">
                    <a:moveTo>
                      <a:pt x="132779" y="41053"/>
                    </a:moveTo>
                    <a:cubicBezTo>
                      <a:pt x="132779" y="41053"/>
                      <a:pt x="213551" y="187738"/>
                      <a:pt x="202883" y="265271"/>
                    </a:cubicBezTo>
                    <a:cubicBezTo>
                      <a:pt x="192214" y="342805"/>
                      <a:pt x="52006" y="558546"/>
                      <a:pt x="52006" y="558546"/>
                    </a:cubicBezTo>
                    <a:lnTo>
                      <a:pt x="26480" y="546830"/>
                    </a:lnTo>
                    <a:cubicBezTo>
                      <a:pt x="26480" y="546830"/>
                      <a:pt x="54864" y="383476"/>
                      <a:pt x="81153" y="308229"/>
                    </a:cubicBezTo>
                    <a:cubicBezTo>
                      <a:pt x="87344" y="290417"/>
                      <a:pt x="91059" y="271843"/>
                      <a:pt x="82772" y="254889"/>
                    </a:cubicBezTo>
                    <a:cubicBezTo>
                      <a:pt x="46101" y="179356"/>
                      <a:pt x="0" y="54769"/>
                      <a:pt x="0" y="54769"/>
                    </a:cubicBezTo>
                    <a:lnTo>
                      <a:pt x="74486" y="0"/>
                    </a:lnTo>
                    <a:lnTo>
                      <a:pt x="132779" y="41053"/>
                    </a:lnTo>
                    <a:close/>
                  </a:path>
                </a:pathLst>
              </a:custGeom>
              <a:solidFill>
                <a:srgbClr val="13223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5" name="Forma Livre: Forma 84">
                <a:extLst>
                  <a:ext uri="{FF2B5EF4-FFF2-40B4-BE49-F238E27FC236}">
                    <a16:creationId xmlns:a16="http://schemas.microsoft.com/office/drawing/2014/main" id="{B45FECF6-D15C-E4F0-8793-D027653C74C9}"/>
                  </a:ext>
                </a:extLst>
              </p:cNvPr>
              <p:cNvSpPr/>
              <p:nvPr/>
            </p:nvSpPr>
            <p:spPr>
              <a:xfrm>
                <a:off x="5113083" y="2773909"/>
                <a:ext cx="176554" cy="631602"/>
              </a:xfrm>
              <a:custGeom>
                <a:avLst/>
                <a:gdLst>
                  <a:gd name="connsiteX0" fmla="*/ 176554 w 176554"/>
                  <a:gd name="connsiteY0" fmla="*/ 79058 h 631602"/>
                  <a:gd name="connsiteX1" fmla="*/ 39109 w 176554"/>
                  <a:gd name="connsiteY1" fmla="*/ 631603 h 631602"/>
                  <a:gd name="connsiteX2" fmla="*/ 9391 w 176554"/>
                  <a:gd name="connsiteY2" fmla="*/ 631603 h 631602"/>
                  <a:gd name="connsiteX3" fmla="*/ 12629 w 176554"/>
                  <a:gd name="connsiteY3" fmla="*/ 362807 h 631602"/>
                  <a:gd name="connsiteX4" fmla="*/ 15772 w 176554"/>
                  <a:gd name="connsiteY4" fmla="*/ 312801 h 631602"/>
                  <a:gd name="connsiteX5" fmla="*/ 63969 w 176554"/>
                  <a:gd name="connsiteY5" fmla="*/ 0 h 631602"/>
                  <a:gd name="connsiteX6" fmla="*/ 176554 w 176554"/>
                  <a:gd name="connsiteY6" fmla="*/ 79058 h 631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6554" h="631602">
                    <a:moveTo>
                      <a:pt x="176554" y="79058"/>
                    </a:moveTo>
                    <a:lnTo>
                      <a:pt x="39109" y="631603"/>
                    </a:lnTo>
                    <a:lnTo>
                      <a:pt x="9391" y="631603"/>
                    </a:lnTo>
                    <a:cubicBezTo>
                      <a:pt x="9391" y="631603"/>
                      <a:pt x="-13755" y="472821"/>
                      <a:pt x="12629" y="362807"/>
                    </a:cubicBezTo>
                    <a:cubicBezTo>
                      <a:pt x="16534" y="346519"/>
                      <a:pt x="17296" y="329470"/>
                      <a:pt x="15772" y="312801"/>
                    </a:cubicBezTo>
                    <a:cubicBezTo>
                      <a:pt x="1009" y="152305"/>
                      <a:pt x="10343" y="54197"/>
                      <a:pt x="63969" y="0"/>
                    </a:cubicBezTo>
                    <a:lnTo>
                      <a:pt x="176554" y="79058"/>
                    </a:lnTo>
                    <a:close/>
                  </a:path>
                </a:pathLst>
              </a:custGeom>
              <a:solidFill>
                <a:srgbClr val="11458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40" name="Forma Livre: Forma 39">
              <a:extLst>
                <a:ext uri="{FF2B5EF4-FFF2-40B4-BE49-F238E27FC236}">
                  <a16:creationId xmlns:a16="http://schemas.microsoft.com/office/drawing/2014/main" id="{16563CD1-EE9E-285B-4663-812A7FC75976}"/>
                </a:ext>
              </a:extLst>
            </p:cNvPr>
            <p:cNvSpPr/>
            <p:nvPr/>
          </p:nvSpPr>
          <p:spPr>
            <a:xfrm>
              <a:off x="7831013" y="2440697"/>
              <a:ext cx="886302" cy="1109847"/>
            </a:xfrm>
            <a:custGeom>
              <a:avLst/>
              <a:gdLst>
                <a:gd name="connsiteX0" fmla="*/ 414242 w 1179671"/>
                <a:gd name="connsiteY0" fmla="*/ 156378 h 1477209"/>
                <a:gd name="connsiteX1" fmla="*/ 461010 w 1179671"/>
                <a:gd name="connsiteY1" fmla="*/ 297538 h 1477209"/>
                <a:gd name="connsiteX2" fmla="*/ 0 w 1179671"/>
                <a:gd name="connsiteY2" fmla="*/ 297538 h 1477209"/>
                <a:gd name="connsiteX3" fmla="*/ 0 w 1179671"/>
                <a:gd name="connsiteY3" fmla="*/ 1372339 h 1477209"/>
                <a:gd name="connsiteX4" fmla="*/ 104870 w 1179671"/>
                <a:gd name="connsiteY4" fmla="*/ 1477210 h 1477209"/>
                <a:gd name="connsiteX5" fmla="*/ 1074801 w 1179671"/>
                <a:gd name="connsiteY5" fmla="*/ 1477210 h 1477209"/>
                <a:gd name="connsiteX6" fmla="*/ 1179671 w 1179671"/>
                <a:gd name="connsiteY6" fmla="*/ 1372339 h 1477209"/>
                <a:gd name="connsiteX7" fmla="*/ 1179671 w 1179671"/>
                <a:gd name="connsiteY7" fmla="*/ 1014009 h 1477209"/>
                <a:gd name="connsiteX8" fmla="*/ 1034225 w 1179671"/>
                <a:gd name="connsiteY8" fmla="*/ 1074112 h 1477209"/>
                <a:gd name="connsiteX9" fmla="*/ 872300 w 1179671"/>
                <a:gd name="connsiteY9" fmla="*/ 918663 h 1477209"/>
                <a:gd name="connsiteX10" fmla="*/ 1047083 w 1179671"/>
                <a:gd name="connsiteY10" fmla="*/ 722829 h 1477209"/>
                <a:gd name="connsiteX11" fmla="*/ 1179671 w 1179671"/>
                <a:gd name="connsiteY11" fmla="*/ 783408 h 1477209"/>
                <a:gd name="connsiteX12" fmla="*/ 1179671 w 1179671"/>
                <a:gd name="connsiteY12" fmla="*/ 297538 h 1477209"/>
                <a:gd name="connsiteX13" fmla="*/ 718661 w 1179671"/>
                <a:gd name="connsiteY13" fmla="*/ 297538 h 1477209"/>
                <a:gd name="connsiteX14" fmla="*/ 766572 w 1179671"/>
                <a:gd name="connsiteY14" fmla="*/ 176761 h 1477209"/>
                <a:gd name="connsiteX15" fmla="*/ 569595 w 1179671"/>
                <a:gd name="connsiteY15" fmla="*/ 1120 h 1477209"/>
                <a:gd name="connsiteX16" fmla="*/ 414242 w 1179671"/>
                <a:gd name="connsiteY16" fmla="*/ 156378 h 1477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9671" h="1477209">
                  <a:moveTo>
                    <a:pt x="414242" y="156378"/>
                  </a:moveTo>
                  <a:cubicBezTo>
                    <a:pt x="408051" y="211146"/>
                    <a:pt x="427101" y="261343"/>
                    <a:pt x="461010" y="297538"/>
                  </a:cubicBezTo>
                  <a:lnTo>
                    <a:pt x="0" y="297538"/>
                  </a:lnTo>
                  <a:lnTo>
                    <a:pt x="0" y="1372339"/>
                  </a:lnTo>
                  <a:cubicBezTo>
                    <a:pt x="0" y="1430251"/>
                    <a:pt x="46958" y="1477210"/>
                    <a:pt x="104870" y="1477210"/>
                  </a:cubicBezTo>
                  <a:lnTo>
                    <a:pt x="1074801" y="1477210"/>
                  </a:lnTo>
                  <a:cubicBezTo>
                    <a:pt x="1132713" y="1477210"/>
                    <a:pt x="1179671" y="1430251"/>
                    <a:pt x="1179671" y="1372339"/>
                  </a:cubicBezTo>
                  <a:lnTo>
                    <a:pt x="1179671" y="1014009"/>
                  </a:lnTo>
                  <a:cubicBezTo>
                    <a:pt x="1144810" y="1054014"/>
                    <a:pt x="1092327" y="1078303"/>
                    <a:pt x="1034225" y="1074112"/>
                  </a:cubicBezTo>
                  <a:cubicBezTo>
                    <a:pt x="950595" y="1068111"/>
                    <a:pt x="881444" y="1002007"/>
                    <a:pt x="872300" y="918663"/>
                  </a:cubicBezTo>
                  <a:cubicBezTo>
                    <a:pt x="860679" y="812650"/>
                    <a:pt x="943356" y="722829"/>
                    <a:pt x="1047083" y="722829"/>
                  </a:cubicBezTo>
                  <a:cubicBezTo>
                    <a:pt x="1100042" y="722829"/>
                    <a:pt x="1147477" y="746356"/>
                    <a:pt x="1179671" y="783408"/>
                  </a:cubicBezTo>
                  <a:lnTo>
                    <a:pt x="1179671" y="297538"/>
                  </a:lnTo>
                  <a:lnTo>
                    <a:pt x="718661" y="297538"/>
                  </a:lnTo>
                  <a:cubicBezTo>
                    <a:pt x="748284" y="265915"/>
                    <a:pt x="766572" y="223529"/>
                    <a:pt x="766572" y="176761"/>
                  </a:cubicBezTo>
                  <a:cubicBezTo>
                    <a:pt x="766572" y="72462"/>
                    <a:pt x="676275" y="-10691"/>
                    <a:pt x="569595" y="1120"/>
                  </a:cubicBezTo>
                  <a:cubicBezTo>
                    <a:pt x="488633" y="10169"/>
                    <a:pt x="423386" y="75510"/>
                    <a:pt x="414242" y="156378"/>
                  </a:cubicBezTo>
                  <a:close/>
                </a:path>
              </a:pathLst>
            </a:custGeom>
            <a:solidFill>
              <a:srgbClr val="EE73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orma Livre: Forma 40">
              <a:extLst>
                <a:ext uri="{FF2B5EF4-FFF2-40B4-BE49-F238E27FC236}">
                  <a16:creationId xmlns:a16="http://schemas.microsoft.com/office/drawing/2014/main" id="{523A609B-8062-B532-04D3-AB99479324E2}"/>
                </a:ext>
              </a:extLst>
            </p:cNvPr>
            <p:cNvSpPr/>
            <p:nvPr/>
          </p:nvSpPr>
          <p:spPr>
            <a:xfrm>
              <a:off x="7606306" y="2946485"/>
              <a:ext cx="287504" cy="139682"/>
            </a:xfrm>
            <a:custGeom>
              <a:avLst/>
              <a:gdLst>
                <a:gd name="connsiteX0" fmla="*/ 70009 w 382669"/>
                <a:gd name="connsiteY0" fmla="*/ 0 h 185917"/>
                <a:gd name="connsiteX1" fmla="*/ 178499 w 382669"/>
                <a:gd name="connsiteY1" fmla="*/ 97727 h 185917"/>
                <a:gd name="connsiteX2" fmla="*/ 312420 w 382669"/>
                <a:gd name="connsiteY2" fmla="*/ 153257 h 185917"/>
                <a:gd name="connsiteX3" fmla="*/ 330041 w 382669"/>
                <a:gd name="connsiteY3" fmla="*/ 151448 h 185917"/>
                <a:gd name="connsiteX4" fmla="*/ 354235 w 382669"/>
                <a:gd name="connsiteY4" fmla="*/ 138779 h 185917"/>
                <a:gd name="connsiteX5" fmla="*/ 382619 w 382669"/>
                <a:gd name="connsiteY5" fmla="*/ 155829 h 185917"/>
                <a:gd name="connsiteX6" fmla="*/ 366998 w 382669"/>
                <a:gd name="connsiteY6" fmla="*/ 177832 h 185917"/>
                <a:gd name="connsiteX7" fmla="*/ 345472 w 382669"/>
                <a:gd name="connsiteY7" fmla="*/ 185738 h 185917"/>
                <a:gd name="connsiteX8" fmla="*/ 155829 w 382669"/>
                <a:gd name="connsiteY8" fmla="*/ 141732 h 185917"/>
                <a:gd name="connsiteX9" fmla="*/ 0 w 382669"/>
                <a:gd name="connsiteY9" fmla="*/ 44006 h 185917"/>
                <a:gd name="connsiteX10" fmla="*/ 70009 w 382669"/>
                <a:gd name="connsiteY10" fmla="*/ 0 h 185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2669" h="185917">
                  <a:moveTo>
                    <a:pt x="70009" y="0"/>
                  </a:moveTo>
                  <a:cubicBezTo>
                    <a:pt x="70009" y="0"/>
                    <a:pt x="136017" y="66580"/>
                    <a:pt x="178499" y="97727"/>
                  </a:cubicBezTo>
                  <a:cubicBezTo>
                    <a:pt x="213170" y="123158"/>
                    <a:pt x="286607" y="145828"/>
                    <a:pt x="312420" y="153257"/>
                  </a:cubicBezTo>
                  <a:cubicBezTo>
                    <a:pt x="318326" y="154972"/>
                    <a:pt x="324612" y="154305"/>
                    <a:pt x="330041" y="151448"/>
                  </a:cubicBezTo>
                  <a:lnTo>
                    <a:pt x="354235" y="138779"/>
                  </a:lnTo>
                  <a:cubicBezTo>
                    <a:pt x="354235" y="138779"/>
                    <a:pt x="384048" y="146018"/>
                    <a:pt x="382619" y="155829"/>
                  </a:cubicBezTo>
                  <a:cubicBezTo>
                    <a:pt x="377285" y="165545"/>
                    <a:pt x="371666" y="172784"/>
                    <a:pt x="366998" y="177832"/>
                  </a:cubicBezTo>
                  <a:cubicBezTo>
                    <a:pt x="361569" y="183833"/>
                    <a:pt x="353568" y="186690"/>
                    <a:pt x="345472" y="185738"/>
                  </a:cubicBezTo>
                  <a:cubicBezTo>
                    <a:pt x="312896" y="181737"/>
                    <a:pt x="218980" y="168307"/>
                    <a:pt x="155829" y="141732"/>
                  </a:cubicBezTo>
                  <a:cubicBezTo>
                    <a:pt x="78486" y="109157"/>
                    <a:pt x="0" y="44006"/>
                    <a:pt x="0" y="44006"/>
                  </a:cubicBezTo>
                  <a:lnTo>
                    <a:pt x="70009" y="0"/>
                  </a:lnTo>
                  <a:close/>
                </a:path>
              </a:pathLst>
            </a:custGeom>
            <a:solidFill>
              <a:srgbClr val="F8B68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42" name="Gráfico 10">
              <a:extLst>
                <a:ext uri="{FF2B5EF4-FFF2-40B4-BE49-F238E27FC236}">
                  <a16:creationId xmlns:a16="http://schemas.microsoft.com/office/drawing/2014/main" id="{7CD9B2F2-F798-9530-B4D3-20297D62121E}"/>
                </a:ext>
              </a:extLst>
            </p:cNvPr>
            <p:cNvGrpSpPr/>
            <p:nvPr/>
          </p:nvGrpSpPr>
          <p:grpSpPr>
            <a:xfrm>
              <a:off x="8370451" y="2718846"/>
              <a:ext cx="127779" cy="272365"/>
              <a:chOff x="6393966" y="2337762"/>
              <a:chExt cx="170074" cy="362519"/>
            </a:xfrm>
          </p:grpSpPr>
          <p:sp>
            <p:nvSpPr>
              <p:cNvPr id="77" name="Forma Livre: Forma 76">
                <a:extLst>
                  <a:ext uri="{FF2B5EF4-FFF2-40B4-BE49-F238E27FC236}">
                    <a16:creationId xmlns:a16="http://schemas.microsoft.com/office/drawing/2014/main" id="{7FADA026-1528-6EE2-28E9-FF126C3C389B}"/>
                  </a:ext>
                </a:extLst>
              </p:cNvPr>
              <p:cNvSpPr/>
              <p:nvPr/>
            </p:nvSpPr>
            <p:spPr>
              <a:xfrm>
                <a:off x="6432066" y="2387956"/>
                <a:ext cx="107632" cy="187737"/>
              </a:xfrm>
              <a:custGeom>
                <a:avLst/>
                <a:gdLst>
                  <a:gd name="connsiteX0" fmla="*/ 107633 w 107632"/>
                  <a:gd name="connsiteY0" fmla="*/ 15240 h 187737"/>
                  <a:gd name="connsiteX1" fmla="*/ 41624 w 107632"/>
                  <a:gd name="connsiteY1" fmla="*/ 187738 h 187737"/>
                  <a:gd name="connsiteX2" fmla="*/ 0 w 107632"/>
                  <a:gd name="connsiteY2" fmla="*/ 156782 h 187737"/>
                  <a:gd name="connsiteX3" fmla="*/ 92964 w 107632"/>
                  <a:gd name="connsiteY3" fmla="*/ 0 h 187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7632" h="187737">
                    <a:moveTo>
                      <a:pt x="107633" y="15240"/>
                    </a:moveTo>
                    <a:lnTo>
                      <a:pt x="41624" y="187738"/>
                    </a:lnTo>
                    <a:lnTo>
                      <a:pt x="0" y="156782"/>
                    </a:lnTo>
                    <a:lnTo>
                      <a:pt x="92964" y="0"/>
                    </a:lnTo>
                    <a:close/>
                  </a:path>
                </a:pathLst>
              </a:custGeom>
              <a:solidFill>
                <a:srgbClr val="F4A08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8" name="Forma Livre: Forma 77">
                <a:extLst>
                  <a:ext uri="{FF2B5EF4-FFF2-40B4-BE49-F238E27FC236}">
                    <a16:creationId xmlns:a16="http://schemas.microsoft.com/office/drawing/2014/main" id="{BF2E1EC5-3046-6535-A702-BB0D9E1BA500}"/>
                  </a:ext>
                </a:extLst>
              </p:cNvPr>
              <p:cNvSpPr/>
              <p:nvPr/>
            </p:nvSpPr>
            <p:spPr>
              <a:xfrm>
                <a:off x="6522554" y="2337762"/>
                <a:ext cx="41486" cy="70482"/>
              </a:xfrm>
              <a:custGeom>
                <a:avLst/>
                <a:gdLst>
                  <a:gd name="connsiteX0" fmla="*/ 8954 w 41486"/>
                  <a:gd name="connsiteY0" fmla="*/ 13237 h 70482"/>
                  <a:gd name="connsiteX1" fmla="*/ 2953 w 41486"/>
                  <a:gd name="connsiteY1" fmla="*/ 31430 h 70482"/>
                  <a:gd name="connsiteX2" fmla="*/ 0 w 41486"/>
                  <a:gd name="connsiteY2" fmla="*/ 56290 h 70482"/>
                  <a:gd name="connsiteX3" fmla="*/ 3429 w 41486"/>
                  <a:gd name="connsiteY3" fmla="*/ 60100 h 70482"/>
                  <a:gd name="connsiteX4" fmla="*/ 15145 w 41486"/>
                  <a:gd name="connsiteY4" fmla="*/ 70482 h 70482"/>
                  <a:gd name="connsiteX5" fmla="*/ 14192 w 41486"/>
                  <a:gd name="connsiteY5" fmla="*/ 70482 h 70482"/>
                  <a:gd name="connsiteX6" fmla="*/ 32957 w 41486"/>
                  <a:gd name="connsiteY6" fmla="*/ 37812 h 70482"/>
                  <a:gd name="connsiteX7" fmla="*/ 27051 w 41486"/>
                  <a:gd name="connsiteY7" fmla="*/ 1807 h 70482"/>
                  <a:gd name="connsiteX8" fmla="*/ 17621 w 41486"/>
                  <a:gd name="connsiteY8" fmla="*/ 1236 h 70482"/>
                  <a:gd name="connsiteX9" fmla="*/ 8954 w 41486"/>
                  <a:gd name="connsiteY9" fmla="*/ 13237 h 70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1486" h="70482">
                    <a:moveTo>
                      <a:pt x="8954" y="13237"/>
                    </a:moveTo>
                    <a:cubicBezTo>
                      <a:pt x="4763" y="18381"/>
                      <a:pt x="2667" y="24858"/>
                      <a:pt x="2953" y="31430"/>
                    </a:cubicBezTo>
                    <a:lnTo>
                      <a:pt x="0" y="56290"/>
                    </a:lnTo>
                    <a:lnTo>
                      <a:pt x="3429" y="60100"/>
                    </a:lnTo>
                    <a:lnTo>
                      <a:pt x="15145" y="70482"/>
                    </a:lnTo>
                    <a:cubicBezTo>
                      <a:pt x="14764" y="65339"/>
                      <a:pt x="14192" y="70482"/>
                      <a:pt x="14192" y="70482"/>
                    </a:cubicBezTo>
                    <a:lnTo>
                      <a:pt x="32957" y="37812"/>
                    </a:lnTo>
                    <a:cubicBezTo>
                      <a:pt x="32957" y="37812"/>
                      <a:pt x="55626" y="23238"/>
                      <a:pt x="27051" y="1807"/>
                    </a:cubicBezTo>
                    <a:cubicBezTo>
                      <a:pt x="24289" y="-288"/>
                      <a:pt x="20479" y="-669"/>
                      <a:pt x="17621" y="1236"/>
                    </a:cubicBezTo>
                    <a:cubicBezTo>
                      <a:pt x="10478" y="5998"/>
                      <a:pt x="8954" y="13237"/>
                      <a:pt x="8954" y="13237"/>
                    </a:cubicBezTo>
                    <a:close/>
                  </a:path>
                </a:pathLst>
              </a:custGeom>
              <a:solidFill>
                <a:srgbClr val="F4A08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9" name="Forma Livre: Forma 78">
                <a:extLst>
                  <a:ext uri="{FF2B5EF4-FFF2-40B4-BE49-F238E27FC236}">
                    <a16:creationId xmlns:a16="http://schemas.microsoft.com/office/drawing/2014/main" id="{5B24200C-E650-E3EC-1620-6BE8A3A43BAD}"/>
                  </a:ext>
                </a:extLst>
              </p:cNvPr>
              <p:cNvSpPr/>
              <p:nvPr/>
            </p:nvSpPr>
            <p:spPr>
              <a:xfrm>
                <a:off x="6393966" y="2534927"/>
                <a:ext cx="79724" cy="165354"/>
              </a:xfrm>
              <a:custGeom>
                <a:avLst/>
                <a:gdLst>
                  <a:gd name="connsiteX0" fmla="*/ 0 w 79724"/>
                  <a:gd name="connsiteY0" fmla="*/ 165354 h 165354"/>
                  <a:gd name="connsiteX1" fmla="*/ 79724 w 79724"/>
                  <a:gd name="connsiteY1" fmla="*/ 40767 h 165354"/>
                  <a:gd name="connsiteX2" fmla="*/ 43910 w 79724"/>
                  <a:gd name="connsiteY2" fmla="*/ 0 h 165354"/>
                  <a:gd name="connsiteX3" fmla="*/ 0 w 79724"/>
                  <a:gd name="connsiteY3" fmla="*/ 51149 h 165354"/>
                  <a:gd name="connsiteX4" fmla="*/ 0 w 79724"/>
                  <a:gd name="connsiteY4" fmla="*/ 165354 h 1653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24" h="165354">
                    <a:moveTo>
                      <a:pt x="0" y="165354"/>
                    </a:moveTo>
                    <a:cubicBezTo>
                      <a:pt x="47435" y="101727"/>
                      <a:pt x="79724" y="40767"/>
                      <a:pt x="79724" y="40767"/>
                    </a:cubicBezTo>
                    <a:lnTo>
                      <a:pt x="43910" y="0"/>
                    </a:lnTo>
                    <a:lnTo>
                      <a:pt x="0" y="51149"/>
                    </a:lnTo>
                    <a:lnTo>
                      <a:pt x="0" y="165354"/>
                    </a:lnTo>
                    <a:close/>
                  </a:path>
                </a:pathLst>
              </a:custGeom>
              <a:solidFill>
                <a:srgbClr val="EEA00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43" name="Forma Livre: Forma 42">
              <a:extLst>
                <a:ext uri="{FF2B5EF4-FFF2-40B4-BE49-F238E27FC236}">
                  <a16:creationId xmlns:a16="http://schemas.microsoft.com/office/drawing/2014/main" id="{CFD818B6-2BD3-07C2-E7C1-109EAD75CB4B}"/>
                </a:ext>
              </a:extLst>
            </p:cNvPr>
            <p:cNvSpPr/>
            <p:nvPr/>
          </p:nvSpPr>
          <p:spPr>
            <a:xfrm>
              <a:off x="8291985" y="3266012"/>
              <a:ext cx="90130" cy="289542"/>
            </a:xfrm>
            <a:custGeom>
              <a:avLst/>
              <a:gdLst>
                <a:gd name="connsiteX0" fmla="*/ 1377 w 119963"/>
                <a:gd name="connsiteY0" fmla="*/ 381762 h 385381"/>
                <a:gd name="connsiteX1" fmla="*/ 22428 w 119963"/>
                <a:gd name="connsiteY1" fmla="*/ 385381 h 385381"/>
                <a:gd name="connsiteX2" fmla="*/ 97485 w 119963"/>
                <a:gd name="connsiteY2" fmla="*/ 171545 h 385381"/>
                <a:gd name="connsiteX3" fmla="*/ 119964 w 119963"/>
                <a:gd name="connsiteY3" fmla="*/ 20955 h 385381"/>
                <a:gd name="connsiteX4" fmla="*/ 49669 w 119963"/>
                <a:gd name="connsiteY4" fmla="*/ 0 h 385381"/>
                <a:gd name="connsiteX5" fmla="*/ 51384 w 119963"/>
                <a:gd name="connsiteY5" fmla="*/ 145256 h 385381"/>
                <a:gd name="connsiteX6" fmla="*/ 1377 w 119963"/>
                <a:gd name="connsiteY6" fmla="*/ 381762 h 385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963" h="385381">
                  <a:moveTo>
                    <a:pt x="1377" y="381762"/>
                  </a:moveTo>
                  <a:lnTo>
                    <a:pt x="22428" y="385381"/>
                  </a:lnTo>
                  <a:cubicBezTo>
                    <a:pt x="26809" y="359283"/>
                    <a:pt x="92151" y="235744"/>
                    <a:pt x="97485" y="171545"/>
                  </a:cubicBezTo>
                  <a:cubicBezTo>
                    <a:pt x="103390" y="100298"/>
                    <a:pt x="119964" y="20955"/>
                    <a:pt x="119964" y="20955"/>
                  </a:cubicBezTo>
                  <a:lnTo>
                    <a:pt x="49669" y="0"/>
                  </a:lnTo>
                  <a:cubicBezTo>
                    <a:pt x="49669" y="0"/>
                    <a:pt x="31857" y="0"/>
                    <a:pt x="51384" y="145256"/>
                  </a:cubicBezTo>
                  <a:cubicBezTo>
                    <a:pt x="7378" y="202978"/>
                    <a:pt x="-4433" y="333946"/>
                    <a:pt x="1377" y="381762"/>
                  </a:cubicBezTo>
                  <a:close/>
                </a:path>
              </a:pathLst>
            </a:custGeom>
            <a:solidFill>
              <a:srgbClr val="F4A08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orma Livre: Forma 43">
              <a:extLst>
                <a:ext uri="{FF2B5EF4-FFF2-40B4-BE49-F238E27FC236}">
                  <a16:creationId xmlns:a16="http://schemas.microsoft.com/office/drawing/2014/main" id="{3381101E-1370-D2BB-AE55-B6532B718136}"/>
                </a:ext>
              </a:extLst>
            </p:cNvPr>
            <p:cNvSpPr/>
            <p:nvPr/>
          </p:nvSpPr>
          <p:spPr>
            <a:xfrm>
              <a:off x="8331878" y="3226366"/>
              <a:ext cx="81223" cy="346506"/>
            </a:xfrm>
            <a:custGeom>
              <a:avLst/>
              <a:gdLst>
                <a:gd name="connsiteX0" fmla="*/ 0 w 108108"/>
                <a:gd name="connsiteY0" fmla="*/ 0 h 461200"/>
                <a:gd name="connsiteX1" fmla="*/ 39529 w 108108"/>
                <a:gd name="connsiteY1" fmla="*/ 205645 h 461200"/>
                <a:gd name="connsiteX2" fmla="*/ 52769 w 108108"/>
                <a:gd name="connsiteY2" fmla="*/ 448246 h 461200"/>
                <a:gd name="connsiteX3" fmla="*/ 68199 w 108108"/>
                <a:gd name="connsiteY3" fmla="*/ 461201 h 461200"/>
                <a:gd name="connsiteX4" fmla="*/ 100775 w 108108"/>
                <a:gd name="connsiteY4" fmla="*/ 231934 h 461200"/>
                <a:gd name="connsiteX5" fmla="*/ 108109 w 108108"/>
                <a:gd name="connsiteY5" fmla="*/ 73819 h 461200"/>
                <a:gd name="connsiteX6" fmla="*/ 0 w 108108"/>
                <a:gd name="connsiteY6" fmla="*/ 0 h 461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108" h="461200">
                  <a:moveTo>
                    <a:pt x="0" y="0"/>
                  </a:moveTo>
                  <a:cubicBezTo>
                    <a:pt x="0" y="0"/>
                    <a:pt x="16478" y="99346"/>
                    <a:pt x="39529" y="205645"/>
                  </a:cubicBezTo>
                  <a:cubicBezTo>
                    <a:pt x="15526" y="269843"/>
                    <a:pt x="52102" y="448913"/>
                    <a:pt x="52769" y="448246"/>
                  </a:cubicBezTo>
                  <a:cubicBezTo>
                    <a:pt x="55531" y="445675"/>
                    <a:pt x="68199" y="461201"/>
                    <a:pt x="68199" y="461201"/>
                  </a:cubicBezTo>
                  <a:cubicBezTo>
                    <a:pt x="68199" y="461201"/>
                    <a:pt x="94869" y="303181"/>
                    <a:pt x="100775" y="231934"/>
                  </a:cubicBezTo>
                  <a:cubicBezTo>
                    <a:pt x="106680" y="160687"/>
                    <a:pt x="108109" y="73819"/>
                    <a:pt x="108109" y="7381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8B68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orma Livre: Forma 44">
              <a:extLst>
                <a:ext uri="{FF2B5EF4-FFF2-40B4-BE49-F238E27FC236}">
                  <a16:creationId xmlns:a16="http://schemas.microsoft.com/office/drawing/2014/main" id="{93BFA062-D918-CA39-70AB-FE2D02E06039}"/>
                </a:ext>
              </a:extLst>
            </p:cNvPr>
            <p:cNvSpPr/>
            <p:nvPr/>
          </p:nvSpPr>
          <p:spPr>
            <a:xfrm>
              <a:off x="8362987" y="3555627"/>
              <a:ext cx="71461" cy="41720"/>
            </a:xfrm>
            <a:custGeom>
              <a:avLst/>
              <a:gdLst>
                <a:gd name="connsiteX0" fmla="*/ 8411 w 95115"/>
                <a:gd name="connsiteY0" fmla="*/ 0 h 55530"/>
                <a:gd name="connsiteX1" fmla="*/ 219 w 95115"/>
                <a:gd name="connsiteY1" fmla="*/ 19336 h 55530"/>
                <a:gd name="connsiteX2" fmla="*/ 4696 w 95115"/>
                <a:gd name="connsiteY2" fmla="*/ 55531 h 55530"/>
                <a:gd name="connsiteX3" fmla="*/ 14983 w 95115"/>
                <a:gd name="connsiteY3" fmla="*/ 55531 h 55530"/>
                <a:gd name="connsiteX4" fmla="*/ 14697 w 95115"/>
                <a:gd name="connsiteY4" fmla="*/ 31909 h 55530"/>
                <a:gd name="connsiteX5" fmla="*/ 40510 w 95115"/>
                <a:gd name="connsiteY5" fmla="*/ 55531 h 55530"/>
                <a:gd name="connsiteX6" fmla="*/ 94993 w 95115"/>
                <a:gd name="connsiteY6" fmla="*/ 55531 h 55530"/>
                <a:gd name="connsiteX7" fmla="*/ 66608 w 95115"/>
                <a:gd name="connsiteY7" fmla="*/ 34480 h 55530"/>
                <a:gd name="connsiteX8" fmla="*/ 8411 w 95115"/>
                <a:gd name="connsiteY8" fmla="*/ 0 h 55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5115" h="55530">
                  <a:moveTo>
                    <a:pt x="8411" y="0"/>
                  </a:moveTo>
                  <a:cubicBezTo>
                    <a:pt x="8411" y="0"/>
                    <a:pt x="-1591" y="8477"/>
                    <a:pt x="219" y="19336"/>
                  </a:cubicBezTo>
                  <a:cubicBezTo>
                    <a:pt x="2029" y="30194"/>
                    <a:pt x="4696" y="55531"/>
                    <a:pt x="4696" y="55531"/>
                  </a:cubicBezTo>
                  <a:lnTo>
                    <a:pt x="14983" y="55531"/>
                  </a:lnTo>
                  <a:lnTo>
                    <a:pt x="14697" y="31909"/>
                  </a:lnTo>
                  <a:cubicBezTo>
                    <a:pt x="14697" y="30385"/>
                    <a:pt x="36795" y="55531"/>
                    <a:pt x="40510" y="55531"/>
                  </a:cubicBezTo>
                  <a:lnTo>
                    <a:pt x="94993" y="55531"/>
                  </a:lnTo>
                  <a:cubicBezTo>
                    <a:pt x="94993" y="55531"/>
                    <a:pt x="98612" y="39624"/>
                    <a:pt x="66608" y="34480"/>
                  </a:cubicBezTo>
                  <a:cubicBezTo>
                    <a:pt x="34509" y="29242"/>
                    <a:pt x="8411" y="0"/>
                    <a:pt x="8411" y="0"/>
                  </a:cubicBezTo>
                  <a:close/>
                </a:path>
              </a:pathLst>
            </a:custGeom>
            <a:solidFill>
              <a:srgbClr val="1322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46" name="Gráfico 10">
              <a:extLst>
                <a:ext uri="{FF2B5EF4-FFF2-40B4-BE49-F238E27FC236}">
                  <a16:creationId xmlns:a16="http://schemas.microsoft.com/office/drawing/2014/main" id="{1F07BF93-AA58-D314-A513-E09DE2F5FBA6}"/>
                </a:ext>
              </a:extLst>
            </p:cNvPr>
            <p:cNvGrpSpPr/>
            <p:nvPr/>
          </p:nvGrpSpPr>
          <p:grpSpPr>
            <a:xfrm>
              <a:off x="8274199" y="3535660"/>
              <a:ext cx="78360" cy="61615"/>
              <a:chOff x="6265855" y="3424943"/>
              <a:chExt cx="104298" cy="82010"/>
            </a:xfrm>
          </p:grpSpPr>
          <p:sp>
            <p:nvSpPr>
              <p:cNvPr id="75" name="Forma Livre: Forma 74">
                <a:extLst>
                  <a:ext uri="{FF2B5EF4-FFF2-40B4-BE49-F238E27FC236}">
                    <a16:creationId xmlns:a16="http://schemas.microsoft.com/office/drawing/2014/main" id="{51B571AD-DB0E-AB84-27B2-FDB2EA8DF78C}"/>
                  </a:ext>
                </a:extLst>
              </p:cNvPr>
              <p:cNvSpPr/>
              <p:nvPr/>
            </p:nvSpPr>
            <p:spPr>
              <a:xfrm>
                <a:off x="6290895" y="3424943"/>
                <a:ext cx="42111" cy="62319"/>
              </a:xfrm>
              <a:custGeom>
                <a:avLst/>
                <a:gdLst>
                  <a:gd name="connsiteX0" fmla="*/ 23443 w 42111"/>
                  <a:gd name="connsiteY0" fmla="*/ 8477 h 62319"/>
                  <a:gd name="connsiteX1" fmla="*/ 22014 w 42111"/>
                  <a:gd name="connsiteY1" fmla="*/ 31052 h 62319"/>
                  <a:gd name="connsiteX2" fmla="*/ 25729 w 42111"/>
                  <a:gd name="connsiteY2" fmla="*/ 44387 h 62319"/>
                  <a:gd name="connsiteX3" fmla="*/ 42112 w 42111"/>
                  <a:gd name="connsiteY3" fmla="*/ 61436 h 62319"/>
                  <a:gd name="connsiteX4" fmla="*/ 4393 w 42111"/>
                  <a:gd name="connsiteY4" fmla="*/ 37052 h 62319"/>
                  <a:gd name="connsiteX5" fmla="*/ 297 w 42111"/>
                  <a:gd name="connsiteY5" fmla="*/ 17717 h 62319"/>
                  <a:gd name="connsiteX6" fmla="*/ 2964 w 42111"/>
                  <a:gd name="connsiteY6" fmla="*/ 0 h 62319"/>
                  <a:gd name="connsiteX7" fmla="*/ 23443 w 42111"/>
                  <a:gd name="connsiteY7" fmla="*/ 8477 h 62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2111" h="62319">
                    <a:moveTo>
                      <a:pt x="23443" y="8477"/>
                    </a:moveTo>
                    <a:lnTo>
                      <a:pt x="22014" y="31052"/>
                    </a:lnTo>
                    <a:cubicBezTo>
                      <a:pt x="21728" y="35814"/>
                      <a:pt x="23062" y="40481"/>
                      <a:pt x="25729" y="44387"/>
                    </a:cubicBezTo>
                    <a:cubicBezTo>
                      <a:pt x="28681" y="48673"/>
                      <a:pt x="33730" y="54578"/>
                      <a:pt x="42112" y="61436"/>
                    </a:cubicBezTo>
                    <a:cubicBezTo>
                      <a:pt x="26300" y="66485"/>
                      <a:pt x="12013" y="48768"/>
                      <a:pt x="4393" y="37052"/>
                    </a:cubicBezTo>
                    <a:cubicBezTo>
                      <a:pt x="678" y="31337"/>
                      <a:pt x="-656" y="24479"/>
                      <a:pt x="297" y="17717"/>
                    </a:cubicBezTo>
                    <a:lnTo>
                      <a:pt x="2964" y="0"/>
                    </a:lnTo>
                    <a:lnTo>
                      <a:pt x="23443" y="8477"/>
                    </a:lnTo>
                    <a:close/>
                  </a:path>
                </a:pathLst>
              </a:custGeom>
              <a:solidFill>
                <a:srgbClr val="F4A08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6" name="Forma Livre: Forma 75">
                <a:extLst>
                  <a:ext uri="{FF2B5EF4-FFF2-40B4-BE49-F238E27FC236}">
                    <a16:creationId xmlns:a16="http://schemas.microsoft.com/office/drawing/2014/main" id="{B11DDCFE-3D10-57A0-7E66-FC958936B73C}"/>
                  </a:ext>
                </a:extLst>
              </p:cNvPr>
              <p:cNvSpPr/>
              <p:nvPr/>
            </p:nvSpPr>
            <p:spPr>
              <a:xfrm>
                <a:off x="6265855" y="3445898"/>
                <a:ext cx="104298" cy="61055"/>
              </a:xfrm>
              <a:custGeom>
                <a:avLst/>
                <a:gdLst>
                  <a:gd name="connsiteX0" fmla="*/ 25051 w 104298"/>
                  <a:gd name="connsiteY0" fmla="*/ 0 h 61055"/>
                  <a:gd name="connsiteX1" fmla="*/ 8858 w 104298"/>
                  <a:gd name="connsiteY1" fmla="*/ 11811 h 61055"/>
                  <a:gd name="connsiteX2" fmla="*/ 0 w 104298"/>
                  <a:gd name="connsiteY2" fmla="*/ 43720 h 61055"/>
                  <a:gd name="connsiteX3" fmla="*/ 7620 w 104298"/>
                  <a:gd name="connsiteY3" fmla="*/ 49721 h 61055"/>
                  <a:gd name="connsiteX4" fmla="*/ 18288 w 104298"/>
                  <a:gd name="connsiteY4" fmla="*/ 28575 h 61055"/>
                  <a:gd name="connsiteX5" fmla="*/ 44863 w 104298"/>
                  <a:gd name="connsiteY5" fmla="*/ 61055 h 61055"/>
                  <a:gd name="connsiteX6" fmla="*/ 104299 w 104298"/>
                  <a:gd name="connsiteY6" fmla="*/ 61055 h 61055"/>
                  <a:gd name="connsiteX7" fmla="*/ 67151 w 104298"/>
                  <a:gd name="connsiteY7" fmla="*/ 40481 h 61055"/>
                  <a:gd name="connsiteX8" fmla="*/ 25051 w 104298"/>
                  <a:gd name="connsiteY8" fmla="*/ 0 h 61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4298" h="61055">
                    <a:moveTo>
                      <a:pt x="25051" y="0"/>
                    </a:moveTo>
                    <a:cubicBezTo>
                      <a:pt x="25051" y="0"/>
                      <a:pt x="11144" y="1238"/>
                      <a:pt x="8858" y="11811"/>
                    </a:cubicBezTo>
                    <a:cubicBezTo>
                      <a:pt x="6572" y="22384"/>
                      <a:pt x="0" y="43720"/>
                      <a:pt x="0" y="43720"/>
                    </a:cubicBezTo>
                    <a:lnTo>
                      <a:pt x="7620" y="49721"/>
                    </a:lnTo>
                    <a:lnTo>
                      <a:pt x="18288" y="28575"/>
                    </a:lnTo>
                    <a:cubicBezTo>
                      <a:pt x="18288" y="28575"/>
                      <a:pt x="41243" y="59531"/>
                      <a:pt x="44863" y="61055"/>
                    </a:cubicBezTo>
                    <a:lnTo>
                      <a:pt x="104299" y="61055"/>
                    </a:lnTo>
                    <a:cubicBezTo>
                      <a:pt x="104299" y="61055"/>
                      <a:pt x="104299" y="41338"/>
                      <a:pt x="67151" y="40481"/>
                    </a:cubicBezTo>
                    <a:cubicBezTo>
                      <a:pt x="32766" y="39624"/>
                      <a:pt x="25051" y="0"/>
                      <a:pt x="25051" y="0"/>
                    </a:cubicBezTo>
                    <a:close/>
                  </a:path>
                </a:pathLst>
              </a:custGeom>
              <a:solidFill>
                <a:srgbClr val="13223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47" name="Forma Livre: Forma 46">
              <a:extLst>
                <a:ext uri="{FF2B5EF4-FFF2-40B4-BE49-F238E27FC236}">
                  <a16:creationId xmlns:a16="http://schemas.microsoft.com/office/drawing/2014/main" id="{22C58A18-C4FA-B8BB-082A-165482A523F0}"/>
                </a:ext>
              </a:extLst>
            </p:cNvPr>
            <p:cNvSpPr/>
            <p:nvPr/>
          </p:nvSpPr>
          <p:spPr>
            <a:xfrm>
              <a:off x="8451173" y="2750332"/>
              <a:ext cx="80865" cy="140978"/>
            </a:xfrm>
            <a:custGeom>
              <a:avLst/>
              <a:gdLst>
                <a:gd name="connsiteX0" fmla="*/ 107633 w 107632"/>
                <a:gd name="connsiteY0" fmla="*/ 15145 h 187642"/>
                <a:gd name="connsiteX1" fmla="*/ 41624 w 107632"/>
                <a:gd name="connsiteY1" fmla="*/ 187642 h 187642"/>
                <a:gd name="connsiteX2" fmla="*/ 0 w 107632"/>
                <a:gd name="connsiteY2" fmla="*/ 156686 h 187642"/>
                <a:gd name="connsiteX3" fmla="*/ 92964 w 107632"/>
                <a:gd name="connsiteY3" fmla="*/ 0 h 187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632" h="187642">
                  <a:moveTo>
                    <a:pt x="107633" y="15145"/>
                  </a:moveTo>
                  <a:lnTo>
                    <a:pt x="41624" y="187642"/>
                  </a:lnTo>
                  <a:lnTo>
                    <a:pt x="0" y="156686"/>
                  </a:lnTo>
                  <a:lnTo>
                    <a:pt x="92964" y="0"/>
                  </a:lnTo>
                  <a:close/>
                </a:path>
              </a:pathLst>
            </a:custGeom>
            <a:solidFill>
              <a:srgbClr val="F8B68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orma Livre: Forma 47">
              <a:extLst>
                <a:ext uri="{FF2B5EF4-FFF2-40B4-BE49-F238E27FC236}">
                  <a16:creationId xmlns:a16="http://schemas.microsoft.com/office/drawing/2014/main" id="{8D924518-5030-3D3E-1DC3-164EBCCAF46C}"/>
                </a:ext>
              </a:extLst>
            </p:cNvPr>
            <p:cNvSpPr/>
            <p:nvPr/>
          </p:nvSpPr>
          <p:spPr>
            <a:xfrm>
              <a:off x="8519158" y="2712620"/>
              <a:ext cx="31169" cy="52954"/>
            </a:xfrm>
            <a:custGeom>
              <a:avLst/>
              <a:gdLst>
                <a:gd name="connsiteX0" fmla="*/ 8954 w 41486"/>
                <a:gd name="connsiteY0" fmla="*/ 13237 h 70482"/>
                <a:gd name="connsiteX1" fmla="*/ 2953 w 41486"/>
                <a:gd name="connsiteY1" fmla="*/ 31430 h 70482"/>
                <a:gd name="connsiteX2" fmla="*/ 0 w 41486"/>
                <a:gd name="connsiteY2" fmla="*/ 56290 h 70482"/>
                <a:gd name="connsiteX3" fmla="*/ 3429 w 41486"/>
                <a:gd name="connsiteY3" fmla="*/ 60100 h 70482"/>
                <a:gd name="connsiteX4" fmla="*/ 15145 w 41486"/>
                <a:gd name="connsiteY4" fmla="*/ 70482 h 70482"/>
                <a:gd name="connsiteX5" fmla="*/ 14192 w 41486"/>
                <a:gd name="connsiteY5" fmla="*/ 70482 h 70482"/>
                <a:gd name="connsiteX6" fmla="*/ 32957 w 41486"/>
                <a:gd name="connsiteY6" fmla="*/ 37812 h 70482"/>
                <a:gd name="connsiteX7" fmla="*/ 27051 w 41486"/>
                <a:gd name="connsiteY7" fmla="*/ 1807 h 70482"/>
                <a:gd name="connsiteX8" fmla="*/ 17621 w 41486"/>
                <a:gd name="connsiteY8" fmla="*/ 1236 h 70482"/>
                <a:gd name="connsiteX9" fmla="*/ 8954 w 41486"/>
                <a:gd name="connsiteY9" fmla="*/ 13237 h 70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1486" h="70482">
                  <a:moveTo>
                    <a:pt x="8954" y="13237"/>
                  </a:moveTo>
                  <a:cubicBezTo>
                    <a:pt x="4763" y="18381"/>
                    <a:pt x="2667" y="24858"/>
                    <a:pt x="2953" y="31430"/>
                  </a:cubicBezTo>
                  <a:lnTo>
                    <a:pt x="0" y="56290"/>
                  </a:lnTo>
                  <a:lnTo>
                    <a:pt x="3429" y="60100"/>
                  </a:lnTo>
                  <a:lnTo>
                    <a:pt x="15145" y="70482"/>
                  </a:lnTo>
                  <a:cubicBezTo>
                    <a:pt x="14764" y="65339"/>
                    <a:pt x="14192" y="70482"/>
                    <a:pt x="14192" y="70482"/>
                  </a:cubicBezTo>
                  <a:lnTo>
                    <a:pt x="32957" y="37812"/>
                  </a:lnTo>
                  <a:cubicBezTo>
                    <a:pt x="32957" y="37812"/>
                    <a:pt x="55626" y="23238"/>
                    <a:pt x="27051" y="1807"/>
                  </a:cubicBezTo>
                  <a:cubicBezTo>
                    <a:pt x="24289" y="-288"/>
                    <a:pt x="20479" y="-669"/>
                    <a:pt x="17621" y="1236"/>
                  </a:cubicBezTo>
                  <a:cubicBezTo>
                    <a:pt x="10478" y="5998"/>
                    <a:pt x="8954" y="13237"/>
                    <a:pt x="8954" y="13237"/>
                  </a:cubicBezTo>
                  <a:close/>
                </a:path>
              </a:pathLst>
            </a:custGeom>
            <a:solidFill>
              <a:srgbClr val="F8B68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orma Livre: Forma 48">
              <a:extLst>
                <a:ext uri="{FF2B5EF4-FFF2-40B4-BE49-F238E27FC236}">
                  <a16:creationId xmlns:a16="http://schemas.microsoft.com/office/drawing/2014/main" id="{69D2DDC6-9B33-5C8A-86D1-1D0AEED16BF2}"/>
                </a:ext>
              </a:extLst>
            </p:cNvPr>
            <p:cNvSpPr/>
            <p:nvPr/>
          </p:nvSpPr>
          <p:spPr>
            <a:xfrm>
              <a:off x="8350056" y="2885514"/>
              <a:ext cx="37784" cy="37570"/>
            </a:xfrm>
            <a:custGeom>
              <a:avLst/>
              <a:gdLst>
                <a:gd name="connsiteX0" fmla="*/ 42577 w 50291"/>
                <a:gd name="connsiteY0" fmla="*/ 50006 h 50006"/>
                <a:gd name="connsiteX1" fmla="*/ 0 w 50291"/>
                <a:gd name="connsiteY1" fmla="*/ 50006 h 50006"/>
                <a:gd name="connsiteX2" fmla="*/ 17050 w 50291"/>
                <a:gd name="connsiteY2" fmla="*/ 0 h 50006"/>
                <a:gd name="connsiteX3" fmla="*/ 50292 w 50291"/>
                <a:gd name="connsiteY3" fmla="*/ 20479 h 50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291" h="50006">
                  <a:moveTo>
                    <a:pt x="42577" y="50006"/>
                  </a:moveTo>
                  <a:lnTo>
                    <a:pt x="0" y="50006"/>
                  </a:lnTo>
                  <a:lnTo>
                    <a:pt x="17050" y="0"/>
                  </a:lnTo>
                  <a:lnTo>
                    <a:pt x="50292" y="20479"/>
                  </a:lnTo>
                  <a:close/>
                </a:path>
              </a:pathLst>
            </a:custGeom>
            <a:solidFill>
              <a:srgbClr val="F4A08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orma Livre: Forma 49">
              <a:extLst>
                <a:ext uri="{FF2B5EF4-FFF2-40B4-BE49-F238E27FC236}">
                  <a16:creationId xmlns:a16="http://schemas.microsoft.com/office/drawing/2014/main" id="{4E6212EA-1A6E-6B65-FDD4-48CB54C04844}"/>
                </a:ext>
              </a:extLst>
            </p:cNvPr>
            <p:cNvSpPr/>
            <p:nvPr/>
          </p:nvSpPr>
          <p:spPr>
            <a:xfrm>
              <a:off x="8321289" y="2860753"/>
              <a:ext cx="161157" cy="243599"/>
            </a:xfrm>
            <a:custGeom>
              <a:avLst/>
              <a:gdLst>
                <a:gd name="connsiteX0" fmla="*/ 137349 w 214501"/>
                <a:gd name="connsiteY0" fmla="*/ 136779 h 324231"/>
                <a:gd name="connsiteX1" fmla="*/ 136587 w 214501"/>
                <a:gd name="connsiteY1" fmla="*/ 133350 h 324231"/>
                <a:gd name="connsiteX2" fmla="*/ 214501 w 214501"/>
                <a:gd name="connsiteY2" fmla="*/ 40767 h 324231"/>
                <a:gd name="connsiteX3" fmla="*/ 178687 w 214501"/>
                <a:gd name="connsiteY3" fmla="*/ 0 h 324231"/>
                <a:gd name="connsiteX4" fmla="*/ 97344 w 214501"/>
                <a:gd name="connsiteY4" fmla="*/ 77248 h 324231"/>
                <a:gd name="connsiteX5" fmla="*/ 73436 w 214501"/>
                <a:gd name="connsiteY5" fmla="*/ 77343 h 324231"/>
                <a:gd name="connsiteX6" fmla="*/ 13047 w 214501"/>
                <a:gd name="connsiteY6" fmla="*/ 85154 h 324231"/>
                <a:gd name="connsiteX7" fmla="*/ 2761 w 214501"/>
                <a:gd name="connsiteY7" fmla="*/ 154972 h 324231"/>
                <a:gd name="connsiteX8" fmla="*/ 6856 w 214501"/>
                <a:gd name="connsiteY8" fmla="*/ 283274 h 324231"/>
                <a:gd name="connsiteX9" fmla="*/ 116584 w 214501"/>
                <a:gd name="connsiteY9" fmla="*/ 324231 h 324231"/>
                <a:gd name="connsiteX10" fmla="*/ 120775 w 214501"/>
                <a:gd name="connsiteY10" fmla="*/ 200120 h 324231"/>
                <a:gd name="connsiteX11" fmla="*/ 120775 w 214501"/>
                <a:gd name="connsiteY11" fmla="*/ 199930 h 324231"/>
                <a:gd name="connsiteX12" fmla="*/ 129729 w 214501"/>
                <a:gd name="connsiteY12" fmla="*/ 171926 h 324231"/>
                <a:gd name="connsiteX13" fmla="*/ 137349 w 214501"/>
                <a:gd name="connsiteY13" fmla="*/ 136779 h 324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501" h="324231">
                  <a:moveTo>
                    <a:pt x="137349" y="136779"/>
                  </a:moveTo>
                  <a:cubicBezTo>
                    <a:pt x="137158" y="135541"/>
                    <a:pt x="136872" y="134493"/>
                    <a:pt x="136587" y="133350"/>
                  </a:cubicBezTo>
                  <a:cubicBezTo>
                    <a:pt x="178687" y="79058"/>
                    <a:pt x="214501" y="40767"/>
                    <a:pt x="214501" y="40767"/>
                  </a:cubicBezTo>
                  <a:lnTo>
                    <a:pt x="178687" y="0"/>
                  </a:lnTo>
                  <a:lnTo>
                    <a:pt x="97344" y="77248"/>
                  </a:lnTo>
                  <a:lnTo>
                    <a:pt x="73436" y="77343"/>
                  </a:lnTo>
                  <a:cubicBezTo>
                    <a:pt x="73436" y="77343"/>
                    <a:pt x="41146" y="56102"/>
                    <a:pt x="13047" y="85154"/>
                  </a:cubicBezTo>
                  <a:cubicBezTo>
                    <a:pt x="2761" y="95726"/>
                    <a:pt x="-4097" y="124587"/>
                    <a:pt x="2761" y="154972"/>
                  </a:cubicBezTo>
                  <a:cubicBezTo>
                    <a:pt x="21715" y="238887"/>
                    <a:pt x="6856" y="283274"/>
                    <a:pt x="6856" y="283274"/>
                  </a:cubicBezTo>
                  <a:lnTo>
                    <a:pt x="116584" y="324231"/>
                  </a:lnTo>
                  <a:cubicBezTo>
                    <a:pt x="116584" y="324231"/>
                    <a:pt x="119061" y="251270"/>
                    <a:pt x="120775" y="200120"/>
                  </a:cubicBezTo>
                  <a:cubicBezTo>
                    <a:pt x="120775" y="200025"/>
                    <a:pt x="120775" y="200025"/>
                    <a:pt x="120775" y="199930"/>
                  </a:cubicBezTo>
                  <a:cubicBezTo>
                    <a:pt x="121061" y="189929"/>
                    <a:pt x="124395" y="180404"/>
                    <a:pt x="129729" y="171926"/>
                  </a:cubicBezTo>
                  <a:cubicBezTo>
                    <a:pt x="135825" y="162020"/>
                    <a:pt x="139635" y="150114"/>
                    <a:pt x="137349" y="136779"/>
                  </a:cubicBezTo>
                  <a:close/>
                </a:path>
              </a:pathLst>
            </a:custGeom>
            <a:solidFill>
              <a:srgbClr val="EEA00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orma Livre: Forma 50">
              <a:extLst>
                <a:ext uri="{FF2B5EF4-FFF2-40B4-BE49-F238E27FC236}">
                  <a16:creationId xmlns:a16="http://schemas.microsoft.com/office/drawing/2014/main" id="{CD8C1AD6-78B3-C901-A3D6-C0615A52208F}"/>
                </a:ext>
              </a:extLst>
            </p:cNvPr>
            <p:cNvSpPr/>
            <p:nvPr/>
          </p:nvSpPr>
          <p:spPr>
            <a:xfrm>
              <a:off x="8340896" y="2818030"/>
              <a:ext cx="71185" cy="85420"/>
            </a:xfrm>
            <a:custGeom>
              <a:avLst/>
              <a:gdLst>
                <a:gd name="connsiteX0" fmla="*/ 69723 w 94748"/>
                <a:gd name="connsiteY0" fmla="*/ 0 h 113694"/>
                <a:gd name="connsiteX1" fmla="*/ 0 w 94748"/>
                <a:gd name="connsiteY1" fmla="*/ 24384 h 113694"/>
                <a:gd name="connsiteX2" fmla="*/ 6858 w 94748"/>
                <a:gd name="connsiteY2" fmla="*/ 76486 h 113694"/>
                <a:gd name="connsiteX3" fmla="*/ 7334 w 94748"/>
                <a:gd name="connsiteY3" fmla="*/ 78677 h 113694"/>
                <a:gd name="connsiteX4" fmla="*/ 11335 w 94748"/>
                <a:gd name="connsiteY4" fmla="*/ 79534 h 113694"/>
                <a:gd name="connsiteX5" fmla="*/ 12001 w 94748"/>
                <a:gd name="connsiteY5" fmla="*/ 79724 h 113694"/>
                <a:gd name="connsiteX6" fmla="*/ 12668 w 94748"/>
                <a:gd name="connsiteY6" fmla="*/ 79820 h 113694"/>
                <a:gd name="connsiteX7" fmla="*/ 45244 w 94748"/>
                <a:gd name="connsiteY7" fmla="*/ 112490 h 113694"/>
                <a:gd name="connsiteX8" fmla="*/ 75438 w 94748"/>
                <a:gd name="connsiteY8" fmla="*/ 112109 h 113694"/>
                <a:gd name="connsiteX9" fmla="*/ 91250 w 94748"/>
                <a:gd name="connsiteY9" fmla="*/ 105251 h 113694"/>
                <a:gd name="connsiteX10" fmla="*/ 69723 w 94748"/>
                <a:gd name="connsiteY10" fmla="*/ 0 h 113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4748" h="113694">
                  <a:moveTo>
                    <a:pt x="69723" y="0"/>
                  </a:moveTo>
                  <a:lnTo>
                    <a:pt x="0" y="24384"/>
                  </a:lnTo>
                  <a:lnTo>
                    <a:pt x="6858" y="76486"/>
                  </a:lnTo>
                  <a:cubicBezTo>
                    <a:pt x="6953" y="77248"/>
                    <a:pt x="7144" y="77915"/>
                    <a:pt x="7334" y="78677"/>
                  </a:cubicBezTo>
                  <a:cubicBezTo>
                    <a:pt x="8668" y="78962"/>
                    <a:pt x="10001" y="79153"/>
                    <a:pt x="11335" y="79534"/>
                  </a:cubicBezTo>
                  <a:cubicBezTo>
                    <a:pt x="11525" y="79629"/>
                    <a:pt x="11811" y="79629"/>
                    <a:pt x="12001" y="79724"/>
                  </a:cubicBezTo>
                  <a:cubicBezTo>
                    <a:pt x="12192" y="79820"/>
                    <a:pt x="12383" y="79820"/>
                    <a:pt x="12668" y="79820"/>
                  </a:cubicBezTo>
                  <a:cubicBezTo>
                    <a:pt x="28765" y="83820"/>
                    <a:pt x="40196" y="97060"/>
                    <a:pt x="45244" y="112490"/>
                  </a:cubicBezTo>
                  <a:cubicBezTo>
                    <a:pt x="55150" y="114110"/>
                    <a:pt x="65437" y="114205"/>
                    <a:pt x="75438" y="112109"/>
                  </a:cubicBezTo>
                  <a:cubicBezTo>
                    <a:pt x="82296" y="110681"/>
                    <a:pt x="88487" y="108585"/>
                    <a:pt x="91250" y="105251"/>
                  </a:cubicBezTo>
                  <a:cubicBezTo>
                    <a:pt x="105918" y="73057"/>
                    <a:pt x="69723" y="0"/>
                    <a:pt x="69723" y="0"/>
                  </a:cubicBezTo>
                  <a:close/>
                </a:path>
              </a:pathLst>
            </a:custGeom>
            <a:solidFill>
              <a:srgbClr val="F8B68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orma Livre: Forma 51">
              <a:extLst>
                <a:ext uri="{FF2B5EF4-FFF2-40B4-BE49-F238E27FC236}">
                  <a16:creationId xmlns:a16="http://schemas.microsoft.com/office/drawing/2014/main" id="{2C9BC58E-8535-62FB-792F-1BF5CC38FF97}"/>
                </a:ext>
              </a:extLst>
            </p:cNvPr>
            <p:cNvSpPr/>
            <p:nvPr/>
          </p:nvSpPr>
          <p:spPr>
            <a:xfrm>
              <a:off x="8279638" y="2805012"/>
              <a:ext cx="123509" cy="230082"/>
            </a:xfrm>
            <a:custGeom>
              <a:avLst/>
              <a:gdLst>
                <a:gd name="connsiteX0" fmla="*/ 149638 w 164391"/>
                <a:gd name="connsiteY0" fmla="*/ 61618 h 306240"/>
                <a:gd name="connsiteX1" fmla="*/ 132017 w 164391"/>
                <a:gd name="connsiteY1" fmla="*/ 233449 h 306240"/>
                <a:gd name="connsiteX2" fmla="*/ 68580 w 164391"/>
                <a:gd name="connsiteY2" fmla="*/ 303458 h 306240"/>
                <a:gd name="connsiteX3" fmla="*/ 0 w 164391"/>
                <a:gd name="connsiteY3" fmla="*/ 298791 h 306240"/>
                <a:gd name="connsiteX4" fmla="*/ 50768 w 164391"/>
                <a:gd name="connsiteY4" fmla="*/ 89241 h 306240"/>
                <a:gd name="connsiteX5" fmla="*/ 73343 w 164391"/>
                <a:gd name="connsiteY5" fmla="*/ 9517 h 306240"/>
                <a:gd name="connsiteX6" fmla="*/ 159544 w 164391"/>
                <a:gd name="connsiteY6" fmla="*/ 17232 h 306240"/>
                <a:gd name="connsiteX7" fmla="*/ 149638 w 164391"/>
                <a:gd name="connsiteY7" fmla="*/ 61618 h 306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4391" h="306240">
                  <a:moveTo>
                    <a:pt x="149638" y="61618"/>
                  </a:moveTo>
                  <a:cubicBezTo>
                    <a:pt x="130873" y="70762"/>
                    <a:pt x="135255" y="167536"/>
                    <a:pt x="132017" y="233449"/>
                  </a:cubicBezTo>
                  <a:cubicBezTo>
                    <a:pt x="130302" y="268882"/>
                    <a:pt x="103632" y="297934"/>
                    <a:pt x="68580" y="303458"/>
                  </a:cubicBezTo>
                  <a:cubicBezTo>
                    <a:pt x="43720" y="307459"/>
                    <a:pt x="16383" y="308125"/>
                    <a:pt x="0" y="298791"/>
                  </a:cubicBezTo>
                  <a:cubicBezTo>
                    <a:pt x="10859" y="289933"/>
                    <a:pt x="69532" y="203541"/>
                    <a:pt x="50768" y="89241"/>
                  </a:cubicBezTo>
                  <a:cubicBezTo>
                    <a:pt x="48292" y="74191"/>
                    <a:pt x="48006" y="32281"/>
                    <a:pt x="73343" y="9517"/>
                  </a:cubicBezTo>
                  <a:cubicBezTo>
                    <a:pt x="101536" y="-15725"/>
                    <a:pt x="159544" y="17232"/>
                    <a:pt x="159544" y="17232"/>
                  </a:cubicBezTo>
                  <a:cubicBezTo>
                    <a:pt x="159544" y="17232"/>
                    <a:pt x="175451" y="49045"/>
                    <a:pt x="149638" y="61618"/>
                  </a:cubicBezTo>
                  <a:close/>
                </a:path>
              </a:pathLst>
            </a:custGeom>
            <a:solidFill>
              <a:srgbClr val="1322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orma Livre: Forma 52">
              <a:extLst>
                <a:ext uri="{FF2B5EF4-FFF2-40B4-BE49-F238E27FC236}">
                  <a16:creationId xmlns:a16="http://schemas.microsoft.com/office/drawing/2014/main" id="{7CB18568-F217-7310-123A-FF58F5AB98F6}"/>
                </a:ext>
              </a:extLst>
            </p:cNvPr>
            <p:cNvSpPr/>
            <p:nvPr/>
          </p:nvSpPr>
          <p:spPr>
            <a:xfrm>
              <a:off x="8298244" y="3071577"/>
              <a:ext cx="123302" cy="228070"/>
            </a:xfrm>
            <a:custGeom>
              <a:avLst/>
              <a:gdLst>
                <a:gd name="connsiteX0" fmla="*/ 149542 w 164115"/>
                <a:gd name="connsiteY0" fmla="*/ 0 h 303561"/>
                <a:gd name="connsiteX1" fmla="*/ 164116 w 164115"/>
                <a:gd name="connsiteY1" fmla="*/ 118586 h 303561"/>
                <a:gd name="connsiteX2" fmla="*/ 158115 w 164115"/>
                <a:gd name="connsiteY2" fmla="*/ 296037 h 303561"/>
                <a:gd name="connsiteX3" fmla="*/ 33623 w 164115"/>
                <a:gd name="connsiteY3" fmla="*/ 303562 h 303561"/>
                <a:gd name="connsiteX4" fmla="*/ 0 w 164115"/>
                <a:gd name="connsiteY4" fmla="*/ 115729 h 303561"/>
                <a:gd name="connsiteX5" fmla="*/ 23050 w 164115"/>
                <a:gd name="connsiteY5" fmla="*/ 43243 h 303561"/>
                <a:gd name="connsiteX6" fmla="*/ 37529 w 164115"/>
                <a:gd name="connsiteY6" fmla="*/ 2572 h 303561"/>
                <a:gd name="connsiteX7" fmla="*/ 38195 w 164115"/>
                <a:gd name="connsiteY7" fmla="*/ 190 h 303561"/>
                <a:gd name="connsiteX8" fmla="*/ 149542 w 164115"/>
                <a:gd name="connsiteY8" fmla="*/ 0 h 303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4115" h="303561">
                  <a:moveTo>
                    <a:pt x="149542" y="0"/>
                  </a:moveTo>
                  <a:cubicBezTo>
                    <a:pt x="149542" y="0"/>
                    <a:pt x="164116" y="74390"/>
                    <a:pt x="164116" y="118586"/>
                  </a:cubicBezTo>
                  <a:cubicBezTo>
                    <a:pt x="164116" y="142875"/>
                    <a:pt x="158115" y="296037"/>
                    <a:pt x="158115" y="296037"/>
                  </a:cubicBezTo>
                  <a:cubicBezTo>
                    <a:pt x="158115" y="296037"/>
                    <a:pt x="53816" y="303562"/>
                    <a:pt x="33623" y="303562"/>
                  </a:cubicBezTo>
                  <a:cubicBezTo>
                    <a:pt x="28575" y="178117"/>
                    <a:pt x="0" y="174212"/>
                    <a:pt x="0" y="115729"/>
                  </a:cubicBezTo>
                  <a:cubicBezTo>
                    <a:pt x="0" y="90297"/>
                    <a:pt x="13049" y="61532"/>
                    <a:pt x="23050" y="43243"/>
                  </a:cubicBezTo>
                  <a:cubicBezTo>
                    <a:pt x="30194" y="30099"/>
                    <a:pt x="34766" y="20860"/>
                    <a:pt x="37529" y="2572"/>
                  </a:cubicBezTo>
                  <a:lnTo>
                    <a:pt x="38195" y="190"/>
                  </a:lnTo>
                  <a:lnTo>
                    <a:pt x="149542" y="0"/>
                  </a:lnTo>
                  <a:close/>
                </a:path>
              </a:pathLst>
            </a:custGeom>
            <a:solidFill>
              <a:srgbClr val="0070C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orma Livre: Forma 53">
              <a:extLst>
                <a:ext uri="{FF2B5EF4-FFF2-40B4-BE49-F238E27FC236}">
                  <a16:creationId xmlns:a16="http://schemas.microsoft.com/office/drawing/2014/main" id="{9F0794AA-A16D-AC52-1FB1-AE7469697263}"/>
                </a:ext>
              </a:extLst>
            </p:cNvPr>
            <p:cNvSpPr/>
            <p:nvPr/>
          </p:nvSpPr>
          <p:spPr>
            <a:xfrm>
              <a:off x="7367502" y="1278790"/>
              <a:ext cx="7156" cy="7156"/>
            </a:xfrm>
            <a:custGeom>
              <a:avLst/>
              <a:gdLst/>
              <a:ahLst/>
              <a:cxnLst/>
              <a:rect l="l" t="t" r="r" b="b"/>
              <a:pathLst>
                <a:path w="9525" h="9525"/>
              </a:pathLst>
            </a:custGeom>
            <a:solidFill>
              <a:srgbClr val="FFD24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orma Livre: Forma 54">
              <a:extLst>
                <a:ext uri="{FF2B5EF4-FFF2-40B4-BE49-F238E27FC236}">
                  <a16:creationId xmlns:a16="http://schemas.microsoft.com/office/drawing/2014/main" id="{6FA9FFD3-E24C-8A30-1A55-B606A37F790E}"/>
                </a:ext>
              </a:extLst>
            </p:cNvPr>
            <p:cNvSpPr/>
            <p:nvPr/>
          </p:nvSpPr>
          <p:spPr>
            <a:xfrm>
              <a:off x="9182973" y="2912779"/>
              <a:ext cx="64383" cy="188710"/>
            </a:xfrm>
            <a:custGeom>
              <a:avLst/>
              <a:gdLst>
                <a:gd name="connsiteX0" fmla="*/ 18859 w 85694"/>
                <a:gd name="connsiteY0" fmla="*/ 0 h 251174"/>
                <a:gd name="connsiteX1" fmla="*/ 85439 w 85694"/>
                <a:gd name="connsiteY1" fmla="*/ 168212 h 251174"/>
                <a:gd name="connsiteX2" fmla="*/ 18859 w 85694"/>
                <a:gd name="connsiteY2" fmla="*/ 251174 h 251174"/>
                <a:gd name="connsiteX3" fmla="*/ 8954 w 85694"/>
                <a:gd name="connsiteY3" fmla="*/ 234029 h 251174"/>
                <a:gd name="connsiteX4" fmla="*/ 40196 w 85694"/>
                <a:gd name="connsiteY4" fmla="*/ 163449 h 251174"/>
                <a:gd name="connsiteX5" fmla="*/ 0 w 85694"/>
                <a:gd name="connsiteY5" fmla="*/ 47530 h 251174"/>
                <a:gd name="connsiteX6" fmla="*/ 18859 w 85694"/>
                <a:gd name="connsiteY6" fmla="*/ 0 h 251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694" h="251174">
                  <a:moveTo>
                    <a:pt x="18859" y="0"/>
                  </a:moveTo>
                  <a:cubicBezTo>
                    <a:pt x="18859" y="0"/>
                    <a:pt x="90488" y="137827"/>
                    <a:pt x="85439" y="168212"/>
                  </a:cubicBezTo>
                  <a:cubicBezTo>
                    <a:pt x="80391" y="198501"/>
                    <a:pt x="18859" y="251174"/>
                    <a:pt x="18859" y="251174"/>
                  </a:cubicBezTo>
                  <a:lnTo>
                    <a:pt x="8954" y="234029"/>
                  </a:lnTo>
                  <a:lnTo>
                    <a:pt x="40196" y="163449"/>
                  </a:lnTo>
                  <a:lnTo>
                    <a:pt x="0" y="47530"/>
                  </a:lnTo>
                  <a:lnTo>
                    <a:pt x="18859" y="0"/>
                  </a:lnTo>
                  <a:close/>
                </a:path>
              </a:pathLst>
            </a:custGeom>
            <a:solidFill>
              <a:srgbClr val="825A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orma Livre: Forma 55">
              <a:extLst>
                <a:ext uri="{FF2B5EF4-FFF2-40B4-BE49-F238E27FC236}">
                  <a16:creationId xmlns:a16="http://schemas.microsoft.com/office/drawing/2014/main" id="{4DF120DB-4866-5318-A17B-2CF8C6340D92}"/>
                </a:ext>
              </a:extLst>
            </p:cNvPr>
            <p:cNvSpPr/>
            <p:nvPr/>
          </p:nvSpPr>
          <p:spPr>
            <a:xfrm>
              <a:off x="9139463" y="2852452"/>
              <a:ext cx="33419" cy="45585"/>
            </a:xfrm>
            <a:custGeom>
              <a:avLst/>
              <a:gdLst>
                <a:gd name="connsiteX0" fmla="*/ 0 w 44481"/>
                <a:gd name="connsiteY0" fmla="*/ 21146 h 60674"/>
                <a:gd name="connsiteX1" fmla="*/ 5810 w 44481"/>
                <a:gd name="connsiteY1" fmla="*/ 60674 h 60674"/>
                <a:gd name="connsiteX2" fmla="*/ 40958 w 44481"/>
                <a:gd name="connsiteY2" fmla="*/ 60674 h 60674"/>
                <a:gd name="connsiteX3" fmla="*/ 44482 w 44481"/>
                <a:gd name="connsiteY3" fmla="*/ 0 h 60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481" h="60674">
                  <a:moveTo>
                    <a:pt x="0" y="21146"/>
                  </a:moveTo>
                  <a:lnTo>
                    <a:pt x="5810" y="60674"/>
                  </a:lnTo>
                  <a:lnTo>
                    <a:pt x="40958" y="60674"/>
                  </a:lnTo>
                  <a:lnTo>
                    <a:pt x="44482" y="0"/>
                  </a:lnTo>
                  <a:close/>
                </a:path>
              </a:pathLst>
            </a:custGeom>
            <a:solidFill>
              <a:srgbClr val="825A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orma Livre: Forma 56">
              <a:extLst>
                <a:ext uri="{FF2B5EF4-FFF2-40B4-BE49-F238E27FC236}">
                  <a16:creationId xmlns:a16="http://schemas.microsoft.com/office/drawing/2014/main" id="{B6348922-653A-D1D6-462D-6E8BCBA57AAB}"/>
                </a:ext>
              </a:extLst>
            </p:cNvPr>
            <p:cNvSpPr/>
            <p:nvPr/>
          </p:nvSpPr>
          <p:spPr>
            <a:xfrm>
              <a:off x="9091229" y="2893642"/>
              <a:ext cx="120354" cy="207821"/>
            </a:xfrm>
            <a:custGeom>
              <a:avLst/>
              <a:gdLst>
                <a:gd name="connsiteX0" fmla="*/ 0 w 160192"/>
                <a:gd name="connsiteY0" fmla="*/ 140629 h 276610"/>
                <a:gd name="connsiteX1" fmla="*/ 0 w 160192"/>
                <a:gd name="connsiteY1" fmla="*/ 29377 h 276610"/>
                <a:gd name="connsiteX2" fmla="*/ 76867 w 160192"/>
                <a:gd name="connsiteY2" fmla="*/ 897 h 276610"/>
                <a:gd name="connsiteX3" fmla="*/ 96965 w 160192"/>
                <a:gd name="connsiteY3" fmla="*/ 40 h 276610"/>
                <a:gd name="connsiteX4" fmla="*/ 158496 w 160192"/>
                <a:gd name="connsiteY4" fmla="*/ 113387 h 276610"/>
                <a:gd name="connsiteX5" fmla="*/ 142875 w 160192"/>
                <a:gd name="connsiteY5" fmla="*/ 259120 h 276610"/>
                <a:gd name="connsiteX6" fmla="*/ 20574 w 160192"/>
                <a:gd name="connsiteY6" fmla="*/ 268550 h 276610"/>
                <a:gd name="connsiteX7" fmla="*/ 286 w 160192"/>
                <a:gd name="connsiteY7" fmla="*/ 140057 h 276610"/>
                <a:gd name="connsiteX8" fmla="*/ 0 w 160192"/>
                <a:gd name="connsiteY8" fmla="*/ 140629 h 276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0192" h="276610">
                  <a:moveTo>
                    <a:pt x="0" y="140629"/>
                  </a:moveTo>
                  <a:lnTo>
                    <a:pt x="0" y="29377"/>
                  </a:lnTo>
                  <a:cubicBezTo>
                    <a:pt x="45053" y="-2532"/>
                    <a:pt x="76867" y="897"/>
                    <a:pt x="76867" y="897"/>
                  </a:cubicBezTo>
                  <a:cubicBezTo>
                    <a:pt x="84773" y="40"/>
                    <a:pt x="86487" y="135"/>
                    <a:pt x="96965" y="40"/>
                  </a:cubicBezTo>
                  <a:cubicBezTo>
                    <a:pt x="97250" y="40"/>
                    <a:pt x="172307" y="-5485"/>
                    <a:pt x="158496" y="113387"/>
                  </a:cubicBezTo>
                  <a:cubicBezTo>
                    <a:pt x="128492" y="214543"/>
                    <a:pt x="142875" y="259120"/>
                    <a:pt x="142875" y="259120"/>
                  </a:cubicBezTo>
                  <a:cubicBezTo>
                    <a:pt x="142875" y="259120"/>
                    <a:pt x="64389" y="291124"/>
                    <a:pt x="20574" y="268550"/>
                  </a:cubicBezTo>
                  <a:cubicBezTo>
                    <a:pt x="31623" y="243308"/>
                    <a:pt x="11335" y="173776"/>
                    <a:pt x="286" y="140057"/>
                  </a:cubicBezTo>
                  <a:cubicBezTo>
                    <a:pt x="191" y="140343"/>
                    <a:pt x="95" y="140534"/>
                    <a:pt x="0" y="140629"/>
                  </a:cubicBezTo>
                  <a:close/>
                </a:path>
              </a:pathLst>
            </a:custGeom>
            <a:solidFill>
              <a:srgbClr val="0070C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orma Livre: Forma 57">
              <a:extLst>
                <a:ext uri="{FF2B5EF4-FFF2-40B4-BE49-F238E27FC236}">
                  <a16:creationId xmlns:a16="http://schemas.microsoft.com/office/drawing/2014/main" id="{EC2DBA5F-FBD1-7DCB-72CA-0E73DA1136BE}"/>
                </a:ext>
              </a:extLst>
            </p:cNvPr>
            <p:cNvSpPr/>
            <p:nvPr/>
          </p:nvSpPr>
          <p:spPr>
            <a:xfrm>
              <a:off x="9138929" y="2879216"/>
              <a:ext cx="62578" cy="150748"/>
            </a:xfrm>
            <a:custGeom>
              <a:avLst/>
              <a:gdLst>
                <a:gd name="connsiteX0" fmla="*/ 53478 w 83291"/>
                <a:gd name="connsiteY0" fmla="*/ 7525 h 200646"/>
                <a:gd name="connsiteX1" fmla="*/ 83291 w 83291"/>
                <a:gd name="connsiteY1" fmla="*/ 52673 h 200646"/>
                <a:gd name="connsiteX2" fmla="*/ 68813 w 83291"/>
                <a:gd name="connsiteY2" fmla="*/ 92012 h 200646"/>
                <a:gd name="connsiteX3" fmla="*/ 70242 w 83291"/>
                <a:gd name="connsiteY3" fmla="*/ 156686 h 200646"/>
                <a:gd name="connsiteX4" fmla="*/ 70908 w 83291"/>
                <a:gd name="connsiteY4" fmla="*/ 157543 h 200646"/>
                <a:gd name="connsiteX5" fmla="*/ 75862 w 83291"/>
                <a:gd name="connsiteY5" fmla="*/ 178308 h 200646"/>
                <a:gd name="connsiteX6" fmla="*/ 20236 w 83291"/>
                <a:gd name="connsiteY6" fmla="*/ 185642 h 200646"/>
                <a:gd name="connsiteX7" fmla="*/ 6520 w 83291"/>
                <a:gd name="connsiteY7" fmla="*/ 155543 h 200646"/>
                <a:gd name="connsiteX8" fmla="*/ 13949 w 83291"/>
                <a:gd name="connsiteY8" fmla="*/ 116586 h 200646"/>
                <a:gd name="connsiteX9" fmla="*/ 14902 w 83291"/>
                <a:gd name="connsiteY9" fmla="*/ 94012 h 200646"/>
                <a:gd name="connsiteX10" fmla="*/ 6615 w 83291"/>
                <a:gd name="connsiteY10" fmla="*/ 49721 h 200646"/>
                <a:gd name="connsiteX11" fmla="*/ 36904 w 83291"/>
                <a:gd name="connsiteY11" fmla="*/ 0 h 200646"/>
                <a:gd name="connsiteX12" fmla="*/ 53478 w 83291"/>
                <a:gd name="connsiteY12" fmla="*/ 7525 h 200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3291" h="200646">
                  <a:moveTo>
                    <a:pt x="53478" y="7525"/>
                  </a:moveTo>
                  <a:cubicBezTo>
                    <a:pt x="53478" y="7525"/>
                    <a:pt x="83291" y="25051"/>
                    <a:pt x="83291" y="52673"/>
                  </a:cubicBezTo>
                  <a:cubicBezTo>
                    <a:pt x="83291" y="69818"/>
                    <a:pt x="76528" y="80010"/>
                    <a:pt x="68813" y="92012"/>
                  </a:cubicBezTo>
                  <a:cubicBezTo>
                    <a:pt x="56050" y="111824"/>
                    <a:pt x="56145" y="137732"/>
                    <a:pt x="70242" y="156686"/>
                  </a:cubicBezTo>
                  <a:cubicBezTo>
                    <a:pt x="70432" y="156972"/>
                    <a:pt x="70623" y="157258"/>
                    <a:pt x="70908" y="157543"/>
                  </a:cubicBezTo>
                  <a:cubicBezTo>
                    <a:pt x="76242" y="164497"/>
                    <a:pt x="77290" y="171545"/>
                    <a:pt x="75862" y="178308"/>
                  </a:cubicBezTo>
                  <a:cubicBezTo>
                    <a:pt x="70337" y="204597"/>
                    <a:pt x="34237" y="208502"/>
                    <a:pt x="20236" y="185642"/>
                  </a:cubicBezTo>
                  <a:cubicBezTo>
                    <a:pt x="15092" y="177260"/>
                    <a:pt x="10139" y="167164"/>
                    <a:pt x="6520" y="155543"/>
                  </a:cubicBezTo>
                  <a:cubicBezTo>
                    <a:pt x="424" y="136112"/>
                    <a:pt x="6424" y="123920"/>
                    <a:pt x="13949" y="116586"/>
                  </a:cubicBezTo>
                  <a:cubicBezTo>
                    <a:pt x="20331" y="110395"/>
                    <a:pt x="21093" y="100393"/>
                    <a:pt x="14902" y="94012"/>
                  </a:cubicBezTo>
                  <a:cubicBezTo>
                    <a:pt x="3662" y="82487"/>
                    <a:pt x="-7482" y="65056"/>
                    <a:pt x="6615" y="49721"/>
                  </a:cubicBezTo>
                  <a:cubicBezTo>
                    <a:pt x="30237" y="24003"/>
                    <a:pt x="36904" y="0"/>
                    <a:pt x="36904" y="0"/>
                  </a:cubicBezTo>
                  <a:lnTo>
                    <a:pt x="53478" y="7525"/>
                  </a:lnTo>
                  <a:close/>
                </a:path>
              </a:pathLst>
            </a:custGeom>
            <a:solidFill>
              <a:srgbClr val="1322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orma Livre: Forma 58">
              <a:extLst>
                <a:ext uri="{FF2B5EF4-FFF2-40B4-BE49-F238E27FC236}">
                  <a16:creationId xmlns:a16="http://schemas.microsoft.com/office/drawing/2014/main" id="{15007730-4658-E44E-9858-F94B5E8A6CFA}"/>
                </a:ext>
              </a:extLst>
            </p:cNvPr>
            <p:cNvSpPr/>
            <p:nvPr/>
          </p:nvSpPr>
          <p:spPr>
            <a:xfrm>
              <a:off x="9139963" y="3265440"/>
              <a:ext cx="90130" cy="289542"/>
            </a:xfrm>
            <a:custGeom>
              <a:avLst/>
              <a:gdLst>
                <a:gd name="connsiteX0" fmla="*/ 118586 w 119963"/>
                <a:gd name="connsiteY0" fmla="*/ 381762 h 385381"/>
                <a:gd name="connsiteX1" fmla="*/ 97536 w 119963"/>
                <a:gd name="connsiteY1" fmla="*/ 385382 h 385381"/>
                <a:gd name="connsiteX2" fmla="*/ 22479 w 119963"/>
                <a:gd name="connsiteY2" fmla="*/ 171545 h 385381"/>
                <a:gd name="connsiteX3" fmla="*/ 0 w 119963"/>
                <a:gd name="connsiteY3" fmla="*/ 20955 h 385381"/>
                <a:gd name="connsiteX4" fmla="*/ 70295 w 119963"/>
                <a:gd name="connsiteY4" fmla="*/ 0 h 385381"/>
                <a:gd name="connsiteX5" fmla="*/ 68580 w 119963"/>
                <a:gd name="connsiteY5" fmla="*/ 145256 h 385381"/>
                <a:gd name="connsiteX6" fmla="*/ 118586 w 119963"/>
                <a:gd name="connsiteY6" fmla="*/ 381762 h 385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963" h="385381">
                  <a:moveTo>
                    <a:pt x="118586" y="381762"/>
                  </a:moveTo>
                  <a:lnTo>
                    <a:pt x="97536" y="385382"/>
                  </a:lnTo>
                  <a:cubicBezTo>
                    <a:pt x="93154" y="359283"/>
                    <a:pt x="27813" y="235744"/>
                    <a:pt x="22479" y="171545"/>
                  </a:cubicBezTo>
                  <a:cubicBezTo>
                    <a:pt x="16574" y="100299"/>
                    <a:pt x="0" y="20955"/>
                    <a:pt x="0" y="20955"/>
                  </a:cubicBezTo>
                  <a:lnTo>
                    <a:pt x="70295" y="0"/>
                  </a:lnTo>
                  <a:cubicBezTo>
                    <a:pt x="70295" y="0"/>
                    <a:pt x="88106" y="0"/>
                    <a:pt x="68580" y="145256"/>
                  </a:cubicBezTo>
                  <a:cubicBezTo>
                    <a:pt x="112586" y="202978"/>
                    <a:pt x="124396" y="333947"/>
                    <a:pt x="118586" y="381762"/>
                  </a:cubicBezTo>
                  <a:close/>
                </a:path>
              </a:pathLst>
            </a:custGeom>
            <a:solidFill>
              <a:srgbClr val="663E3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60" name="Gráfico 10">
              <a:extLst>
                <a:ext uri="{FF2B5EF4-FFF2-40B4-BE49-F238E27FC236}">
                  <a16:creationId xmlns:a16="http://schemas.microsoft.com/office/drawing/2014/main" id="{F22B2440-6CDC-9DFF-76ED-B7E08C75E7D5}"/>
                </a:ext>
              </a:extLst>
            </p:cNvPr>
            <p:cNvGrpSpPr/>
            <p:nvPr/>
          </p:nvGrpSpPr>
          <p:grpSpPr>
            <a:xfrm>
              <a:off x="9109672" y="2774109"/>
              <a:ext cx="82547" cy="105036"/>
              <a:chOff x="7377872" y="2411316"/>
              <a:chExt cx="109870" cy="139803"/>
            </a:xfrm>
            <a:solidFill>
              <a:srgbClr val="132237"/>
            </a:solidFill>
          </p:grpSpPr>
          <p:sp>
            <p:nvSpPr>
              <p:cNvPr id="73" name="Forma Livre: Forma 72">
                <a:extLst>
                  <a:ext uri="{FF2B5EF4-FFF2-40B4-BE49-F238E27FC236}">
                    <a16:creationId xmlns:a16="http://schemas.microsoft.com/office/drawing/2014/main" id="{B4E8576A-8D3A-C011-96FE-CA70BBCFE41C}"/>
                  </a:ext>
                </a:extLst>
              </p:cNvPr>
              <p:cNvSpPr/>
              <p:nvPr/>
            </p:nvSpPr>
            <p:spPr>
              <a:xfrm>
                <a:off x="7384657" y="2440534"/>
                <a:ext cx="77347" cy="97119"/>
              </a:xfrm>
              <a:custGeom>
                <a:avLst/>
                <a:gdLst>
                  <a:gd name="connsiteX0" fmla="*/ 576 w 77347"/>
                  <a:gd name="connsiteY0" fmla="*/ 3048 h 97119"/>
                  <a:gd name="connsiteX1" fmla="*/ 65441 w 77347"/>
                  <a:gd name="connsiteY1" fmla="*/ 0 h 97119"/>
                  <a:gd name="connsiteX2" fmla="*/ 76967 w 77347"/>
                  <a:gd name="connsiteY2" fmla="*/ 44672 h 97119"/>
                  <a:gd name="connsiteX3" fmla="*/ 77347 w 77347"/>
                  <a:gd name="connsiteY3" fmla="*/ 46577 h 97119"/>
                  <a:gd name="connsiteX4" fmla="*/ 74300 w 77347"/>
                  <a:gd name="connsiteY4" fmla="*/ 48577 h 97119"/>
                  <a:gd name="connsiteX5" fmla="*/ 73823 w 77347"/>
                  <a:gd name="connsiteY5" fmla="*/ 48958 h 97119"/>
                  <a:gd name="connsiteX6" fmla="*/ 73347 w 77347"/>
                  <a:gd name="connsiteY6" fmla="*/ 49244 h 97119"/>
                  <a:gd name="connsiteX7" fmla="*/ 57535 w 77347"/>
                  <a:gd name="connsiteY7" fmla="*/ 86582 h 97119"/>
                  <a:gd name="connsiteX8" fmla="*/ 32771 w 77347"/>
                  <a:gd name="connsiteY8" fmla="*/ 96202 h 97119"/>
                  <a:gd name="connsiteX9" fmla="*/ 17626 w 77347"/>
                  <a:gd name="connsiteY9" fmla="*/ 95821 h 97119"/>
                  <a:gd name="connsiteX10" fmla="*/ 576 w 77347"/>
                  <a:gd name="connsiteY10" fmla="*/ 3048 h 97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7347" h="97119">
                    <a:moveTo>
                      <a:pt x="576" y="3048"/>
                    </a:moveTo>
                    <a:lnTo>
                      <a:pt x="65441" y="0"/>
                    </a:lnTo>
                    <a:lnTo>
                      <a:pt x="76967" y="44672"/>
                    </a:lnTo>
                    <a:cubicBezTo>
                      <a:pt x="77157" y="45339"/>
                      <a:pt x="77157" y="45910"/>
                      <a:pt x="77347" y="46577"/>
                    </a:cubicBezTo>
                    <a:cubicBezTo>
                      <a:pt x="76300" y="47244"/>
                      <a:pt x="75347" y="47815"/>
                      <a:pt x="74300" y="48577"/>
                    </a:cubicBezTo>
                    <a:cubicBezTo>
                      <a:pt x="74109" y="48673"/>
                      <a:pt x="74014" y="48863"/>
                      <a:pt x="73823" y="48958"/>
                    </a:cubicBezTo>
                    <a:cubicBezTo>
                      <a:pt x="73633" y="49054"/>
                      <a:pt x="73538" y="49149"/>
                      <a:pt x="73347" y="49244"/>
                    </a:cubicBezTo>
                    <a:cubicBezTo>
                      <a:pt x="61536" y="57721"/>
                      <a:pt x="56678" y="72390"/>
                      <a:pt x="57535" y="86582"/>
                    </a:cubicBezTo>
                    <a:cubicBezTo>
                      <a:pt x="50011" y="91154"/>
                      <a:pt x="41629" y="94583"/>
                      <a:pt x="32771" y="96202"/>
                    </a:cubicBezTo>
                    <a:cubicBezTo>
                      <a:pt x="26770" y="97346"/>
                      <a:pt x="20960" y="97631"/>
                      <a:pt x="17626" y="95821"/>
                    </a:cubicBezTo>
                    <a:cubicBezTo>
                      <a:pt x="-4853" y="74581"/>
                      <a:pt x="576" y="3048"/>
                      <a:pt x="576" y="304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4" name="Forma Livre: Forma 73">
                <a:extLst>
                  <a:ext uri="{FF2B5EF4-FFF2-40B4-BE49-F238E27FC236}">
                    <a16:creationId xmlns:a16="http://schemas.microsoft.com/office/drawing/2014/main" id="{08BABBA0-494D-55D1-3CC0-50F9926F87B5}"/>
                  </a:ext>
                </a:extLst>
              </p:cNvPr>
              <p:cNvSpPr/>
              <p:nvPr/>
            </p:nvSpPr>
            <p:spPr>
              <a:xfrm>
                <a:off x="7377872" y="2411316"/>
                <a:ext cx="109870" cy="139803"/>
              </a:xfrm>
              <a:custGeom>
                <a:avLst/>
                <a:gdLst>
                  <a:gd name="connsiteX0" fmla="*/ 92609 w 109870"/>
                  <a:gd name="connsiteY0" fmla="*/ 137898 h 139803"/>
                  <a:gd name="connsiteX1" fmla="*/ 75750 w 109870"/>
                  <a:gd name="connsiteY1" fmla="*/ 139803 h 139803"/>
                  <a:gd name="connsiteX2" fmla="*/ 20600 w 109870"/>
                  <a:gd name="connsiteY2" fmla="*/ 81129 h 139803"/>
                  <a:gd name="connsiteX3" fmla="*/ 26 w 109870"/>
                  <a:gd name="connsiteY3" fmla="*/ 38934 h 139803"/>
                  <a:gd name="connsiteX4" fmla="*/ 72797 w 109870"/>
                  <a:gd name="connsiteY4" fmla="*/ 1405 h 139803"/>
                  <a:gd name="connsiteX5" fmla="*/ 106516 w 109870"/>
                  <a:gd name="connsiteY5" fmla="*/ 39124 h 139803"/>
                  <a:gd name="connsiteX6" fmla="*/ 92609 w 109870"/>
                  <a:gd name="connsiteY6" fmla="*/ 137898 h 1398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9870" h="139803">
                    <a:moveTo>
                      <a:pt x="92609" y="137898"/>
                    </a:moveTo>
                    <a:cubicBezTo>
                      <a:pt x="75750" y="139803"/>
                      <a:pt x="102515" y="137898"/>
                      <a:pt x="75750" y="139803"/>
                    </a:cubicBezTo>
                    <a:cubicBezTo>
                      <a:pt x="74988" y="125611"/>
                      <a:pt x="29268" y="88654"/>
                      <a:pt x="20600" y="81129"/>
                    </a:cubicBezTo>
                    <a:cubicBezTo>
                      <a:pt x="-1593" y="61984"/>
                      <a:pt x="26" y="38934"/>
                      <a:pt x="26" y="38934"/>
                    </a:cubicBezTo>
                    <a:cubicBezTo>
                      <a:pt x="26" y="38934"/>
                      <a:pt x="44222" y="-8691"/>
                      <a:pt x="72797" y="1405"/>
                    </a:cubicBezTo>
                    <a:cubicBezTo>
                      <a:pt x="95181" y="9311"/>
                      <a:pt x="102896" y="27027"/>
                      <a:pt x="106516" y="39124"/>
                    </a:cubicBezTo>
                    <a:cubicBezTo>
                      <a:pt x="109754" y="49792"/>
                      <a:pt x="116327" y="67890"/>
                      <a:pt x="92609" y="13789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61" name="Forma Livre: Forma 60">
              <a:extLst>
                <a:ext uri="{FF2B5EF4-FFF2-40B4-BE49-F238E27FC236}">
                  <a16:creationId xmlns:a16="http://schemas.microsoft.com/office/drawing/2014/main" id="{3816923D-74E3-3150-EB58-F374FCE4673D}"/>
                </a:ext>
              </a:extLst>
            </p:cNvPr>
            <p:cNvSpPr/>
            <p:nvPr/>
          </p:nvSpPr>
          <p:spPr>
            <a:xfrm>
              <a:off x="9103251" y="3225794"/>
              <a:ext cx="86948" cy="346506"/>
            </a:xfrm>
            <a:custGeom>
              <a:avLst/>
              <a:gdLst>
                <a:gd name="connsiteX0" fmla="*/ 115729 w 115728"/>
                <a:gd name="connsiteY0" fmla="*/ 0 h 461200"/>
                <a:gd name="connsiteX1" fmla="*/ 76200 w 115728"/>
                <a:gd name="connsiteY1" fmla="*/ 205645 h 461200"/>
                <a:gd name="connsiteX2" fmla="*/ 62960 w 115728"/>
                <a:gd name="connsiteY2" fmla="*/ 448246 h 461200"/>
                <a:gd name="connsiteX3" fmla="*/ 47530 w 115728"/>
                <a:gd name="connsiteY3" fmla="*/ 461200 h 461200"/>
                <a:gd name="connsiteX4" fmla="*/ 14954 w 115728"/>
                <a:gd name="connsiteY4" fmla="*/ 231934 h 461200"/>
                <a:gd name="connsiteX5" fmla="*/ 0 w 115728"/>
                <a:gd name="connsiteY5" fmla="*/ 73819 h 461200"/>
                <a:gd name="connsiteX6" fmla="*/ 115729 w 115728"/>
                <a:gd name="connsiteY6" fmla="*/ 0 h 461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728" h="461200">
                  <a:moveTo>
                    <a:pt x="115729" y="0"/>
                  </a:moveTo>
                  <a:cubicBezTo>
                    <a:pt x="115729" y="0"/>
                    <a:pt x="99250" y="99346"/>
                    <a:pt x="76200" y="205645"/>
                  </a:cubicBezTo>
                  <a:cubicBezTo>
                    <a:pt x="100203" y="269843"/>
                    <a:pt x="63627" y="448913"/>
                    <a:pt x="62960" y="448246"/>
                  </a:cubicBezTo>
                  <a:cubicBezTo>
                    <a:pt x="60198" y="445675"/>
                    <a:pt x="47530" y="461200"/>
                    <a:pt x="47530" y="461200"/>
                  </a:cubicBezTo>
                  <a:cubicBezTo>
                    <a:pt x="47530" y="461200"/>
                    <a:pt x="20860" y="303181"/>
                    <a:pt x="14954" y="231934"/>
                  </a:cubicBezTo>
                  <a:cubicBezTo>
                    <a:pt x="9049" y="160687"/>
                    <a:pt x="0" y="73819"/>
                    <a:pt x="0" y="73819"/>
                  </a:cubicBezTo>
                  <a:lnTo>
                    <a:pt x="115729" y="0"/>
                  </a:lnTo>
                  <a:close/>
                </a:path>
              </a:pathLst>
            </a:custGeom>
            <a:solidFill>
              <a:srgbClr val="825A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orma Livre: Forma 61">
              <a:extLst>
                <a:ext uri="{FF2B5EF4-FFF2-40B4-BE49-F238E27FC236}">
                  <a16:creationId xmlns:a16="http://schemas.microsoft.com/office/drawing/2014/main" id="{646DCCA8-A10C-25F7-8F0B-4969DD7CC0D4}"/>
                </a:ext>
              </a:extLst>
            </p:cNvPr>
            <p:cNvSpPr/>
            <p:nvPr/>
          </p:nvSpPr>
          <p:spPr>
            <a:xfrm>
              <a:off x="9087630" y="3555053"/>
              <a:ext cx="71461" cy="41720"/>
            </a:xfrm>
            <a:custGeom>
              <a:avLst/>
              <a:gdLst>
                <a:gd name="connsiteX0" fmla="*/ 86705 w 95115"/>
                <a:gd name="connsiteY0" fmla="*/ 0 h 55530"/>
                <a:gd name="connsiteX1" fmla="*/ 94897 w 95115"/>
                <a:gd name="connsiteY1" fmla="*/ 19336 h 55530"/>
                <a:gd name="connsiteX2" fmla="*/ 90420 w 95115"/>
                <a:gd name="connsiteY2" fmla="*/ 55531 h 55530"/>
                <a:gd name="connsiteX3" fmla="*/ 80133 w 95115"/>
                <a:gd name="connsiteY3" fmla="*/ 55531 h 55530"/>
                <a:gd name="connsiteX4" fmla="*/ 80419 w 95115"/>
                <a:gd name="connsiteY4" fmla="*/ 31909 h 55530"/>
                <a:gd name="connsiteX5" fmla="*/ 54606 w 95115"/>
                <a:gd name="connsiteY5" fmla="*/ 55531 h 55530"/>
                <a:gd name="connsiteX6" fmla="*/ 123 w 95115"/>
                <a:gd name="connsiteY6" fmla="*/ 55531 h 55530"/>
                <a:gd name="connsiteX7" fmla="*/ 28508 w 95115"/>
                <a:gd name="connsiteY7" fmla="*/ 34481 h 55530"/>
                <a:gd name="connsiteX8" fmla="*/ 86705 w 95115"/>
                <a:gd name="connsiteY8" fmla="*/ 0 h 55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5115" h="55530">
                  <a:moveTo>
                    <a:pt x="86705" y="0"/>
                  </a:moveTo>
                  <a:cubicBezTo>
                    <a:pt x="86705" y="0"/>
                    <a:pt x="96707" y="8477"/>
                    <a:pt x="94897" y="19336"/>
                  </a:cubicBezTo>
                  <a:cubicBezTo>
                    <a:pt x="93087" y="30194"/>
                    <a:pt x="90420" y="55531"/>
                    <a:pt x="90420" y="55531"/>
                  </a:cubicBezTo>
                  <a:lnTo>
                    <a:pt x="80133" y="55531"/>
                  </a:lnTo>
                  <a:lnTo>
                    <a:pt x="80419" y="31909"/>
                  </a:lnTo>
                  <a:cubicBezTo>
                    <a:pt x="80419" y="30385"/>
                    <a:pt x="58321" y="55531"/>
                    <a:pt x="54606" y="55531"/>
                  </a:cubicBezTo>
                  <a:lnTo>
                    <a:pt x="123" y="55531"/>
                  </a:lnTo>
                  <a:cubicBezTo>
                    <a:pt x="123" y="55531"/>
                    <a:pt x="-3496" y="39624"/>
                    <a:pt x="28508" y="34481"/>
                  </a:cubicBezTo>
                  <a:cubicBezTo>
                    <a:pt x="60607" y="29242"/>
                    <a:pt x="86705" y="0"/>
                    <a:pt x="86705" y="0"/>
                  </a:cubicBezTo>
                  <a:close/>
                </a:path>
              </a:pathLst>
            </a:custGeom>
            <a:solidFill>
              <a:srgbClr val="1322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orma Livre: Forma 65">
              <a:extLst>
                <a:ext uri="{FF2B5EF4-FFF2-40B4-BE49-F238E27FC236}">
                  <a16:creationId xmlns:a16="http://schemas.microsoft.com/office/drawing/2014/main" id="{99AB2686-424B-A04F-F5AB-9F813C2A3919}"/>
                </a:ext>
              </a:extLst>
            </p:cNvPr>
            <p:cNvSpPr/>
            <p:nvPr/>
          </p:nvSpPr>
          <p:spPr>
            <a:xfrm>
              <a:off x="9161575" y="2873491"/>
              <a:ext cx="22685" cy="11378"/>
            </a:xfrm>
            <a:custGeom>
              <a:avLst/>
              <a:gdLst>
                <a:gd name="connsiteX0" fmla="*/ 6763 w 30194"/>
                <a:gd name="connsiteY0" fmla="*/ 15145 h 15144"/>
                <a:gd name="connsiteX1" fmla="*/ 23432 w 30194"/>
                <a:gd name="connsiteY1" fmla="*/ 15145 h 15144"/>
                <a:gd name="connsiteX2" fmla="*/ 30194 w 30194"/>
                <a:gd name="connsiteY2" fmla="*/ 8382 h 15144"/>
                <a:gd name="connsiteX3" fmla="*/ 30194 w 30194"/>
                <a:gd name="connsiteY3" fmla="*/ 6763 h 15144"/>
                <a:gd name="connsiteX4" fmla="*/ 23432 w 30194"/>
                <a:gd name="connsiteY4" fmla="*/ 0 h 15144"/>
                <a:gd name="connsiteX5" fmla="*/ 6763 w 30194"/>
                <a:gd name="connsiteY5" fmla="*/ 0 h 15144"/>
                <a:gd name="connsiteX6" fmla="*/ 0 w 30194"/>
                <a:gd name="connsiteY6" fmla="*/ 6763 h 15144"/>
                <a:gd name="connsiteX7" fmla="*/ 0 w 30194"/>
                <a:gd name="connsiteY7" fmla="*/ 8382 h 15144"/>
                <a:gd name="connsiteX8" fmla="*/ 6763 w 30194"/>
                <a:gd name="connsiteY8" fmla="*/ 15145 h 1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194" h="15144">
                  <a:moveTo>
                    <a:pt x="6763" y="15145"/>
                  </a:moveTo>
                  <a:lnTo>
                    <a:pt x="23432" y="15145"/>
                  </a:lnTo>
                  <a:cubicBezTo>
                    <a:pt x="27146" y="15145"/>
                    <a:pt x="30194" y="12097"/>
                    <a:pt x="30194" y="8382"/>
                  </a:cubicBezTo>
                  <a:lnTo>
                    <a:pt x="30194" y="6763"/>
                  </a:lnTo>
                  <a:cubicBezTo>
                    <a:pt x="30194" y="3048"/>
                    <a:pt x="27146" y="0"/>
                    <a:pt x="23432" y="0"/>
                  </a:cubicBezTo>
                  <a:lnTo>
                    <a:pt x="6763" y="0"/>
                  </a:lnTo>
                  <a:cubicBezTo>
                    <a:pt x="3048" y="0"/>
                    <a:pt x="0" y="3048"/>
                    <a:pt x="0" y="6763"/>
                  </a:cubicBezTo>
                  <a:lnTo>
                    <a:pt x="0" y="8382"/>
                  </a:lnTo>
                  <a:cubicBezTo>
                    <a:pt x="0" y="12097"/>
                    <a:pt x="3048" y="15145"/>
                    <a:pt x="6763" y="15145"/>
                  </a:cubicBezTo>
                  <a:close/>
                </a:path>
              </a:pathLst>
            </a:custGeom>
            <a:solidFill>
              <a:srgbClr val="EE730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orma Livre: Forma 66">
              <a:extLst>
                <a:ext uri="{FF2B5EF4-FFF2-40B4-BE49-F238E27FC236}">
                  <a16:creationId xmlns:a16="http://schemas.microsoft.com/office/drawing/2014/main" id="{35035096-25CF-50C6-6E33-D8C741D500A7}"/>
                </a:ext>
              </a:extLst>
            </p:cNvPr>
            <p:cNvSpPr/>
            <p:nvPr/>
          </p:nvSpPr>
          <p:spPr>
            <a:xfrm>
              <a:off x="9095666" y="3077230"/>
              <a:ext cx="128955" cy="223203"/>
            </a:xfrm>
            <a:custGeom>
              <a:avLst/>
              <a:gdLst>
                <a:gd name="connsiteX0" fmla="*/ 17812 w 171640"/>
                <a:gd name="connsiteY0" fmla="*/ 0 h 297084"/>
                <a:gd name="connsiteX1" fmla="*/ 0 w 171640"/>
                <a:gd name="connsiteY1" fmla="*/ 150209 h 297084"/>
                <a:gd name="connsiteX2" fmla="*/ 12668 w 171640"/>
                <a:gd name="connsiteY2" fmla="*/ 294037 h 297084"/>
                <a:gd name="connsiteX3" fmla="*/ 138208 w 171640"/>
                <a:gd name="connsiteY3" fmla="*/ 297085 h 297084"/>
                <a:gd name="connsiteX4" fmla="*/ 171641 w 171640"/>
                <a:gd name="connsiteY4" fmla="*/ 94107 h 297084"/>
                <a:gd name="connsiteX5" fmla="*/ 130588 w 171640"/>
                <a:gd name="connsiteY5" fmla="*/ 6858 h 297084"/>
                <a:gd name="connsiteX6" fmla="*/ 17812 w 171640"/>
                <a:gd name="connsiteY6" fmla="*/ 0 h 297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1640" h="297084">
                  <a:moveTo>
                    <a:pt x="17812" y="0"/>
                  </a:moveTo>
                  <a:cubicBezTo>
                    <a:pt x="17812" y="0"/>
                    <a:pt x="0" y="100298"/>
                    <a:pt x="0" y="150209"/>
                  </a:cubicBezTo>
                  <a:cubicBezTo>
                    <a:pt x="0" y="177641"/>
                    <a:pt x="12668" y="294037"/>
                    <a:pt x="12668" y="294037"/>
                  </a:cubicBezTo>
                  <a:cubicBezTo>
                    <a:pt x="12668" y="294037"/>
                    <a:pt x="116967" y="297085"/>
                    <a:pt x="138208" y="297085"/>
                  </a:cubicBezTo>
                  <a:cubicBezTo>
                    <a:pt x="140875" y="214503"/>
                    <a:pt x="171641" y="160115"/>
                    <a:pt x="171641" y="94107"/>
                  </a:cubicBezTo>
                  <a:cubicBezTo>
                    <a:pt x="171641" y="47530"/>
                    <a:pt x="130588" y="6858"/>
                    <a:pt x="130588" y="6858"/>
                  </a:cubicBezTo>
                  <a:lnTo>
                    <a:pt x="17812" y="0"/>
                  </a:lnTo>
                  <a:close/>
                </a:path>
              </a:pathLst>
            </a:custGeom>
            <a:solidFill>
              <a:srgbClr val="EEA00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orma Livre: Forma 67">
              <a:extLst>
                <a:ext uri="{FF2B5EF4-FFF2-40B4-BE49-F238E27FC236}">
                  <a16:creationId xmlns:a16="http://schemas.microsoft.com/office/drawing/2014/main" id="{BB411671-F170-8E4F-E201-35A132A877B6}"/>
                </a:ext>
              </a:extLst>
            </p:cNvPr>
            <p:cNvSpPr/>
            <p:nvPr/>
          </p:nvSpPr>
          <p:spPr>
            <a:xfrm>
              <a:off x="7367502" y="1278790"/>
              <a:ext cx="7156" cy="7156"/>
            </a:xfrm>
            <a:custGeom>
              <a:avLst/>
              <a:gdLst/>
              <a:ahLst/>
              <a:cxnLst/>
              <a:rect l="l" t="t" r="r" b="b"/>
              <a:pathLst>
                <a:path w="9525" h="9525"/>
              </a:pathLst>
            </a:custGeom>
            <a:solidFill>
              <a:srgbClr val="FFD24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orma Livre: Forma 68">
              <a:extLst>
                <a:ext uri="{FF2B5EF4-FFF2-40B4-BE49-F238E27FC236}">
                  <a16:creationId xmlns:a16="http://schemas.microsoft.com/office/drawing/2014/main" id="{E404C3BB-4098-5013-ACDD-87F0F7C67C7F}"/>
                </a:ext>
              </a:extLst>
            </p:cNvPr>
            <p:cNvSpPr/>
            <p:nvPr/>
          </p:nvSpPr>
          <p:spPr>
            <a:xfrm>
              <a:off x="8926206" y="2915713"/>
              <a:ext cx="187637" cy="147808"/>
            </a:xfrm>
            <a:custGeom>
              <a:avLst/>
              <a:gdLst>
                <a:gd name="connsiteX0" fmla="*/ 44387 w 249745"/>
                <a:gd name="connsiteY0" fmla="*/ 98584 h 196733"/>
                <a:gd name="connsiteX1" fmla="*/ 49054 w 249745"/>
                <a:gd name="connsiteY1" fmla="*/ 99917 h 196733"/>
                <a:gd name="connsiteX2" fmla="*/ 68771 w 249745"/>
                <a:gd name="connsiteY2" fmla="*/ 119443 h 196733"/>
                <a:gd name="connsiteX3" fmla="*/ 69913 w 249745"/>
                <a:gd name="connsiteY3" fmla="*/ 123158 h 196733"/>
                <a:gd name="connsiteX4" fmla="*/ 156972 w 249745"/>
                <a:gd name="connsiteY4" fmla="*/ 143256 h 196733"/>
                <a:gd name="connsiteX5" fmla="*/ 219551 w 249745"/>
                <a:gd name="connsiteY5" fmla="*/ 0 h 196733"/>
                <a:gd name="connsiteX6" fmla="*/ 249746 w 249745"/>
                <a:gd name="connsiteY6" fmla="*/ 46101 h 196733"/>
                <a:gd name="connsiteX7" fmla="*/ 190405 w 249745"/>
                <a:gd name="connsiteY7" fmla="*/ 190500 h 196733"/>
                <a:gd name="connsiteX8" fmla="*/ 153734 w 249745"/>
                <a:gd name="connsiteY8" fmla="*/ 192976 h 196733"/>
                <a:gd name="connsiteX9" fmla="*/ 47149 w 249745"/>
                <a:gd name="connsiteY9" fmla="*/ 137922 h 196733"/>
                <a:gd name="connsiteX10" fmla="*/ 0 w 249745"/>
                <a:gd name="connsiteY10" fmla="*/ 111919 h 196733"/>
                <a:gd name="connsiteX11" fmla="*/ 20860 w 249745"/>
                <a:gd name="connsiteY11" fmla="*/ 100965 h 196733"/>
                <a:gd name="connsiteX12" fmla="*/ 44387 w 249745"/>
                <a:gd name="connsiteY12" fmla="*/ 98584 h 19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9745" h="196733">
                  <a:moveTo>
                    <a:pt x="44387" y="98584"/>
                  </a:moveTo>
                  <a:lnTo>
                    <a:pt x="49054" y="99917"/>
                  </a:lnTo>
                  <a:cubicBezTo>
                    <a:pt x="58483" y="102679"/>
                    <a:pt x="66008" y="110014"/>
                    <a:pt x="68771" y="119443"/>
                  </a:cubicBezTo>
                  <a:lnTo>
                    <a:pt x="69913" y="123158"/>
                  </a:lnTo>
                  <a:cubicBezTo>
                    <a:pt x="69913" y="123158"/>
                    <a:pt x="111062" y="137350"/>
                    <a:pt x="156972" y="143256"/>
                  </a:cubicBezTo>
                  <a:cubicBezTo>
                    <a:pt x="203740" y="10001"/>
                    <a:pt x="219551" y="0"/>
                    <a:pt x="219551" y="0"/>
                  </a:cubicBezTo>
                  <a:cubicBezTo>
                    <a:pt x="219551" y="0"/>
                    <a:pt x="249746" y="9620"/>
                    <a:pt x="249746" y="46101"/>
                  </a:cubicBezTo>
                  <a:cubicBezTo>
                    <a:pt x="249746" y="76676"/>
                    <a:pt x="229267" y="163354"/>
                    <a:pt x="190405" y="190500"/>
                  </a:cubicBezTo>
                  <a:cubicBezTo>
                    <a:pt x="179642" y="198025"/>
                    <a:pt x="165545" y="198596"/>
                    <a:pt x="153734" y="192976"/>
                  </a:cubicBezTo>
                  <a:cubicBezTo>
                    <a:pt x="91250" y="163259"/>
                    <a:pt x="47149" y="137922"/>
                    <a:pt x="47149" y="137922"/>
                  </a:cubicBezTo>
                  <a:lnTo>
                    <a:pt x="0" y="111919"/>
                  </a:lnTo>
                  <a:lnTo>
                    <a:pt x="20860" y="100965"/>
                  </a:lnTo>
                  <a:cubicBezTo>
                    <a:pt x="28194" y="97155"/>
                    <a:pt x="36576" y="96298"/>
                    <a:pt x="44387" y="98584"/>
                  </a:cubicBezTo>
                  <a:close/>
                </a:path>
              </a:pathLst>
            </a:custGeom>
            <a:solidFill>
              <a:srgbClr val="825A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70" name="Gráfico 10">
              <a:extLst>
                <a:ext uri="{FF2B5EF4-FFF2-40B4-BE49-F238E27FC236}">
                  <a16:creationId xmlns:a16="http://schemas.microsoft.com/office/drawing/2014/main" id="{25EDC119-0F6D-4D47-E887-B73DFDEF0FC0}"/>
                </a:ext>
              </a:extLst>
            </p:cNvPr>
            <p:cNvGrpSpPr/>
            <p:nvPr/>
          </p:nvGrpSpPr>
          <p:grpSpPr>
            <a:xfrm>
              <a:off x="9169519" y="3535159"/>
              <a:ext cx="78360" cy="61544"/>
              <a:chOff x="7457528" y="3424276"/>
              <a:chExt cx="104298" cy="81915"/>
            </a:xfrm>
          </p:grpSpPr>
          <p:sp>
            <p:nvSpPr>
              <p:cNvPr id="71" name="Forma Livre: Forma 70">
                <a:extLst>
                  <a:ext uri="{FF2B5EF4-FFF2-40B4-BE49-F238E27FC236}">
                    <a16:creationId xmlns:a16="http://schemas.microsoft.com/office/drawing/2014/main" id="{6055DB6E-FFDF-E62A-6908-95353FD12988}"/>
                  </a:ext>
                </a:extLst>
              </p:cNvPr>
              <p:cNvSpPr/>
              <p:nvPr/>
            </p:nvSpPr>
            <p:spPr>
              <a:xfrm>
                <a:off x="7494675" y="3424276"/>
                <a:ext cx="42016" cy="62320"/>
              </a:xfrm>
              <a:custGeom>
                <a:avLst/>
                <a:gdLst>
                  <a:gd name="connsiteX0" fmla="*/ 18669 w 42016"/>
                  <a:gd name="connsiteY0" fmla="*/ 8477 h 62320"/>
                  <a:gd name="connsiteX1" fmla="*/ 20098 w 42016"/>
                  <a:gd name="connsiteY1" fmla="*/ 31052 h 62320"/>
                  <a:gd name="connsiteX2" fmla="*/ 16383 w 42016"/>
                  <a:gd name="connsiteY2" fmla="*/ 44387 h 62320"/>
                  <a:gd name="connsiteX3" fmla="*/ 0 w 42016"/>
                  <a:gd name="connsiteY3" fmla="*/ 61436 h 62320"/>
                  <a:gd name="connsiteX4" fmla="*/ 37624 w 42016"/>
                  <a:gd name="connsiteY4" fmla="*/ 37052 h 62320"/>
                  <a:gd name="connsiteX5" fmla="*/ 41719 w 42016"/>
                  <a:gd name="connsiteY5" fmla="*/ 17717 h 62320"/>
                  <a:gd name="connsiteX6" fmla="*/ 39052 w 42016"/>
                  <a:gd name="connsiteY6" fmla="*/ 0 h 62320"/>
                  <a:gd name="connsiteX7" fmla="*/ 18669 w 42016"/>
                  <a:gd name="connsiteY7" fmla="*/ 8477 h 62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2016" h="62320">
                    <a:moveTo>
                      <a:pt x="18669" y="8477"/>
                    </a:moveTo>
                    <a:lnTo>
                      <a:pt x="20098" y="31052"/>
                    </a:lnTo>
                    <a:cubicBezTo>
                      <a:pt x="20383" y="35814"/>
                      <a:pt x="19050" y="40481"/>
                      <a:pt x="16383" y="44387"/>
                    </a:cubicBezTo>
                    <a:cubicBezTo>
                      <a:pt x="13430" y="48673"/>
                      <a:pt x="8382" y="54578"/>
                      <a:pt x="0" y="61436"/>
                    </a:cubicBezTo>
                    <a:cubicBezTo>
                      <a:pt x="15811" y="66485"/>
                      <a:pt x="30099" y="48768"/>
                      <a:pt x="37624" y="37052"/>
                    </a:cubicBezTo>
                    <a:cubicBezTo>
                      <a:pt x="41338" y="31337"/>
                      <a:pt x="42672" y="24479"/>
                      <a:pt x="41719" y="17717"/>
                    </a:cubicBezTo>
                    <a:lnTo>
                      <a:pt x="39052" y="0"/>
                    </a:lnTo>
                    <a:lnTo>
                      <a:pt x="18669" y="8477"/>
                    </a:lnTo>
                    <a:close/>
                  </a:path>
                </a:pathLst>
              </a:custGeom>
              <a:solidFill>
                <a:srgbClr val="663E3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2" name="Forma Livre: Forma 71">
                <a:extLst>
                  <a:ext uri="{FF2B5EF4-FFF2-40B4-BE49-F238E27FC236}">
                    <a16:creationId xmlns:a16="http://schemas.microsoft.com/office/drawing/2014/main" id="{626DBB74-F58C-6262-F4B4-BD0713374772}"/>
                  </a:ext>
                </a:extLst>
              </p:cNvPr>
              <p:cNvSpPr/>
              <p:nvPr/>
            </p:nvSpPr>
            <p:spPr>
              <a:xfrm>
                <a:off x="7457528" y="3445136"/>
                <a:ext cx="104298" cy="61055"/>
              </a:xfrm>
              <a:custGeom>
                <a:avLst/>
                <a:gdLst>
                  <a:gd name="connsiteX0" fmla="*/ 79248 w 104298"/>
                  <a:gd name="connsiteY0" fmla="*/ 0 h 61055"/>
                  <a:gd name="connsiteX1" fmla="*/ 95440 w 104298"/>
                  <a:gd name="connsiteY1" fmla="*/ 11811 h 61055"/>
                  <a:gd name="connsiteX2" fmla="*/ 104299 w 104298"/>
                  <a:gd name="connsiteY2" fmla="*/ 43720 h 61055"/>
                  <a:gd name="connsiteX3" fmla="*/ 96679 w 104298"/>
                  <a:gd name="connsiteY3" fmla="*/ 49721 h 61055"/>
                  <a:gd name="connsiteX4" fmla="*/ 86011 w 104298"/>
                  <a:gd name="connsiteY4" fmla="*/ 28575 h 61055"/>
                  <a:gd name="connsiteX5" fmla="*/ 59436 w 104298"/>
                  <a:gd name="connsiteY5" fmla="*/ 61055 h 61055"/>
                  <a:gd name="connsiteX6" fmla="*/ 0 w 104298"/>
                  <a:gd name="connsiteY6" fmla="*/ 61055 h 61055"/>
                  <a:gd name="connsiteX7" fmla="*/ 37148 w 104298"/>
                  <a:gd name="connsiteY7" fmla="*/ 40481 h 61055"/>
                  <a:gd name="connsiteX8" fmla="*/ 79248 w 104298"/>
                  <a:gd name="connsiteY8" fmla="*/ 0 h 61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4298" h="61055">
                    <a:moveTo>
                      <a:pt x="79248" y="0"/>
                    </a:moveTo>
                    <a:cubicBezTo>
                      <a:pt x="79248" y="0"/>
                      <a:pt x="93154" y="1238"/>
                      <a:pt x="95440" y="11811"/>
                    </a:cubicBezTo>
                    <a:cubicBezTo>
                      <a:pt x="97727" y="22384"/>
                      <a:pt x="104299" y="43720"/>
                      <a:pt x="104299" y="43720"/>
                    </a:cubicBezTo>
                    <a:lnTo>
                      <a:pt x="96679" y="49721"/>
                    </a:lnTo>
                    <a:lnTo>
                      <a:pt x="86011" y="28575"/>
                    </a:lnTo>
                    <a:cubicBezTo>
                      <a:pt x="86011" y="28575"/>
                      <a:pt x="63055" y="59531"/>
                      <a:pt x="59436" y="61055"/>
                    </a:cubicBezTo>
                    <a:lnTo>
                      <a:pt x="0" y="61055"/>
                    </a:lnTo>
                    <a:cubicBezTo>
                      <a:pt x="0" y="61055"/>
                      <a:pt x="0" y="41338"/>
                      <a:pt x="37148" y="40481"/>
                    </a:cubicBezTo>
                    <a:cubicBezTo>
                      <a:pt x="71533" y="39624"/>
                      <a:pt x="79248" y="0"/>
                      <a:pt x="79248" y="0"/>
                    </a:cubicBezTo>
                    <a:close/>
                  </a:path>
                </a:pathLst>
              </a:custGeom>
              <a:solidFill>
                <a:srgbClr val="13223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97" name="Forma Livre: Forma 96">
            <a:extLst>
              <a:ext uri="{FF2B5EF4-FFF2-40B4-BE49-F238E27FC236}">
                <a16:creationId xmlns:a16="http://schemas.microsoft.com/office/drawing/2014/main" id="{AC04704C-2179-441B-8BD6-1D0C43463A22}"/>
              </a:ext>
            </a:extLst>
          </p:cNvPr>
          <p:cNvSpPr/>
          <p:nvPr/>
        </p:nvSpPr>
        <p:spPr>
          <a:xfrm>
            <a:off x="7203510" y="5075564"/>
            <a:ext cx="166330" cy="1039567"/>
          </a:xfrm>
          <a:custGeom>
            <a:avLst/>
            <a:gdLst>
              <a:gd name="connsiteX0" fmla="*/ 38100 w 38100"/>
              <a:gd name="connsiteY0" fmla="*/ 238125 h 238125"/>
              <a:gd name="connsiteX1" fmla="*/ 0 w 38100"/>
              <a:gd name="connsiteY1" fmla="*/ 180975 h 238125"/>
              <a:gd name="connsiteX2" fmla="*/ 0 w 38100"/>
              <a:gd name="connsiteY2" fmla="*/ 0 h 238125"/>
              <a:gd name="connsiteX3" fmla="*/ 38100 w 38100"/>
              <a:gd name="connsiteY3" fmla="*/ 57150 h 238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100" h="238125">
                <a:moveTo>
                  <a:pt x="38100" y="238125"/>
                </a:moveTo>
                <a:lnTo>
                  <a:pt x="0" y="180975"/>
                </a:lnTo>
                <a:lnTo>
                  <a:pt x="0" y="0"/>
                </a:lnTo>
                <a:lnTo>
                  <a:pt x="38100" y="57150"/>
                </a:lnTo>
                <a:close/>
              </a:path>
            </a:pathLst>
          </a:custGeom>
          <a:solidFill>
            <a:srgbClr val="E4E3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8" name="Retângulo: Cantos Arredondados 97">
            <a:extLst>
              <a:ext uri="{FF2B5EF4-FFF2-40B4-BE49-F238E27FC236}">
                <a16:creationId xmlns:a16="http://schemas.microsoft.com/office/drawing/2014/main" id="{10A049BE-06AE-4FD0-8179-B610F3A74B75}"/>
              </a:ext>
            </a:extLst>
          </p:cNvPr>
          <p:cNvSpPr/>
          <p:nvPr/>
        </p:nvSpPr>
        <p:spPr>
          <a:xfrm>
            <a:off x="7152420" y="967087"/>
            <a:ext cx="4655065" cy="1045028"/>
          </a:xfrm>
          <a:prstGeom prst="round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bg1">
                  <a:lumMod val="85000"/>
                </a:schemeClr>
              </a:gs>
            </a:gsLst>
            <a:lin ang="16800000" scaled="0"/>
            <a:tileRect/>
          </a:gradFill>
          <a:ln w="28575" cap="flat">
            <a:solidFill>
              <a:schemeClr val="bg1"/>
            </a:solidFill>
            <a:prstDash val="solid"/>
            <a:miter/>
          </a:ln>
          <a:effectLst>
            <a:outerShdw blurRad="101600" dist="127000" dir="2700000" algn="tl" rotWithShape="0">
              <a:prstClr val="black">
                <a:alpha val="2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9" name="Retângulo: Cantos Arredondados 98">
            <a:extLst>
              <a:ext uri="{FF2B5EF4-FFF2-40B4-BE49-F238E27FC236}">
                <a16:creationId xmlns:a16="http://schemas.microsoft.com/office/drawing/2014/main" id="{4499D85D-7F15-4D36-8037-1F4E20142F03}"/>
              </a:ext>
            </a:extLst>
          </p:cNvPr>
          <p:cNvSpPr/>
          <p:nvPr/>
        </p:nvSpPr>
        <p:spPr>
          <a:xfrm>
            <a:off x="7152420" y="2293531"/>
            <a:ext cx="4655065" cy="1045028"/>
          </a:xfrm>
          <a:prstGeom prst="round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bg1">
                  <a:lumMod val="85000"/>
                </a:schemeClr>
              </a:gs>
            </a:gsLst>
            <a:lin ang="4200000" scaled="0"/>
            <a:tileRect/>
          </a:gradFill>
          <a:ln w="28575" cap="flat">
            <a:solidFill>
              <a:schemeClr val="bg1"/>
            </a:solidFill>
            <a:prstDash val="solid"/>
            <a:miter/>
          </a:ln>
          <a:effectLst>
            <a:outerShdw blurRad="101600" dist="127000" dir="2700000" algn="tl" rotWithShape="0">
              <a:prstClr val="black">
                <a:alpha val="2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1" name="Retângulo: Cantos Arredondados 100">
            <a:extLst>
              <a:ext uri="{FF2B5EF4-FFF2-40B4-BE49-F238E27FC236}">
                <a16:creationId xmlns:a16="http://schemas.microsoft.com/office/drawing/2014/main" id="{10219E4D-F3F3-41B4-BB03-8E886A299D8B}"/>
              </a:ext>
            </a:extLst>
          </p:cNvPr>
          <p:cNvSpPr/>
          <p:nvPr/>
        </p:nvSpPr>
        <p:spPr>
          <a:xfrm>
            <a:off x="7146861" y="3634043"/>
            <a:ext cx="4660624" cy="1045028"/>
          </a:xfrm>
          <a:prstGeom prst="round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bg1">
                  <a:lumMod val="85000"/>
                </a:schemeClr>
              </a:gs>
            </a:gsLst>
            <a:lin ang="4200000" scaled="0"/>
            <a:tileRect/>
          </a:gradFill>
          <a:ln w="28575" cap="flat">
            <a:solidFill>
              <a:schemeClr val="bg1"/>
            </a:solidFill>
            <a:prstDash val="solid"/>
            <a:miter/>
          </a:ln>
          <a:effectLst>
            <a:outerShdw blurRad="101600" dist="127000" dir="2700000" algn="tl" rotWithShape="0">
              <a:prstClr val="black">
                <a:alpha val="2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2" name="Retângulo: Cantos Arredondados 101">
            <a:extLst>
              <a:ext uri="{FF2B5EF4-FFF2-40B4-BE49-F238E27FC236}">
                <a16:creationId xmlns:a16="http://schemas.microsoft.com/office/drawing/2014/main" id="{BD5D6938-5BCA-4904-92BB-E8BAB159D78E}"/>
              </a:ext>
            </a:extLst>
          </p:cNvPr>
          <p:cNvSpPr/>
          <p:nvPr/>
        </p:nvSpPr>
        <p:spPr>
          <a:xfrm>
            <a:off x="7146861" y="4960488"/>
            <a:ext cx="4660624" cy="1045028"/>
          </a:xfrm>
          <a:prstGeom prst="round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bg1">
                  <a:lumMod val="85000"/>
                </a:schemeClr>
              </a:gs>
            </a:gsLst>
            <a:lin ang="4200000" scaled="0"/>
            <a:tileRect/>
          </a:gradFill>
          <a:ln w="28575" cap="flat">
            <a:solidFill>
              <a:schemeClr val="bg1"/>
            </a:solidFill>
            <a:prstDash val="solid"/>
            <a:miter/>
          </a:ln>
          <a:effectLst>
            <a:outerShdw blurRad="101600" dist="127000" dir="2700000" algn="tl" rotWithShape="0">
              <a:prstClr val="black">
                <a:alpha val="2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3" name="CaixaDeTexto 102">
            <a:extLst>
              <a:ext uri="{FF2B5EF4-FFF2-40B4-BE49-F238E27FC236}">
                <a16:creationId xmlns:a16="http://schemas.microsoft.com/office/drawing/2014/main" id="{7F77F34B-98DA-4BC6-8AA7-D4FAC09780CA}"/>
              </a:ext>
            </a:extLst>
          </p:cNvPr>
          <p:cNvSpPr txBox="1"/>
          <p:nvPr/>
        </p:nvSpPr>
        <p:spPr>
          <a:xfrm>
            <a:off x="7980440" y="1265988"/>
            <a:ext cx="3726629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Itau Display XBold" panose="020B0803020204020204" pitchFamily="34" charset="0"/>
                <a:ea typeface="+mn-ea"/>
                <a:cs typeface="Itau Display XBold" panose="020B0803020204020204" pitchFamily="34" charset="0"/>
              </a:rPr>
              <a:t>Captura de conteúdos via App na jornada de Crédito imobiliário</a:t>
            </a: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Itau Display" panose="020B0503020204020204" pitchFamily="34" charset="0"/>
              <a:ea typeface="+mn-ea"/>
              <a:cs typeface="Itau Display" panose="020B0503020204020204" pitchFamily="34" charset="0"/>
            </a:endParaRPr>
          </a:p>
        </p:txBody>
      </p:sp>
      <p:grpSp>
        <p:nvGrpSpPr>
          <p:cNvPr id="2" name="Agrupar 1">
            <a:extLst>
              <a:ext uri="{FF2B5EF4-FFF2-40B4-BE49-F238E27FC236}">
                <a16:creationId xmlns:a16="http://schemas.microsoft.com/office/drawing/2014/main" id="{390EE4A0-41DF-4C97-A0BF-33EEA0BAB513}"/>
              </a:ext>
            </a:extLst>
          </p:cNvPr>
          <p:cNvGrpSpPr/>
          <p:nvPr/>
        </p:nvGrpSpPr>
        <p:grpSpPr>
          <a:xfrm>
            <a:off x="6821851" y="948892"/>
            <a:ext cx="1142934" cy="1093083"/>
            <a:chOff x="5509276" y="1349951"/>
            <a:chExt cx="815254" cy="779695"/>
          </a:xfrm>
        </p:grpSpPr>
        <p:sp>
          <p:nvSpPr>
            <p:cNvPr id="180" name="Forma Livre: Forma 179">
              <a:extLst>
                <a:ext uri="{FF2B5EF4-FFF2-40B4-BE49-F238E27FC236}">
                  <a16:creationId xmlns:a16="http://schemas.microsoft.com/office/drawing/2014/main" id="{C90B634D-B6A8-45AC-B1EF-5F8DDFA3F312}"/>
                </a:ext>
              </a:extLst>
            </p:cNvPr>
            <p:cNvSpPr/>
            <p:nvPr/>
          </p:nvSpPr>
          <p:spPr>
            <a:xfrm>
              <a:off x="5509276" y="1351043"/>
              <a:ext cx="778602" cy="778603"/>
            </a:xfrm>
            <a:custGeom>
              <a:avLst/>
              <a:gdLst>
                <a:gd name="connsiteX0" fmla="*/ 1797574 w 1797573"/>
                <a:gd name="connsiteY0" fmla="*/ 898787 h 1797573"/>
                <a:gd name="connsiteX1" fmla="*/ 898787 w 1797573"/>
                <a:gd name="connsiteY1" fmla="*/ 1797573 h 1797573"/>
                <a:gd name="connsiteX2" fmla="*/ 0 w 1797573"/>
                <a:gd name="connsiteY2" fmla="*/ 898787 h 1797573"/>
                <a:gd name="connsiteX3" fmla="*/ 898787 w 1797573"/>
                <a:gd name="connsiteY3" fmla="*/ 0 h 1797573"/>
                <a:gd name="connsiteX4" fmla="*/ 1797574 w 1797573"/>
                <a:gd name="connsiteY4" fmla="*/ 898787 h 1797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7573" h="1797573">
                  <a:moveTo>
                    <a:pt x="1797574" y="898787"/>
                  </a:moveTo>
                  <a:cubicBezTo>
                    <a:pt x="1797574" y="1395173"/>
                    <a:pt x="1395173" y="1797573"/>
                    <a:pt x="898787" y="1797573"/>
                  </a:cubicBezTo>
                  <a:cubicBezTo>
                    <a:pt x="402401" y="1797573"/>
                    <a:pt x="0" y="1395173"/>
                    <a:pt x="0" y="898787"/>
                  </a:cubicBezTo>
                  <a:cubicBezTo>
                    <a:pt x="0" y="402400"/>
                    <a:pt x="402401" y="0"/>
                    <a:pt x="898787" y="0"/>
                  </a:cubicBezTo>
                  <a:cubicBezTo>
                    <a:pt x="1395173" y="0"/>
                    <a:pt x="1797574" y="402400"/>
                    <a:pt x="1797574" y="898787"/>
                  </a:cubicBezTo>
                  <a:close/>
                </a:path>
              </a:pathLst>
            </a:custGeom>
            <a:solidFill>
              <a:srgbClr val="FFC000"/>
            </a:solidFill>
            <a:ln w="2540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1" name="Forma Livre: Forma 180">
              <a:extLst>
                <a:ext uri="{FF2B5EF4-FFF2-40B4-BE49-F238E27FC236}">
                  <a16:creationId xmlns:a16="http://schemas.microsoft.com/office/drawing/2014/main" id="{6809C5FE-5720-45F7-AD45-40E13B6C56C4}"/>
                </a:ext>
              </a:extLst>
            </p:cNvPr>
            <p:cNvSpPr/>
            <p:nvPr/>
          </p:nvSpPr>
          <p:spPr>
            <a:xfrm flipH="1">
              <a:off x="5901730" y="1349951"/>
              <a:ext cx="389301" cy="778603"/>
            </a:xfrm>
            <a:custGeom>
              <a:avLst/>
              <a:gdLst>
                <a:gd name="connsiteX0" fmla="*/ 0 w 898786"/>
                <a:gd name="connsiteY0" fmla="*/ 898787 h 1797573"/>
                <a:gd name="connsiteX1" fmla="*/ 898787 w 898786"/>
                <a:gd name="connsiteY1" fmla="*/ 1797573 h 1797573"/>
                <a:gd name="connsiteX2" fmla="*/ 898787 w 898786"/>
                <a:gd name="connsiteY2" fmla="*/ 0 h 1797573"/>
                <a:gd name="connsiteX3" fmla="*/ 0 w 898786"/>
                <a:gd name="connsiteY3" fmla="*/ 898787 h 1797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8786" h="1797573">
                  <a:moveTo>
                    <a:pt x="0" y="898787"/>
                  </a:moveTo>
                  <a:cubicBezTo>
                    <a:pt x="0" y="1395141"/>
                    <a:pt x="402433" y="1797573"/>
                    <a:pt x="898787" y="1797573"/>
                  </a:cubicBezTo>
                  <a:lnTo>
                    <a:pt x="898787" y="0"/>
                  </a:lnTo>
                  <a:cubicBezTo>
                    <a:pt x="402433" y="0"/>
                    <a:pt x="0" y="402433"/>
                    <a:pt x="0" y="898787"/>
                  </a:cubicBezTo>
                  <a:close/>
                </a:path>
              </a:pathLst>
            </a:custGeom>
            <a:gradFill flip="none" rotWithShape="1">
              <a:gsLst>
                <a:gs pos="100000">
                  <a:srgbClr val="F69E00"/>
                </a:gs>
                <a:gs pos="0">
                  <a:srgbClr val="FEB200"/>
                </a:gs>
              </a:gsLst>
              <a:lin ang="1800000" scaled="0"/>
              <a:tileRect/>
            </a:gradFill>
            <a:ln w="2540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2" name="CaixaDeTexto 181">
              <a:extLst>
                <a:ext uri="{FF2B5EF4-FFF2-40B4-BE49-F238E27FC236}">
                  <a16:creationId xmlns:a16="http://schemas.microsoft.com/office/drawing/2014/main" id="{AFE66061-BFBD-46C4-9006-48422FF2FDCA}"/>
                </a:ext>
              </a:extLst>
            </p:cNvPr>
            <p:cNvSpPr txBox="1"/>
            <p:nvPr/>
          </p:nvSpPr>
          <p:spPr>
            <a:xfrm>
              <a:off x="5898577" y="1575692"/>
              <a:ext cx="425953" cy="3293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Display Heavy" panose="020B0803020204020204" pitchFamily="34" charset="0"/>
                  <a:ea typeface="+mn-ea"/>
                  <a:cs typeface="Itau Display Heavy" panose="020B0803020204020204" pitchFamily="34" charset="0"/>
                </a:rPr>
                <a:t>01</a:t>
              </a:r>
            </a:p>
          </p:txBody>
        </p:sp>
      </p:grpSp>
      <p:sp>
        <p:nvSpPr>
          <p:cNvPr id="184" name="Forma Livre: Forma 183">
            <a:extLst>
              <a:ext uri="{FF2B5EF4-FFF2-40B4-BE49-F238E27FC236}">
                <a16:creationId xmlns:a16="http://schemas.microsoft.com/office/drawing/2014/main" id="{21CA7379-488C-41EF-8C2F-6A716EEAB3C9}"/>
              </a:ext>
            </a:extLst>
          </p:cNvPr>
          <p:cNvSpPr/>
          <p:nvPr/>
        </p:nvSpPr>
        <p:spPr>
          <a:xfrm>
            <a:off x="6825590" y="2283883"/>
            <a:ext cx="1091550" cy="1091552"/>
          </a:xfrm>
          <a:custGeom>
            <a:avLst/>
            <a:gdLst>
              <a:gd name="connsiteX0" fmla="*/ 1797574 w 1797573"/>
              <a:gd name="connsiteY0" fmla="*/ 898787 h 1797573"/>
              <a:gd name="connsiteX1" fmla="*/ 898787 w 1797573"/>
              <a:gd name="connsiteY1" fmla="*/ 1797573 h 1797573"/>
              <a:gd name="connsiteX2" fmla="*/ 0 w 1797573"/>
              <a:gd name="connsiteY2" fmla="*/ 898787 h 1797573"/>
              <a:gd name="connsiteX3" fmla="*/ 898787 w 1797573"/>
              <a:gd name="connsiteY3" fmla="*/ 0 h 1797573"/>
              <a:gd name="connsiteX4" fmla="*/ 1797574 w 1797573"/>
              <a:gd name="connsiteY4" fmla="*/ 898787 h 1797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97573" h="1797573">
                <a:moveTo>
                  <a:pt x="1797574" y="898787"/>
                </a:moveTo>
                <a:cubicBezTo>
                  <a:pt x="1797574" y="1395173"/>
                  <a:pt x="1395173" y="1797573"/>
                  <a:pt x="898787" y="1797573"/>
                </a:cubicBezTo>
                <a:cubicBezTo>
                  <a:pt x="402401" y="1797573"/>
                  <a:pt x="0" y="1395173"/>
                  <a:pt x="0" y="898787"/>
                </a:cubicBezTo>
                <a:cubicBezTo>
                  <a:pt x="0" y="402400"/>
                  <a:pt x="402401" y="0"/>
                  <a:pt x="898787" y="0"/>
                </a:cubicBezTo>
                <a:cubicBezTo>
                  <a:pt x="1395173" y="0"/>
                  <a:pt x="1797574" y="402400"/>
                  <a:pt x="1797574" y="898787"/>
                </a:cubicBezTo>
                <a:close/>
              </a:path>
            </a:pathLst>
          </a:custGeom>
          <a:gradFill flip="none" rotWithShape="1">
            <a:gsLst>
              <a:gs pos="100000">
                <a:srgbClr val="FF5900"/>
              </a:gs>
              <a:gs pos="0">
                <a:srgbClr val="FD9D00"/>
              </a:gs>
            </a:gsLst>
            <a:lin ang="1800000" scaled="0"/>
            <a:tileRect/>
          </a:gradFill>
          <a:ln w="25400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5" name="Forma Livre: Forma 184">
            <a:extLst>
              <a:ext uri="{FF2B5EF4-FFF2-40B4-BE49-F238E27FC236}">
                <a16:creationId xmlns:a16="http://schemas.microsoft.com/office/drawing/2014/main" id="{BFBCE9D5-6A69-4C0C-A37E-A30ADE972654}"/>
              </a:ext>
            </a:extLst>
          </p:cNvPr>
          <p:cNvSpPr/>
          <p:nvPr/>
        </p:nvSpPr>
        <p:spPr>
          <a:xfrm flipH="1">
            <a:off x="7375785" y="2282352"/>
            <a:ext cx="545775" cy="1091552"/>
          </a:xfrm>
          <a:custGeom>
            <a:avLst/>
            <a:gdLst>
              <a:gd name="connsiteX0" fmla="*/ 0 w 898786"/>
              <a:gd name="connsiteY0" fmla="*/ 898787 h 1797573"/>
              <a:gd name="connsiteX1" fmla="*/ 898787 w 898786"/>
              <a:gd name="connsiteY1" fmla="*/ 1797573 h 1797573"/>
              <a:gd name="connsiteX2" fmla="*/ 898787 w 898786"/>
              <a:gd name="connsiteY2" fmla="*/ 0 h 1797573"/>
              <a:gd name="connsiteX3" fmla="*/ 0 w 898786"/>
              <a:gd name="connsiteY3" fmla="*/ 898787 h 1797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8786" h="1797573">
                <a:moveTo>
                  <a:pt x="0" y="898787"/>
                </a:moveTo>
                <a:cubicBezTo>
                  <a:pt x="0" y="1395141"/>
                  <a:pt x="402433" y="1797573"/>
                  <a:pt x="898787" y="1797573"/>
                </a:cubicBezTo>
                <a:lnTo>
                  <a:pt x="898787" y="0"/>
                </a:lnTo>
                <a:cubicBezTo>
                  <a:pt x="402433" y="0"/>
                  <a:pt x="0" y="402433"/>
                  <a:pt x="0" y="898787"/>
                </a:cubicBezTo>
                <a:close/>
              </a:path>
            </a:pathLst>
          </a:custGeom>
          <a:gradFill flip="none" rotWithShape="1">
            <a:gsLst>
              <a:gs pos="100000">
                <a:srgbClr val="FF5900"/>
              </a:gs>
              <a:gs pos="0">
                <a:srgbClr val="FD9D00"/>
              </a:gs>
            </a:gsLst>
            <a:lin ang="1800000" scaled="0"/>
            <a:tileRect/>
          </a:gradFill>
          <a:ln w="25400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6" name="CaixaDeTexto 185">
            <a:extLst>
              <a:ext uri="{FF2B5EF4-FFF2-40B4-BE49-F238E27FC236}">
                <a16:creationId xmlns:a16="http://schemas.microsoft.com/office/drawing/2014/main" id="{6EAEDDAD-2B58-4956-9895-8E311E6D6DA5}"/>
              </a:ext>
            </a:extLst>
          </p:cNvPr>
          <p:cNvSpPr txBox="1"/>
          <p:nvPr/>
        </p:nvSpPr>
        <p:spPr>
          <a:xfrm>
            <a:off x="7371365" y="2598827"/>
            <a:ext cx="5971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  <a:cs typeface="Itau Display Heavy" panose="020B0803020204020204" pitchFamily="34" charset="0"/>
              </a:rPr>
              <a:t>02</a:t>
            </a:r>
          </a:p>
        </p:txBody>
      </p:sp>
      <p:sp>
        <p:nvSpPr>
          <p:cNvPr id="236" name="Forma Livre: Forma 235">
            <a:extLst>
              <a:ext uri="{FF2B5EF4-FFF2-40B4-BE49-F238E27FC236}">
                <a16:creationId xmlns:a16="http://schemas.microsoft.com/office/drawing/2014/main" id="{5CF42EC0-5FEF-4ECA-9593-88CB2D46B39A}"/>
              </a:ext>
            </a:extLst>
          </p:cNvPr>
          <p:cNvSpPr/>
          <p:nvPr/>
        </p:nvSpPr>
        <p:spPr>
          <a:xfrm>
            <a:off x="6816279" y="3619975"/>
            <a:ext cx="1091550" cy="1091552"/>
          </a:xfrm>
          <a:custGeom>
            <a:avLst/>
            <a:gdLst>
              <a:gd name="connsiteX0" fmla="*/ 1797574 w 1797573"/>
              <a:gd name="connsiteY0" fmla="*/ 898787 h 1797573"/>
              <a:gd name="connsiteX1" fmla="*/ 898787 w 1797573"/>
              <a:gd name="connsiteY1" fmla="*/ 1797573 h 1797573"/>
              <a:gd name="connsiteX2" fmla="*/ 0 w 1797573"/>
              <a:gd name="connsiteY2" fmla="*/ 898787 h 1797573"/>
              <a:gd name="connsiteX3" fmla="*/ 898787 w 1797573"/>
              <a:gd name="connsiteY3" fmla="*/ 0 h 1797573"/>
              <a:gd name="connsiteX4" fmla="*/ 1797574 w 1797573"/>
              <a:gd name="connsiteY4" fmla="*/ 898787 h 1797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97573" h="1797573">
                <a:moveTo>
                  <a:pt x="1797574" y="898787"/>
                </a:moveTo>
                <a:cubicBezTo>
                  <a:pt x="1797574" y="1395173"/>
                  <a:pt x="1395173" y="1797573"/>
                  <a:pt x="898787" y="1797573"/>
                </a:cubicBezTo>
                <a:cubicBezTo>
                  <a:pt x="402401" y="1797573"/>
                  <a:pt x="0" y="1395173"/>
                  <a:pt x="0" y="898787"/>
                </a:cubicBezTo>
                <a:cubicBezTo>
                  <a:pt x="0" y="402400"/>
                  <a:pt x="402401" y="0"/>
                  <a:pt x="898787" y="0"/>
                </a:cubicBezTo>
                <a:cubicBezTo>
                  <a:pt x="1395173" y="0"/>
                  <a:pt x="1797574" y="402400"/>
                  <a:pt x="1797574" y="898787"/>
                </a:cubicBezTo>
                <a:close/>
              </a:path>
            </a:pathLst>
          </a:custGeom>
          <a:solidFill>
            <a:srgbClr val="024584"/>
          </a:solidFill>
          <a:ln w="25400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7" name="Forma Livre: Forma 236">
            <a:extLst>
              <a:ext uri="{FF2B5EF4-FFF2-40B4-BE49-F238E27FC236}">
                <a16:creationId xmlns:a16="http://schemas.microsoft.com/office/drawing/2014/main" id="{6EB782EF-CF8C-4228-A164-ECD2BF502594}"/>
              </a:ext>
            </a:extLst>
          </p:cNvPr>
          <p:cNvSpPr/>
          <p:nvPr/>
        </p:nvSpPr>
        <p:spPr>
          <a:xfrm flipH="1">
            <a:off x="7366474" y="3618444"/>
            <a:ext cx="545775" cy="1091552"/>
          </a:xfrm>
          <a:custGeom>
            <a:avLst/>
            <a:gdLst>
              <a:gd name="connsiteX0" fmla="*/ 0 w 898786"/>
              <a:gd name="connsiteY0" fmla="*/ 898787 h 1797573"/>
              <a:gd name="connsiteX1" fmla="*/ 898787 w 898786"/>
              <a:gd name="connsiteY1" fmla="*/ 1797573 h 1797573"/>
              <a:gd name="connsiteX2" fmla="*/ 898787 w 898786"/>
              <a:gd name="connsiteY2" fmla="*/ 0 h 1797573"/>
              <a:gd name="connsiteX3" fmla="*/ 0 w 898786"/>
              <a:gd name="connsiteY3" fmla="*/ 898787 h 1797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8786" h="1797573">
                <a:moveTo>
                  <a:pt x="0" y="898787"/>
                </a:moveTo>
                <a:cubicBezTo>
                  <a:pt x="0" y="1395141"/>
                  <a:pt x="402433" y="1797573"/>
                  <a:pt x="898787" y="1797573"/>
                </a:cubicBezTo>
                <a:lnTo>
                  <a:pt x="898787" y="0"/>
                </a:lnTo>
                <a:cubicBezTo>
                  <a:pt x="402433" y="0"/>
                  <a:pt x="0" y="402433"/>
                  <a:pt x="0" y="898787"/>
                </a:cubicBezTo>
                <a:close/>
              </a:path>
            </a:pathLst>
          </a:custGeom>
          <a:gradFill flip="none" rotWithShape="1">
            <a:gsLst>
              <a:gs pos="100000">
                <a:srgbClr val="011843"/>
              </a:gs>
              <a:gs pos="0">
                <a:srgbClr val="024C8E"/>
              </a:gs>
            </a:gsLst>
            <a:lin ang="4200000" scaled="0"/>
            <a:tileRect/>
          </a:gradFill>
          <a:ln w="25400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8" name="CaixaDeTexto 237">
            <a:extLst>
              <a:ext uri="{FF2B5EF4-FFF2-40B4-BE49-F238E27FC236}">
                <a16:creationId xmlns:a16="http://schemas.microsoft.com/office/drawing/2014/main" id="{105AA94F-D50E-4A80-BFA6-13490A6ABE05}"/>
              </a:ext>
            </a:extLst>
          </p:cNvPr>
          <p:cNvSpPr txBox="1"/>
          <p:nvPr/>
        </p:nvSpPr>
        <p:spPr>
          <a:xfrm>
            <a:off x="7362054" y="3934919"/>
            <a:ext cx="5971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  <a:cs typeface="Itau Display Heavy" panose="020B0803020204020204" pitchFamily="34" charset="0"/>
              </a:rPr>
              <a:t>03</a:t>
            </a:r>
          </a:p>
        </p:txBody>
      </p:sp>
      <p:sp>
        <p:nvSpPr>
          <p:cNvPr id="239" name="Forma Livre: Forma 238">
            <a:extLst>
              <a:ext uri="{FF2B5EF4-FFF2-40B4-BE49-F238E27FC236}">
                <a16:creationId xmlns:a16="http://schemas.microsoft.com/office/drawing/2014/main" id="{A088E073-964C-4340-A762-FED1CFFE5670}"/>
              </a:ext>
            </a:extLst>
          </p:cNvPr>
          <p:cNvSpPr/>
          <p:nvPr/>
        </p:nvSpPr>
        <p:spPr>
          <a:xfrm>
            <a:off x="6819455" y="4949316"/>
            <a:ext cx="1091550" cy="1091552"/>
          </a:xfrm>
          <a:custGeom>
            <a:avLst/>
            <a:gdLst>
              <a:gd name="connsiteX0" fmla="*/ 1797574 w 1797573"/>
              <a:gd name="connsiteY0" fmla="*/ 898787 h 1797573"/>
              <a:gd name="connsiteX1" fmla="*/ 898787 w 1797573"/>
              <a:gd name="connsiteY1" fmla="*/ 1797573 h 1797573"/>
              <a:gd name="connsiteX2" fmla="*/ 0 w 1797573"/>
              <a:gd name="connsiteY2" fmla="*/ 898787 h 1797573"/>
              <a:gd name="connsiteX3" fmla="*/ 898787 w 1797573"/>
              <a:gd name="connsiteY3" fmla="*/ 0 h 1797573"/>
              <a:gd name="connsiteX4" fmla="*/ 1797574 w 1797573"/>
              <a:gd name="connsiteY4" fmla="*/ 898787 h 1797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97573" h="1797573">
                <a:moveTo>
                  <a:pt x="1797574" y="898787"/>
                </a:moveTo>
                <a:cubicBezTo>
                  <a:pt x="1797574" y="1395173"/>
                  <a:pt x="1395173" y="1797573"/>
                  <a:pt x="898787" y="1797573"/>
                </a:cubicBezTo>
                <a:cubicBezTo>
                  <a:pt x="402401" y="1797573"/>
                  <a:pt x="0" y="1395173"/>
                  <a:pt x="0" y="898787"/>
                </a:cubicBezTo>
                <a:cubicBezTo>
                  <a:pt x="0" y="402400"/>
                  <a:pt x="402401" y="0"/>
                  <a:pt x="898787" y="0"/>
                </a:cubicBezTo>
                <a:cubicBezTo>
                  <a:pt x="1395173" y="0"/>
                  <a:pt x="1797574" y="402400"/>
                  <a:pt x="1797574" y="898787"/>
                </a:cubicBezTo>
                <a:close/>
              </a:path>
            </a:pathLst>
          </a:custGeom>
          <a:solidFill>
            <a:srgbClr val="429C8A"/>
          </a:solidFill>
          <a:ln w="25400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0" name="Forma Livre: Forma 239">
            <a:extLst>
              <a:ext uri="{FF2B5EF4-FFF2-40B4-BE49-F238E27FC236}">
                <a16:creationId xmlns:a16="http://schemas.microsoft.com/office/drawing/2014/main" id="{A81F40F3-C6D0-4501-B0DF-6D2B4342A2F6}"/>
              </a:ext>
            </a:extLst>
          </p:cNvPr>
          <p:cNvSpPr/>
          <p:nvPr/>
        </p:nvSpPr>
        <p:spPr>
          <a:xfrm flipH="1">
            <a:off x="7367265" y="4966415"/>
            <a:ext cx="545775" cy="1091552"/>
          </a:xfrm>
          <a:custGeom>
            <a:avLst/>
            <a:gdLst>
              <a:gd name="connsiteX0" fmla="*/ 0 w 898786"/>
              <a:gd name="connsiteY0" fmla="*/ 898787 h 1797573"/>
              <a:gd name="connsiteX1" fmla="*/ 898787 w 898786"/>
              <a:gd name="connsiteY1" fmla="*/ 1797573 h 1797573"/>
              <a:gd name="connsiteX2" fmla="*/ 898787 w 898786"/>
              <a:gd name="connsiteY2" fmla="*/ 0 h 1797573"/>
              <a:gd name="connsiteX3" fmla="*/ 0 w 898786"/>
              <a:gd name="connsiteY3" fmla="*/ 898787 h 1797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8786" h="1797573">
                <a:moveTo>
                  <a:pt x="0" y="898787"/>
                </a:moveTo>
                <a:cubicBezTo>
                  <a:pt x="0" y="1395141"/>
                  <a:pt x="402433" y="1797573"/>
                  <a:pt x="898787" y="1797573"/>
                </a:cubicBezTo>
                <a:lnTo>
                  <a:pt x="898787" y="0"/>
                </a:lnTo>
                <a:cubicBezTo>
                  <a:pt x="402433" y="0"/>
                  <a:pt x="0" y="402433"/>
                  <a:pt x="0" y="898787"/>
                </a:cubicBezTo>
                <a:close/>
              </a:path>
            </a:pathLst>
          </a:custGeom>
          <a:gradFill flip="none" rotWithShape="1">
            <a:gsLst>
              <a:gs pos="96000">
                <a:srgbClr val="04686D"/>
              </a:gs>
              <a:gs pos="0">
                <a:srgbClr val="73C6A1"/>
              </a:gs>
            </a:gsLst>
            <a:lin ang="1800000" scaled="0"/>
            <a:tileRect/>
          </a:gradFill>
          <a:ln>
            <a:noFill/>
          </a:ln>
          <a:effectLst>
            <a:innerShdw blurRad="127000" dist="114300" dir="13500000">
              <a:prstClr val="black">
                <a:alpha val="18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1" name="CaixaDeTexto 240">
            <a:extLst>
              <a:ext uri="{FF2B5EF4-FFF2-40B4-BE49-F238E27FC236}">
                <a16:creationId xmlns:a16="http://schemas.microsoft.com/office/drawing/2014/main" id="{CC5CB755-8CFA-42E3-974A-2A0455D9C5DD}"/>
              </a:ext>
            </a:extLst>
          </p:cNvPr>
          <p:cNvSpPr txBox="1"/>
          <p:nvPr/>
        </p:nvSpPr>
        <p:spPr>
          <a:xfrm>
            <a:off x="7362845" y="5266848"/>
            <a:ext cx="5971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  <a:cs typeface="Itau Display Heavy" panose="020B0803020204020204" pitchFamily="34" charset="0"/>
              </a:rPr>
              <a:t>04</a:t>
            </a:r>
          </a:p>
        </p:txBody>
      </p:sp>
      <p:sp>
        <p:nvSpPr>
          <p:cNvPr id="63" name="CaixaDeTexto 62">
            <a:extLst>
              <a:ext uri="{FF2B5EF4-FFF2-40B4-BE49-F238E27FC236}">
                <a16:creationId xmlns:a16="http://schemas.microsoft.com/office/drawing/2014/main" id="{0395C606-BE5E-496F-8981-9D605B65E389}"/>
              </a:ext>
            </a:extLst>
          </p:cNvPr>
          <p:cNvSpPr txBox="1"/>
          <p:nvPr/>
        </p:nvSpPr>
        <p:spPr>
          <a:xfrm>
            <a:off x="7990461" y="2519076"/>
            <a:ext cx="3726629" cy="6740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Itau Display XBold" panose="020B0803020204020204" pitchFamily="34" charset="0"/>
                <a:ea typeface="+mn-ea"/>
                <a:cs typeface="Itau Display XBold" panose="020B0803020204020204" pitchFamily="34" charset="0"/>
              </a:rPr>
              <a:t>Canal de atendimento digital via </a:t>
            </a:r>
            <a:r>
              <a:rPr kumimoji="0" lang="pt-BR" sz="1400" b="0" i="0" u="none" strike="noStrike" kern="1200" cap="none" spc="0" normalizeH="0" baseline="0" noProof="0" err="1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Itau Display XBold" panose="020B0803020204020204" pitchFamily="34" charset="0"/>
                <a:ea typeface="+mn-ea"/>
                <a:cs typeface="Itau Display XBold" panose="020B0803020204020204" pitchFamily="34" charset="0"/>
              </a:rPr>
              <a:t>Whatsapp</a:t>
            </a:r>
            <a:endParaRPr kumimoji="0" lang="pt-BR" sz="1400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Itau Display XBold" panose="020B0803020204020204" pitchFamily="34" charset="0"/>
              <a:ea typeface="+mn-ea"/>
              <a:cs typeface="Itau Display XBold" panose="020B0803020204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(Estruturantes, Cartões, </a:t>
            </a:r>
            <a:r>
              <a:rPr kumimoji="0" lang="pt-BR" sz="1400" b="0" i="0" u="none" strike="noStrike" kern="1200" cap="none" spc="0" normalizeH="0" baseline="0" noProof="0" err="1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Imob</a:t>
            </a: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, </a:t>
            </a:r>
            <a:r>
              <a:rPr kumimoji="0" lang="pt-BR" sz="1400" b="0" i="0" u="none" strike="noStrike" kern="1200" cap="none" spc="0" normalizeH="0" baseline="0" noProof="0" err="1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Veic</a:t>
            </a: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, Seguros, Consórcio, </a:t>
            </a:r>
            <a:r>
              <a:rPr kumimoji="0" lang="pt-BR" sz="1400" b="0" i="0" u="none" strike="noStrike" kern="1200" cap="none" spc="0" normalizeH="0" baseline="0" noProof="0" err="1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Reneg</a:t>
            </a: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)</a:t>
            </a: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Itau Display" panose="020B0503020204020204" pitchFamily="34" charset="0"/>
              <a:ea typeface="+mn-ea"/>
              <a:cs typeface="Itau Display" panose="020B0503020204020204" pitchFamily="34" charset="0"/>
            </a:endParaRPr>
          </a:p>
        </p:txBody>
      </p:sp>
      <p:sp>
        <p:nvSpPr>
          <p:cNvPr id="64" name="CaixaDeTexto 63">
            <a:extLst>
              <a:ext uri="{FF2B5EF4-FFF2-40B4-BE49-F238E27FC236}">
                <a16:creationId xmlns:a16="http://schemas.microsoft.com/office/drawing/2014/main" id="{08AABA32-7712-4810-9EDE-3ACC5C166F41}"/>
              </a:ext>
            </a:extLst>
          </p:cNvPr>
          <p:cNvSpPr txBox="1"/>
          <p:nvPr/>
        </p:nvSpPr>
        <p:spPr>
          <a:xfrm>
            <a:off x="7980439" y="4004149"/>
            <a:ext cx="3726629" cy="2862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Itau Display XBold" panose="020B0803020204020204" pitchFamily="34" charset="0"/>
                <a:ea typeface="+mn-ea"/>
                <a:cs typeface="Itau Display XBold" panose="020B0803020204020204" pitchFamily="34" charset="0"/>
              </a:rPr>
              <a:t>Chat de seguros e capitalização via App</a:t>
            </a: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Itau Display" panose="020B0503020204020204" pitchFamily="34" charset="0"/>
              <a:ea typeface="+mn-ea"/>
              <a:cs typeface="Itau Display" panose="020B0503020204020204" pitchFamily="34" charset="0"/>
            </a:endParaRPr>
          </a:p>
        </p:txBody>
      </p:sp>
      <p:sp>
        <p:nvSpPr>
          <p:cNvPr id="65" name="CaixaDeTexto 64">
            <a:extLst>
              <a:ext uri="{FF2B5EF4-FFF2-40B4-BE49-F238E27FC236}">
                <a16:creationId xmlns:a16="http://schemas.microsoft.com/office/drawing/2014/main" id="{D6B9A12C-A59C-4B98-B33C-81BA289DBE10}"/>
              </a:ext>
            </a:extLst>
          </p:cNvPr>
          <p:cNvSpPr txBox="1"/>
          <p:nvPr/>
        </p:nvSpPr>
        <p:spPr>
          <a:xfrm>
            <a:off x="8034801" y="5324589"/>
            <a:ext cx="3726629" cy="2862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Itau Display XBold" panose="020B0803020204020204" pitchFamily="34" charset="0"/>
                <a:ea typeface="+mn-ea"/>
                <a:cs typeface="Itau Display XBold" panose="020B0803020204020204" pitchFamily="34" charset="0"/>
              </a:rPr>
              <a:t>Pasta de documentos no </a:t>
            </a:r>
            <a:r>
              <a:rPr kumimoji="0" lang="pt-BR" sz="1400" b="0" i="0" u="none" strike="noStrike" kern="1200" cap="none" spc="0" normalizeH="0" baseline="0" noProof="0" err="1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Itau Display XBold" panose="020B0803020204020204" pitchFamily="34" charset="0"/>
                <a:ea typeface="+mn-ea"/>
                <a:cs typeface="Itau Display XBold" panose="020B0803020204020204" pitchFamily="34" charset="0"/>
              </a:rPr>
              <a:t>Bankline</a:t>
            </a: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Itau Display XBold" panose="020B0803020204020204" pitchFamily="34" charset="0"/>
                <a:ea typeface="+mn-ea"/>
                <a:cs typeface="Itau Display XBold" panose="020B0803020204020204" pitchFamily="34" charset="0"/>
              </a:rPr>
              <a:t> PF e PJ</a:t>
            </a: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Itau Display" panose="020B0503020204020204" pitchFamily="34" charset="0"/>
              <a:ea typeface="+mn-ea"/>
              <a:cs typeface="Itau Display" panose="020B0503020204020204" pitchFamily="34" charset="0"/>
            </a:endParaRPr>
          </a:p>
        </p:txBody>
      </p:sp>
      <p:grpSp>
        <p:nvGrpSpPr>
          <p:cNvPr id="174" name="Agrupar 173">
            <a:extLst>
              <a:ext uri="{FF2B5EF4-FFF2-40B4-BE49-F238E27FC236}">
                <a16:creationId xmlns:a16="http://schemas.microsoft.com/office/drawing/2014/main" id="{805F32FD-105A-2995-1929-E905FC99FA3A}"/>
              </a:ext>
            </a:extLst>
          </p:cNvPr>
          <p:cNvGrpSpPr>
            <a:grpSpLocks noChangeAspect="1"/>
          </p:cNvGrpSpPr>
          <p:nvPr/>
        </p:nvGrpSpPr>
        <p:grpSpPr>
          <a:xfrm>
            <a:off x="6969440" y="3962489"/>
            <a:ext cx="337129" cy="360000"/>
            <a:chOff x="3688212" y="1993221"/>
            <a:chExt cx="402376" cy="429673"/>
          </a:xfrm>
        </p:grpSpPr>
        <p:sp>
          <p:nvSpPr>
            <p:cNvPr id="175" name="Forma Livre: Forma 174">
              <a:extLst>
                <a:ext uri="{FF2B5EF4-FFF2-40B4-BE49-F238E27FC236}">
                  <a16:creationId xmlns:a16="http://schemas.microsoft.com/office/drawing/2014/main" id="{DEDB0DA6-A914-7EC8-3ADF-88D894C69E8D}"/>
                </a:ext>
              </a:extLst>
            </p:cNvPr>
            <p:cNvSpPr/>
            <p:nvPr/>
          </p:nvSpPr>
          <p:spPr>
            <a:xfrm>
              <a:off x="3688212" y="2060944"/>
              <a:ext cx="257175" cy="361950"/>
            </a:xfrm>
            <a:custGeom>
              <a:avLst/>
              <a:gdLst>
                <a:gd name="connsiteX0" fmla="*/ 236070 w 257175"/>
                <a:gd name="connsiteY0" fmla="*/ 188976 h 361950"/>
                <a:gd name="connsiteX1" fmla="*/ 261406 w 257175"/>
                <a:gd name="connsiteY1" fmla="*/ 308038 h 361950"/>
                <a:gd name="connsiteX2" fmla="*/ 246738 w 257175"/>
                <a:gd name="connsiteY2" fmla="*/ 330613 h 361950"/>
                <a:gd name="connsiteX3" fmla="*/ 88337 w 257175"/>
                <a:gd name="connsiteY3" fmla="*/ 364236 h 361950"/>
                <a:gd name="connsiteX4" fmla="*/ 65763 w 257175"/>
                <a:gd name="connsiteY4" fmla="*/ 349567 h 361950"/>
                <a:gd name="connsiteX5" fmla="*/ 421 w 257175"/>
                <a:gd name="connsiteY5" fmla="*/ 42100 h 361950"/>
                <a:gd name="connsiteX6" fmla="*/ 15090 w 257175"/>
                <a:gd name="connsiteY6" fmla="*/ 19526 h 361950"/>
                <a:gd name="connsiteX7" fmla="*/ 106911 w 257175"/>
                <a:gd name="connsiteY7" fmla="*/ 0 h 361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7175" h="361950">
                  <a:moveTo>
                    <a:pt x="236070" y="188976"/>
                  </a:moveTo>
                  <a:lnTo>
                    <a:pt x="261406" y="308038"/>
                  </a:lnTo>
                  <a:cubicBezTo>
                    <a:pt x="263597" y="318325"/>
                    <a:pt x="257025" y="328422"/>
                    <a:pt x="246738" y="330613"/>
                  </a:cubicBezTo>
                  <a:lnTo>
                    <a:pt x="88337" y="364236"/>
                  </a:lnTo>
                  <a:cubicBezTo>
                    <a:pt x="78050" y="366427"/>
                    <a:pt x="67953" y="359855"/>
                    <a:pt x="65763" y="349567"/>
                  </a:cubicBezTo>
                  <a:lnTo>
                    <a:pt x="421" y="42100"/>
                  </a:lnTo>
                  <a:cubicBezTo>
                    <a:pt x="-1770" y="31813"/>
                    <a:pt x="4803" y="21717"/>
                    <a:pt x="15090" y="19526"/>
                  </a:cubicBezTo>
                  <a:lnTo>
                    <a:pt x="106911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6" name="Forma Livre: Forma 175">
              <a:extLst>
                <a:ext uri="{FF2B5EF4-FFF2-40B4-BE49-F238E27FC236}">
                  <a16:creationId xmlns:a16="http://schemas.microsoft.com/office/drawing/2014/main" id="{D13F4406-0420-4BB5-BD85-C6B9CBB7509A}"/>
                </a:ext>
              </a:extLst>
            </p:cNvPr>
            <p:cNvSpPr/>
            <p:nvPr/>
          </p:nvSpPr>
          <p:spPr>
            <a:xfrm>
              <a:off x="3746069" y="2331740"/>
              <a:ext cx="190500" cy="38100"/>
            </a:xfrm>
            <a:custGeom>
              <a:avLst/>
              <a:gdLst>
                <a:gd name="connsiteX0" fmla="*/ 0 w 190500"/>
                <a:gd name="connsiteY0" fmla="*/ 41624 h 38100"/>
                <a:gd name="connsiteX1" fmla="*/ 195643 w 190500"/>
                <a:gd name="connsiteY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0500" h="38100">
                  <a:moveTo>
                    <a:pt x="0" y="41624"/>
                  </a:moveTo>
                  <a:lnTo>
                    <a:pt x="195643" y="0"/>
                  </a:lnTo>
                </a:path>
              </a:pathLst>
            </a:custGeom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7" name="Forma Livre: Forma 176">
              <a:extLst>
                <a:ext uri="{FF2B5EF4-FFF2-40B4-BE49-F238E27FC236}">
                  <a16:creationId xmlns:a16="http://schemas.microsoft.com/office/drawing/2014/main" id="{8CE21734-BAC5-7D97-C63A-6E1E354F7BA7}"/>
                </a:ext>
              </a:extLst>
            </p:cNvPr>
            <p:cNvSpPr/>
            <p:nvPr/>
          </p:nvSpPr>
          <p:spPr>
            <a:xfrm>
              <a:off x="3835794" y="2377555"/>
              <a:ext cx="19050" cy="9525"/>
            </a:xfrm>
            <a:custGeom>
              <a:avLst/>
              <a:gdLst>
                <a:gd name="connsiteX0" fmla="*/ 0 w 19050"/>
                <a:gd name="connsiteY0" fmla="*/ 5906 h 0"/>
                <a:gd name="connsiteX1" fmla="*/ 28004 w 1905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050">
                  <a:moveTo>
                    <a:pt x="0" y="5906"/>
                  </a:moveTo>
                  <a:lnTo>
                    <a:pt x="28004" y="0"/>
                  </a:lnTo>
                </a:path>
              </a:pathLst>
            </a:custGeom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8" name="Forma Livre: Forma 177">
              <a:extLst>
                <a:ext uri="{FF2B5EF4-FFF2-40B4-BE49-F238E27FC236}">
                  <a16:creationId xmlns:a16="http://schemas.microsoft.com/office/drawing/2014/main" id="{6B249143-BE75-4BEC-E9CB-D852F8226CE6}"/>
                </a:ext>
              </a:extLst>
            </p:cNvPr>
            <p:cNvSpPr/>
            <p:nvPr/>
          </p:nvSpPr>
          <p:spPr>
            <a:xfrm>
              <a:off x="3814363" y="1993221"/>
              <a:ext cx="276225" cy="266700"/>
            </a:xfrm>
            <a:custGeom>
              <a:avLst/>
              <a:gdLst>
                <a:gd name="connsiteX0" fmla="*/ 142875 w 276225"/>
                <a:gd name="connsiteY0" fmla="*/ 0 h 266700"/>
                <a:gd name="connsiteX1" fmla="*/ 0 w 276225"/>
                <a:gd name="connsiteY1" fmla="*/ 114300 h 266700"/>
                <a:gd name="connsiteX2" fmla="*/ 37719 w 276225"/>
                <a:gd name="connsiteY2" fmla="*/ 191452 h 266700"/>
                <a:gd name="connsiteX3" fmla="*/ 26098 w 276225"/>
                <a:gd name="connsiteY3" fmla="*/ 263747 h 266700"/>
                <a:gd name="connsiteX4" fmla="*/ 37910 w 276225"/>
                <a:gd name="connsiteY4" fmla="*/ 274796 h 266700"/>
                <a:gd name="connsiteX5" fmla="*/ 106204 w 276225"/>
                <a:gd name="connsiteY5" fmla="*/ 224695 h 266700"/>
                <a:gd name="connsiteX6" fmla="*/ 142780 w 276225"/>
                <a:gd name="connsiteY6" fmla="*/ 228600 h 266700"/>
                <a:gd name="connsiteX7" fmla="*/ 285655 w 276225"/>
                <a:gd name="connsiteY7" fmla="*/ 114300 h 266700"/>
                <a:gd name="connsiteX8" fmla="*/ 142875 w 276225"/>
                <a:gd name="connsiteY8" fmla="*/ 0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6225" h="266700">
                  <a:moveTo>
                    <a:pt x="142875" y="0"/>
                  </a:moveTo>
                  <a:cubicBezTo>
                    <a:pt x="64008" y="0"/>
                    <a:pt x="0" y="51149"/>
                    <a:pt x="0" y="114300"/>
                  </a:cubicBezTo>
                  <a:cubicBezTo>
                    <a:pt x="0" y="144113"/>
                    <a:pt x="14383" y="171164"/>
                    <a:pt x="37719" y="191452"/>
                  </a:cubicBezTo>
                  <a:cubicBezTo>
                    <a:pt x="36386" y="212788"/>
                    <a:pt x="31528" y="245745"/>
                    <a:pt x="26098" y="263747"/>
                  </a:cubicBezTo>
                  <a:cubicBezTo>
                    <a:pt x="23336" y="272796"/>
                    <a:pt x="30194" y="279178"/>
                    <a:pt x="37910" y="274796"/>
                  </a:cubicBezTo>
                  <a:cubicBezTo>
                    <a:pt x="56007" y="264319"/>
                    <a:pt x="85630" y="241744"/>
                    <a:pt x="106204" y="224695"/>
                  </a:cubicBezTo>
                  <a:cubicBezTo>
                    <a:pt x="117920" y="227171"/>
                    <a:pt x="130112" y="228600"/>
                    <a:pt x="142780" y="228600"/>
                  </a:cubicBezTo>
                  <a:cubicBezTo>
                    <a:pt x="221647" y="228600"/>
                    <a:pt x="285655" y="177451"/>
                    <a:pt x="285655" y="114300"/>
                  </a:cubicBezTo>
                  <a:cubicBezTo>
                    <a:pt x="285655" y="51149"/>
                    <a:pt x="221742" y="0"/>
                    <a:pt x="142875" y="0"/>
                  </a:cubicBez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79" name="Agrupar 178">
            <a:extLst>
              <a:ext uri="{FF2B5EF4-FFF2-40B4-BE49-F238E27FC236}">
                <a16:creationId xmlns:a16="http://schemas.microsoft.com/office/drawing/2014/main" id="{7F449265-C8BC-687C-5B6D-5F585048D995}"/>
              </a:ext>
            </a:extLst>
          </p:cNvPr>
          <p:cNvGrpSpPr>
            <a:grpSpLocks noChangeAspect="1"/>
          </p:cNvGrpSpPr>
          <p:nvPr/>
        </p:nvGrpSpPr>
        <p:grpSpPr>
          <a:xfrm>
            <a:off x="6945007" y="1329794"/>
            <a:ext cx="360000" cy="360000"/>
            <a:chOff x="2838272" y="5961559"/>
            <a:chExt cx="438150" cy="438150"/>
          </a:xfrm>
        </p:grpSpPr>
        <p:sp>
          <p:nvSpPr>
            <p:cNvPr id="183" name="Forma Livre: Forma 182">
              <a:extLst>
                <a:ext uri="{FF2B5EF4-FFF2-40B4-BE49-F238E27FC236}">
                  <a16:creationId xmlns:a16="http://schemas.microsoft.com/office/drawing/2014/main" id="{38C09B71-0AC0-8406-3EC6-9684451C8DFD}"/>
                </a:ext>
              </a:extLst>
            </p:cNvPr>
            <p:cNvSpPr/>
            <p:nvPr/>
          </p:nvSpPr>
          <p:spPr>
            <a:xfrm>
              <a:off x="2981147" y="6152059"/>
              <a:ext cx="152400" cy="247650"/>
            </a:xfrm>
            <a:custGeom>
              <a:avLst/>
              <a:gdLst>
                <a:gd name="connsiteX0" fmla="*/ 57150 w 152400"/>
                <a:gd name="connsiteY0" fmla="*/ 0 h 247650"/>
                <a:gd name="connsiteX1" fmla="*/ 19050 w 152400"/>
                <a:gd name="connsiteY1" fmla="*/ 0 h 247650"/>
                <a:gd name="connsiteX2" fmla="*/ 0 w 152400"/>
                <a:gd name="connsiteY2" fmla="*/ 19050 h 247650"/>
                <a:gd name="connsiteX3" fmla="*/ 0 w 152400"/>
                <a:gd name="connsiteY3" fmla="*/ 228600 h 247650"/>
                <a:gd name="connsiteX4" fmla="*/ 19050 w 152400"/>
                <a:gd name="connsiteY4" fmla="*/ 247650 h 247650"/>
                <a:gd name="connsiteX5" fmla="*/ 133350 w 152400"/>
                <a:gd name="connsiteY5" fmla="*/ 247650 h 247650"/>
                <a:gd name="connsiteX6" fmla="*/ 152400 w 152400"/>
                <a:gd name="connsiteY6" fmla="*/ 228600 h 247650"/>
                <a:gd name="connsiteX7" fmla="*/ 152400 w 152400"/>
                <a:gd name="connsiteY7" fmla="*/ 19050 h 247650"/>
                <a:gd name="connsiteX8" fmla="*/ 133350 w 152400"/>
                <a:gd name="connsiteY8" fmla="*/ 0 h 247650"/>
                <a:gd name="connsiteX9" fmla="*/ 95250 w 152400"/>
                <a:gd name="connsiteY9" fmla="*/ 0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2400" h="247650">
                  <a:moveTo>
                    <a:pt x="57150" y="0"/>
                  </a:moveTo>
                  <a:lnTo>
                    <a:pt x="19050" y="0"/>
                  </a:lnTo>
                  <a:cubicBezTo>
                    <a:pt x="8572" y="0"/>
                    <a:pt x="0" y="8572"/>
                    <a:pt x="0" y="19050"/>
                  </a:cubicBezTo>
                  <a:lnTo>
                    <a:pt x="0" y="228600"/>
                  </a:lnTo>
                  <a:cubicBezTo>
                    <a:pt x="0" y="239077"/>
                    <a:pt x="8572" y="247650"/>
                    <a:pt x="19050" y="247650"/>
                  </a:cubicBezTo>
                  <a:lnTo>
                    <a:pt x="133350" y="247650"/>
                  </a:lnTo>
                  <a:cubicBezTo>
                    <a:pt x="143828" y="247650"/>
                    <a:pt x="152400" y="239077"/>
                    <a:pt x="152400" y="228600"/>
                  </a:cubicBezTo>
                  <a:lnTo>
                    <a:pt x="152400" y="19050"/>
                  </a:lnTo>
                  <a:cubicBezTo>
                    <a:pt x="152400" y="8572"/>
                    <a:pt x="143828" y="0"/>
                    <a:pt x="133350" y="0"/>
                  </a:cubicBezTo>
                  <a:lnTo>
                    <a:pt x="95250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7" name="Forma Livre: Forma 186">
              <a:extLst>
                <a:ext uri="{FF2B5EF4-FFF2-40B4-BE49-F238E27FC236}">
                  <a16:creationId xmlns:a16="http://schemas.microsoft.com/office/drawing/2014/main" id="{A429C33A-54EE-70B9-6CDA-303D902ADECA}"/>
                </a:ext>
              </a:extLst>
            </p:cNvPr>
            <p:cNvSpPr/>
            <p:nvPr/>
          </p:nvSpPr>
          <p:spPr>
            <a:xfrm>
              <a:off x="3047822" y="6371134"/>
              <a:ext cx="19050" cy="9525"/>
            </a:xfrm>
            <a:custGeom>
              <a:avLst/>
              <a:gdLst>
                <a:gd name="connsiteX0" fmla="*/ 0 w 19050"/>
                <a:gd name="connsiteY0" fmla="*/ 0 h 0"/>
                <a:gd name="connsiteX1" fmla="*/ 19050 w 1905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050">
                  <a:moveTo>
                    <a:pt x="0" y="0"/>
                  </a:moveTo>
                  <a:lnTo>
                    <a:pt x="19050" y="0"/>
                  </a:lnTo>
                </a:path>
              </a:pathLst>
            </a:custGeom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9" name="Forma Livre: Forma 188">
              <a:extLst>
                <a:ext uri="{FF2B5EF4-FFF2-40B4-BE49-F238E27FC236}">
                  <a16:creationId xmlns:a16="http://schemas.microsoft.com/office/drawing/2014/main" id="{6F5751E7-255A-EF4B-DA49-70E0E52E09DB}"/>
                </a:ext>
              </a:extLst>
            </p:cNvPr>
            <p:cNvSpPr/>
            <p:nvPr/>
          </p:nvSpPr>
          <p:spPr>
            <a:xfrm>
              <a:off x="2838272" y="5961559"/>
              <a:ext cx="438150" cy="257175"/>
            </a:xfrm>
            <a:custGeom>
              <a:avLst/>
              <a:gdLst>
                <a:gd name="connsiteX0" fmla="*/ 323850 w 438150"/>
                <a:gd name="connsiteY0" fmla="*/ 257175 h 257175"/>
                <a:gd name="connsiteX1" fmla="*/ 361950 w 438150"/>
                <a:gd name="connsiteY1" fmla="*/ 257175 h 257175"/>
                <a:gd name="connsiteX2" fmla="*/ 371475 w 438150"/>
                <a:gd name="connsiteY2" fmla="*/ 257175 h 257175"/>
                <a:gd name="connsiteX3" fmla="*/ 438150 w 438150"/>
                <a:gd name="connsiteY3" fmla="*/ 190500 h 257175"/>
                <a:gd name="connsiteX4" fmla="*/ 371475 w 438150"/>
                <a:gd name="connsiteY4" fmla="*/ 123825 h 257175"/>
                <a:gd name="connsiteX5" fmla="*/ 351187 w 438150"/>
                <a:gd name="connsiteY5" fmla="*/ 126968 h 257175"/>
                <a:gd name="connsiteX6" fmla="*/ 352425 w 438150"/>
                <a:gd name="connsiteY6" fmla="*/ 114300 h 257175"/>
                <a:gd name="connsiteX7" fmla="*/ 285750 w 438150"/>
                <a:gd name="connsiteY7" fmla="*/ 47625 h 257175"/>
                <a:gd name="connsiteX8" fmla="*/ 242221 w 438150"/>
                <a:gd name="connsiteY8" fmla="*/ 63913 h 257175"/>
                <a:gd name="connsiteX9" fmla="*/ 152305 w 438150"/>
                <a:gd name="connsiteY9" fmla="*/ 0 h 257175"/>
                <a:gd name="connsiteX10" fmla="*/ 57055 w 438150"/>
                <a:gd name="connsiteY10" fmla="*/ 95250 h 257175"/>
                <a:gd name="connsiteX11" fmla="*/ 61532 w 438150"/>
                <a:gd name="connsiteY11" fmla="*/ 124016 h 257175"/>
                <a:gd name="connsiteX12" fmla="*/ 0 w 438150"/>
                <a:gd name="connsiteY12" fmla="*/ 190500 h 257175"/>
                <a:gd name="connsiteX13" fmla="*/ 66675 w 438150"/>
                <a:gd name="connsiteY13" fmla="*/ 257175 h 257175"/>
                <a:gd name="connsiteX14" fmla="*/ 114300 w 438150"/>
                <a:gd name="connsiteY14" fmla="*/ 257175 h 257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8150" h="257175">
                  <a:moveTo>
                    <a:pt x="323850" y="257175"/>
                  </a:moveTo>
                  <a:lnTo>
                    <a:pt x="361950" y="257175"/>
                  </a:lnTo>
                  <a:lnTo>
                    <a:pt x="371475" y="257175"/>
                  </a:lnTo>
                  <a:cubicBezTo>
                    <a:pt x="408337" y="257175"/>
                    <a:pt x="438150" y="227362"/>
                    <a:pt x="438150" y="190500"/>
                  </a:cubicBezTo>
                  <a:cubicBezTo>
                    <a:pt x="438150" y="153638"/>
                    <a:pt x="408337" y="123825"/>
                    <a:pt x="371475" y="123825"/>
                  </a:cubicBezTo>
                  <a:cubicBezTo>
                    <a:pt x="364426" y="123825"/>
                    <a:pt x="357568" y="124968"/>
                    <a:pt x="351187" y="126968"/>
                  </a:cubicBezTo>
                  <a:cubicBezTo>
                    <a:pt x="351949" y="122873"/>
                    <a:pt x="352425" y="118682"/>
                    <a:pt x="352425" y="114300"/>
                  </a:cubicBezTo>
                  <a:cubicBezTo>
                    <a:pt x="352425" y="77438"/>
                    <a:pt x="322612" y="47625"/>
                    <a:pt x="285750" y="47625"/>
                  </a:cubicBezTo>
                  <a:cubicBezTo>
                    <a:pt x="269081" y="47625"/>
                    <a:pt x="253937" y="53816"/>
                    <a:pt x="242221" y="63913"/>
                  </a:cubicBezTo>
                  <a:cubicBezTo>
                    <a:pt x="229171" y="26670"/>
                    <a:pt x="193929" y="0"/>
                    <a:pt x="152305" y="0"/>
                  </a:cubicBezTo>
                  <a:cubicBezTo>
                    <a:pt x="99727" y="0"/>
                    <a:pt x="57055" y="42672"/>
                    <a:pt x="57055" y="95250"/>
                  </a:cubicBezTo>
                  <a:cubicBezTo>
                    <a:pt x="57055" y="105251"/>
                    <a:pt x="58674" y="114967"/>
                    <a:pt x="61532" y="124016"/>
                  </a:cubicBezTo>
                  <a:cubicBezTo>
                    <a:pt x="27146" y="126683"/>
                    <a:pt x="0" y="155448"/>
                    <a:pt x="0" y="190500"/>
                  </a:cubicBezTo>
                  <a:cubicBezTo>
                    <a:pt x="0" y="227362"/>
                    <a:pt x="29813" y="257175"/>
                    <a:pt x="66675" y="257175"/>
                  </a:cubicBezTo>
                  <a:lnTo>
                    <a:pt x="114300" y="257175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0" name="Forma Livre: Forma 189">
              <a:extLst>
                <a:ext uri="{FF2B5EF4-FFF2-40B4-BE49-F238E27FC236}">
                  <a16:creationId xmlns:a16="http://schemas.microsoft.com/office/drawing/2014/main" id="{2BA52C32-497C-0B58-A645-847B4F7C27A4}"/>
                </a:ext>
              </a:extLst>
            </p:cNvPr>
            <p:cNvSpPr/>
            <p:nvPr/>
          </p:nvSpPr>
          <p:spPr>
            <a:xfrm>
              <a:off x="3080683" y="6025376"/>
              <a:ext cx="9525" cy="19050"/>
            </a:xfrm>
            <a:custGeom>
              <a:avLst/>
              <a:gdLst>
                <a:gd name="connsiteX0" fmla="*/ 0 w 0"/>
                <a:gd name="connsiteY0" fmla="*/ 0 h 19050"/>
                <a:gd name="connsiteX1" fmla="*/ 4858 w 0"/>
                <a:gd name="connsiteY1" fmla="*/ 21908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9050">
                  <a:moveTo>
                    <a:pt x="0" y="0"/>
                  </a:moveTo>
                  <a:cubicBezTo>
                    <a:pt x="2477" y="6953"/>
                    <a:pt x="4096" y="14288"/>
                    <a:pt x="4858" y="21908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1" name="Forma Livre: Forma 190">
              <a:extLst>
                <a:ext uri="{FF2B5EF4-FFF2-40B4-BE49-F238E27FC236}">
                  <a16:creationId xmlns:a16="http://schemas.microsoft.com/office/drawing/2014/main" id="{EC331571-12FA-9378-86A2-9076F6889EC9}"/>
                </a:ext>
              </a:extLst>
            </p:cNvPr>
            <p:cNvSpPr/>
            <p:nvPr/>
          </p:nvSpPr>
          <p:spPr>
            <a:xfrm>
              <a:off x="3181172" y="6088527"/>
              <a:ext cx="9525" cy="19050"/>
            </a:xfrm>
            <a:custGeom>
              <a:avLst/>
              <a:gdLst>
                <a:gd name="connsiteX0" fmla="*/ 8287 w 0"/>
                <a:gd name="connsiteY0" fmla="*/ 0 h 19050"/>
                <a:gd name="connsiteX1" fmla="*/ 0 w 0"/>
                <a:gd name="connsiteY1" fmla="*/ 21622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9050">
                  <a:moveTo>
                    <a:pt x="8287" y="0"/>
                  </a:moveTo>
                  <a:cubicBezTo>
                    <a:pt x="6763" y="7810"/>
                    <a:pt x="3905" y="15145"/>
                    <a:pt x="0" y="21622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2" name="Forma Livre: Forma 191">
              <a:extLst>
                <a:ext uri="{FF2B5EF4-FFF2-40B4-BE49-F238E27FC236}">
                  <a16:creationId xmlns:a16="http://schemas.microsoft.com/office/drawing/2014/main" id="{DCE26804-8C38-7000-081E-4BD5B6271FBA}"/>
                </a:ext>
              </a:extLst>
            </p:cNvPr>
            <p:cNvSpPr/>
            <p:nvPr/>
          </p:nvSpPr>
          <p:spPr>
            <a:xfrm>
              <a:off x="2899804" y="6085368"/>
              <a:ext cx="19050" cy="9525"/>
            </a:xfrm>
            <a:custGeom>
              <a:avLst/>
              <a:gdLst>
                <a:gd name="connsiteX0" fmla="*/ 0 w 19050"/>
                <a:gd name="connsiteY0" fmla="*/ 207 h 0"/>
                <a:gd name="connsiteX1" fmla="*/ 24765 w 19050"/>
                <a:gd name="connsiteY1" fmla="*/ 296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050">
                  <a:moveTo>
                    <a:pt x="0" y="207"/>
                  </a:moveTo>
                  <a:cubicBezTo>
                    <a:pt x="8287" y="-460"/>
                    <a:pt x="16669" y="492"/>
                    <a:pt x="24765" y="2969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3" name="Forma Livre: Forma 192">
              <a:extLst>
                <a:ext uri="{FF2B5EF4-FFF2-40B4-BE49-F238E27FC236}">
                  <a16:creationId xmlns:a16="http://schemas.microsoft.com/office/drawing/2014/main" id="{CDA1163E-A842-B1B2-3325-CDF688796B4D}"/>
                </a:ext>
              </a:extLst>
            </p:cNvPr>
            <p:cNvSpPr/>
            <p:nvPr/>
          </p:nvSpPr>
          <p:spPr>
            <a:xfrm>
              <a:off x="3057347" y="6085384"/>
              <a:ext cx="9525" cy="180975"/>
            </a:xfrm>
            <a:custGeom>
              <a:avLst/>
              <a:gdLst>
                <a:gd name="connsiteX0" fmla="*/ 0 w 0"/>
                <a:gd name="connsiteY0" fmla="*/ 0 h 180975"/>
                <a:gd name="connsiteX1" fmla="*/ 0 w 0"/>
                <a:gd name="connsiteY1" fmla="*/ 180975 h 18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80975">
                  <a:moveTo>
                    <a:pt x="0" y="0"/>
                  </a:moveTo>
                  <a:lnTo>
                    <a:pt x="0" y="180975"/>
                  </a:lnTo>
                </a:path>
              </a:pathLst>
            </a:custGeom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orma Livre: Forma 193">
              <a:extLst>
                <a:ext uri="{FF2B5EF4-FFF2-40B4-BE49-F238E27FC236}">
                  <a16:creationId xmlns:a16="http://schemas.microsoft.com/office/drawing/2014/main" id="{A4D90E5D-C511-912E-50EC-3D9FACAD1713}"/>
                </a:ext>
              </a:extLst>
            </p:cNvPr>
            <p:cNvSpPr/>
            <p:nvPr/>
          </p:nvSpPr>
          <p:spPr>
            <a:xfrm>
              <a:off x="3028772" y="6085384"/>
              <a:ext cx="57150" cy="28575"/>
            </a:xfrm>
            <a:custGeom>
              <a:avLst/>
              <a:gdLst>
                <a:gd name="connsiteX0" fmla="*/ 57150 w 57150"/>
                <a:gd name="connsiteY0" fmla="*/ 28575 h 28575"/>
                <a:gd name="connsiteX1" fmla="*/ 28575 w 57150"/>
                <a:gd name="connsiteY1" fmla="*/ 0 h 28575"/>
                <a:gd name="connsiteX2" fmla="*/ 0 w 57150"/>
                <a:gd name="connsiteY2" fmla="*/ 28575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150" h="28575">
                  <a:moveTo>
                    <a:pt x="57150" y="28575"/>
                  </a:moveTo>
                  <a:lnTo>
                    <a:pt x="28575" y="0"/>
                  </a:lnTo>
                  <a:lnTo>
                    <a:pt x="0" y="28575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5" name="Forma Livre: Forma 194">
              <a:extLst>
                <a:ext uri="{FF2B5EF4-FFF2-40B4-BE49-F238E27FC236}">
                  <a16:creationId xmlns:a16="http://schemas.microsoft.com/office/drawing/2014/main" id="{9C63B6C9-6484-6EF2-4801-8D660D44A181}"/>
                </a:ext>
              </a:extLst>
            </p:cNvPr>
            <p:cNvSpPr/>
            <p:nvPr/>
          </p:nvSpPr>
          <p:spPr>
            <a:xfrm>
              <a:off x="3028772" y="6237784"/>
              <a:ext cx="57150" cy="28575"/>
            </a:xfrm>
            <a:custGeom>
              <a:avLst/>
              <a:gdLst>
                <a:gd name="connsiteX0" fmla="*/ 57150 w 57150"/>
                <a:gd name="connsiteY0" fmla="*/ 0 h 28575"/>
                <a:gd name="connsiteX1" fmla="*/ 28575 w 57150"/>
                <a:gd name="connsiteY1" fmla="*/ 28575 h 28575"/>
                <a:gd name="connsiteX2" fmla="*/ 0 w 57150"/>
                <a:gd name="connsiteY2" fmla="*/ 0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150" h="28575">
                  <a:moveTo>
                    <a:pt x="57150" y="0"/>
                  </a:moveTo>
                  <a:lnTo>
                    <a:pt x="28575" y="28575"/>
                  </a:lnTo>
                  <a:lnTo>
                    <a:pt x="0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96" name="Agrupar 195">
            <a:extLst>
              <a:ext uri="{FF2B5EF4-FFF2-40B4-BE49-F238E27FC236}">
                <a16:creationId xmlns:a16="http://schemas.microsoft.com/office/drawing/2014/main" id="{DBA8927A-E743-EA5C-C62A-BEFA7EE65E78}"/>
              </a:ext>
            </a:extLst>
          </p:cNvPr>
          <p:cNvGrpSpPr>
            <a:grpSpLocks noChangeAspect="1"/>
          </p:cNvGrpSpPr>
          <p:nvPr/>
        </p:nvGrpSpPr>
        <p:grpSpPr>
          <a:xfrm>
            <a:off x="6934615" y="2612915"/>
            <a:ext cx="332912" cy="360000"/>
            <a:chOff x="13505631" y="1263332"/>
            <a:chExt cx="405182" cy="438150"/>
          </a:xfrm>
        </p:grpSpPr>
        <p:sp>
          <p:nvSpPr>
            <p:cNvPr id="197" name="Forma Livre: Forma 196">
              <a:extLst>
                <a:ext uri="{FF2B5EF4-FFF2-40B4-BE49-F238E27FC236}">
                  <a16:creationId xmlns:a16="http://schemas.microsoft.com/office/drawing/2014/main" id="{5D3AF672-068B-232D-6EA1-CDD78A71AA0B}"/>
                </a:ext>
              </a:extLst>
            </p:cNvPr>
            <p:cNvSpPr/>
            <p:nvPr/>
          </p:nvSpPr>
          <p:spPr>
            <a:xfrm>
              <a:off x="13848468" y="1329887"/>
              <a:ext cx="57150" cy="57150"/>
            </a:xfrm>
            <a:custGeom>
              <a:avLst/>
              <a:gdLst>
                <a:gd name="connsiteX0" fmla="*/ 9683 w 57150"/>
                <a:gd name="connsiteY0" fmla="*/ 53651 h 57150"/>
                <a:gd name="connsiteX1" fmla="*/ 8064 w 57150"/>
                <a:gd name="connsiteY1" fmla="*/ 51936 h 57150"/>
                <a:gd name="connsiteX2" fmla="*/ 2921 w 57150"/>
                <a:gd name="connsiteY2" fmla="*/ 26981 h 57150"/>
                <a:gd name="connsiteX3" fmla="*/ 25685 w 57150"/>
                <a:gd name="connsiteY3" fmla="*/ 5454 h 57150"/>
                <a:gd name="connsiteX4" fmla="*/ 55594 w 57150"/>
                <a:gd name="connsiteY4" fmla="*/ 6883 h 57150"/>
                <a:gd name="connsiteX5" fmla="*/ 57213 w 57150"/>
                <a:gd name="connsiteY5" fmla="*/ 8693 h 57150"/>
                <a:gd name="connsiteX6" fmla="*/ 57118 w 57150"/>
                <a:gd name="connsiteY6" fmla="*/ 38601 h 57150"/>
                <a:gd name="connsiteX7" fmla="*/ 34353 w 57150"/>
                <a:gd name="connsiteY7" fmla="*/ 60128 h 57150"/>
                <a:gd name="connsiteX8" fmla="*/ 9683 w 57150"/>
                <a:gd name="connsiteY8" fmla="*/ 53651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50" h="57150">
                  <a:moveTo>
                    <a:pt x="9683" y="53651"/>
                  </a:moveTo>
                  <a:lnTo>
                    <a:pt x="8064" y="51936"/>
                  </a:lnTo>
                  <a:cubicBezTo>
                    <a:pt x="-127" y="43269"/>
                    <a:pt x="-2509" y="32029"/>
                    <a:pt x="2921" y="26981"/>
                  </a:cubicBezTo>
                  <a:lnTo>
                    <a:pt x="25685" y="5454"/>
                  </a:lnTo>
                  <a:cubicBezTo>
                    <a:pt x="33972" y="-2356"/>
                    <a:pt x="47402" y="-1689"/>
                    <a:pt x="55594" y="6883"/>
                  </a:cubicBezTo>
                  <a:lnTo>
                    <a:pt x="57213" y="8693"/>
                  </a:lnTo>
                  <a:cubicBezTo>
                    <a:pt x="65405" y="17361"/>
                    <a:pt x="65405" y="30791"/>
                    <a:pt x="57118" y="38601"/>
                  </a:cubicBezTo>
                  <a:lnTo>
                    <a:pt x="34353" y="60128"/>
                  </a:lnTo>
                  <a:cubicBezTo>
                    <a:pt x="29019" y="65271"/>
                    <a:pt x="17875" y="62319"/>
                    <a:pt x="9683" y="53651"/>
                  </a:cubicBez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Forma Livre: Forma 197">
              <a:extLst>
                <a:ext uri="{FF2B5EF4-FFF2-40B4-BE49-F238E27FC236}">
                  <a16:creationId xmlns:a16="http://schemas.microsoft.com/office/drawing/2014/main" id="{CE4B7D9C-6812-577C-37A9-D7B61A588B9A}"/>
                </a:ext>
              </a:extLst>
            </p:cNvPr>
            <p:cNvSpPr/>
            <p:nvPr/>
          </p:nvSpPr>
          <p:spPr>
            <a:xfrm>
              <a:off x="13667556" y="1615757"/>
              <a:ext cx="142875" cy="85725"/>
            </a:xfrm>
            <a:custGeom>
              <a:avLst/>
              <a:gdLst>
                <a:gd name="connsiteX0" fmla="*/ 0 w 142875"/>
                <a:gd name="connsiteY0" fmla="*/ 85725 h 85725"/>
                <a:gd name="connsiteX1" fmla="*/ 28575 w 142875"/>
                <a:gd name="connsiteY1" fmla="*/ 57150 h 85725"/>
                <a:gd name="connsiteX2" fmla="*/ 142875 w 142875"/>
                <a:gd name="connsiteY2" fmla="*/ 0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2875" h="85725">
                  <a:moveTo>
                    <a:pt x="0" y="85725"/>
                  </a:moveTo>
                  <a:cubicBezTo>
                    <a:pt x="0" y="85725"/>
                    <a:pt x="18574" y="66675"/>
                    <a:pt x="28575" y="57150"/>
                  </a:cubicBezTo>
                  <a:cubicBezTo>
                    <a:pt x="106204" y="62865"/>
                    <a:pt x="135160" y="9049"/>
                    <a:pt x="142875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Forma Livre: Forma 198">
              <a:extLst>
                <a:ext uri="{FF2B5EF4-FFF2-40B4-BE49-F238E27FC236}">
                  <a16:creationId xmlns:a16="http://schemas.microsoft.com/office/drawing/2014/main" id="{CA0DA6BD-E32C-E8B8-E29A-4783916CC688}"/>
                </a:ext>
              </a:extLst>
            </p:cNvPr>
            <p:cNvSpPr/>
            <p:nvPr/>
          </p:nvSpPr>
          <p:spPr>
            <a:xfrm>
              <a:off x="13853663" y="1509506"/>
              <a:ext cx="57150" cy="57150"/>
            </a:xfrm>
            <a:custGeom>
              <a:avLst/>
              <a:gdLst>
                <a:gd name="connsiteX0" fmla="*/ 10489 w 57150"/>
                <a:gd name="connsiteY0" fmla="*/ 52339 h 57150"/>
                <a:gd name="connsiteX1" fmla="*/ 8870 w 57150"/>
                <a:gd name="connsiteY1" fmla="*/ 50910 h 57150"/>
                <a:gd name="connsiteX2" fmla="*/ 2107 w 57150"/>
                <a:gd name="connsiteY2" fmla="*/ 28527 h 57150"/>
                <a:gd name="connsiteX3" fmla="*/ 21253 w 57150"/>
                <a:gd name="connsiteY3" fmla="*/ 6524 h 57150"/>
                <a:gd name="connsiteX4" fmla="*/ 48780 w 57150"/>
                <a:gd name="connsiteY4" fmla="*/ 4905 h 57150"/>
                <a:gd name="connsiteX5" fmla="*/ 50399 w 57150"/>
                <a:gd name="connsiteY5" fmla="*/ 6333 h 57150"/>
                <a:gd name="connsiteX6" fmla="*/ 52780 w 57150"/>
                <a:gd name="connsiteY6" fmla="*/ 33765 h 57150"/>
                <a:gd name="connsiteX7" fmla="*/ 33635 w 57150"/>
                <a:gd name="connsiteY7" fmla="*/ 55768 h 57150"/>
                <a:gd name="connsiteX8" fmla="*/ 10489 w 57150"/>
                <a:gd name="connsiteY8" fmla="*/ 52339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50" h="57150">
                  <a:moveTo>
                    <a:pt x="10489" y="52339"/>
                  </a:moveTo>
                  <a:lnTo>
                    <a:pt x="8870" y="50910"/>
                  </a:lnTo>
                  <a:cubicBezTo>
                    <a:pt x="679" y="43767"/>
                    <a:pt x="-2465" y="33765"/>
                    <a:pt x="2107" y="28527"/>
                  </a:cubicBezTo>
                  <a:lnTo>
                    <a:pt x="21253" y="6524"/>
                  </a:lnTo>
                  <a:cubicBezTo>
                    <a:pt x="28111" y="-1477"/>
                    <a:pt x="40493" y="-2239"/>
                    <a:pt x="48780" y="4905"/>
                  </a:cubicBezTo>
                  <a:lnTo>
                    <a:pt x="50399" y="6333"/>
                  </a:lnTo>
                  <a:cubicBezTo>
                    <a:pt x="58591" y="13477"/>
                    <a:pt x="59734" y="25764"/>
                    <a:pt x="52780" y="33765"/>
                  </a:cubicBezTo>
                  <a:lnTo>
                    <a:pt x="33635" y="55768"/>
                  </a:lnTo>
                  <a:cubicBezTo>
                    <a:pt x="29063" y="61007"/>
                    <a:pt x="18681" y="59483"/>
                    <a:pt x="10489" y="52339"/>
                  </a:cubicBez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Forma Livre: Forma 199">
              <a:extLst>
                <a:ext uri="{FF2B5EF4-FFF2-40B4-BE49-F238E27FC236}">
                  <a16:creationId xmlns:a16="http://schemas.microsoft.com/office/drawing/2014/main" id="{B9524791-939D-2B40-A8BE-46D9BD1DA327}"/>
                </a:ext>
              </a:extLst>
            </p:cNvPr>
            <p:cNvSpPr/>
            <p:nvPr/>
          </p:nvSpPr>
          <p:spPr>
            <a:xfrm>
              <a:off x="13572306" y="1384927"/>
              <a:ext cx="104775" cy="247650"/>
            </a:xfrm>
            <a:custGeom>
              <a:avLst/>
              <a:gdLst>
                <a:gd name="connsiteX0" fmla="*/ 104775 w 104775"/>
                <a:gd name="connsiteY0" fmla="*/ 249880 h 247650"/>
                <a:gd name="connsiteX1" fmla="*/ 86487 w 104775"/>
                <a:gd name="connsiteY1" fmla="*/ 114149 h 247650"/>
                <a:gd name="connsiteX2" fmla="*/ 100203 w 104775"/>
                <a:gd name="connsiteY2" fmla="*/ 45950 h 247650"/>
                <a:gd name="connsiteX3" fmla="*/ 87916 w 104775"/>
                <a:gd name="connsiteY3" fmla="*/ 6421 h 247650"/>
                <a:gd name="connsiteX4" fmla="*/ 59531 w 104775"/>
                <a:gd name="connsiteY4" fmla="*/ 9946 h 247650"/>
                <a:gd name="connsiteX5" fmla="*/ 31433 w 104775"/>
                <a:gd name="connsiteY5" fmla="*/ 98338 h 247650"/>
                <a:gd name="connsiteX6" fmla="*/ 21431 w 104775"/>
                <a:gd name="connsiteY6" fmla="*/ 177109 h 247650"/>
                <a:gd name="connsiteX7" fmla="*/ 0 w 104775"/>
                <a:gd name="connsiteY7" fmla="*/ 211780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775" h="247650">
                  <a:moveTo>
                    <a:pt x="104775" y="249880"/>
                  </a:moveTo>
                  <a:cubicBezTo>
                    <a:pt x="125444" y="190825"/>
                    <a:pt x="105251" y="137771"/>
                    <a:pt x="86487" y="114149"/>
                  </a:cubicBezTo>
                  <a:cubicBezTo>
                    <a:pt x="94298" y="90527"/>
                    <a:pt x="97536" y="73668"/>
                    <a:pt x="100203" y="45950"/>
                  </a:cubicBezTo>
                  <a:cubicBezTo>
                    <a:pt x="101727" y="30043"/>
                    <a:pt x="94964" y="16327"/>
                    <a:pt x="87916" y="6421"/>
                  </a:cubicBezTo>
                  <a:cubicBezTo>
                    <a:pt x="80677" y="-3675"/>
                    <a:pt x="63056" y="-1389"/>
                    <a:pt x="59531" y="9946"/>
                  </a:cubicBezTo>
                  <a:cubicBezTo>
                    <a:pt x="43910" y="59761"/>
                    <a:pt x="41053" y="73382"/>
                    <a:pt x="31433" y="98338"/>
                  </a:cubicBezTo>
                  <a:cubicBezTo>
                    <a:pt x="20669" y="126341"/>
                    <a:pt x="26860" y="165584"/>
                    <a:pt x="21431" y="177109"/>
                  </a:cubicBezTo>
                  <a:cubicBezTo>
                    <a:pt x="20383" y="179395"/>
                    <a:pt x="0" y="211780"/>
                    <a:pt x="0" y="21178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Forma Livre: Forma 200">
              <a:extLst>
                <a:ext uri="{FF2B5EF4-FFF2-40B4-BE49-F238E27FC236}">
                  <a16:creationId xmlns:a16="http://schemas.microsoft.com/office/drawing/2014/main" id="{CDC5DC51-4772-2864-F1C9-967EC3E31088}"/>
                </a:ext>
              </a:extLst>
            </p:cNvPr>
            <p:cNvSpPr/>
            <p:nvPr/>
          </p:nvSpPr>
          <p:spPr>
            <a:xfrm>
              <a:off x="13853573" y="1448746"/>
              <a:ext cx="57150" cy="57150"/>
            </a:xfrm>
            <a:custGeom>
              <a:avLst/>
              <a:gdLst>
                <a:gd name="connsiteX0" fmla="*/ 10674 w 57150"/>
                <a:gd name="connsiteY0" fmla="*/ 53187 h 57150"/>
                <a:gd name="connsiteX1" fmla="*/ 9055 w 57150"/>
                <a:gd name="connsiteY1" fmla="*/ 51758 h 57150"/>
                <a:gd name="connsiteX2" fmla="*/ 2102 w 57150"/>
                <a:gd name="connsiteY2" fmla="*/ 28994 h 57150"/>
                <a:gd name="connsiteX3" fmla="*/ 21533 w 57150"/>
                <a:gd name="connsiteY3" fmla="*/ 6610 h 57150"/>
                <a:gd name="connsiteX4" fmla="*/ 49536 w 57150"/>
                <a:gd name="connsiteY4" fmla="*/ 4895 h 57150"/>
                <a:gd name="connsiteX5" fmla="*/ 51155 w 57150"/>
                <a:gd name="connsiteY5" fmla="*/ 6324 h 57150"/>
                <a:gd name="connsiteX6" fmla="*/ 53632 w 57150"/>
                <a:gd name="connsiteY6" fmla="*/ 34232 h 57150"/>
                <a:gd name="connsiteX7" fmla="*/ 34201 w 57150"/>
                <a:gd name="connsiteY7" fmla="*/ 56616 h 57150"/>
                <a:gd name="connsiteX8" fmla="*/ 10674 w 57150"/>
                <a:gd name="connsiteY8" fmla="*/ 53187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50" h="57150">
                  <a:moveTo>
                    <a:pt x="10674" y="53187"/>
                  </a:moveTo>
                  <a:lnTo>
                    <a:pt x="9055" y="51758"/>
                  </a:lnTo>
                  <a:cubicBezTo>
                    <a:pt x="673" y="44519"/>
                    <a:pt x="-2471" y="34328"/>
                    <a:pt x="2102" y="28994"/>
                  </a:cubicBezTo>
                  <a:lnTo>
                    <a:pt x="21533" y="6610"/>
                  </a:lnTo>
                  <a:cubicBezTo>
                    <a:pt x="28581" y="-1486"/>
                    <a:pt x="41154" y="-2248"/>
                    <a:pt x="49536" y="4895"/>
                  </a:cubicBezTo>
                  <a:lnTo>
                    <a:pt x="51155" y="6324"/>
                  </a:lnTo>
                  <a:cubicBezTo>
                    <a:pt x="59537" y="13563"/>
                    <a:pt x="60585" y="26136"/>
                    <a:pt x="53632" y="34232"/>
                  </a:cubicBezTo>
                  <a:lnTo>
                    <a:pt x="34201" y="56616"/>
                  </a:lnTo>
                  <a:cubicBezTo>
                    <a:pt x="29629" y="62045"/>
                    <a:pt x="19056" y="60426"/>
                    <a:pt x="10674" y="53187"/>
                  </a:cubicBez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Forma Livre: Forma 201">
              <a:extLst>
                <a:ext uri="{FF2B5EF4-FFF2-40B4-BE49-F238E27FC236}">
                  <a16:creationId xmlns:a16="http://schemas.microsoft.com/office/drawing/2014/main" id="{8D42B1BD-A076-09A1-E2C7-A29551767E14}"/>
                </a:ext>
              </a:extLst>
            </p:cNvPr>
            <p:cNvSpPr/>
            <p:nvPr/>
          </p:nvSpPr>
          <p:spPr>
            <a:xfrm>
              <a:off x="13853573" y="1390453"/>
              <a:ext cx="57150" cy="57150"/>
            </a:xfrm>
            <a:custGeom>
              <a:avLst/>
              <a:gdLst>
                <a:gd name="connsiteX0" fmla="*/ 10674 w 57150"/>
                <a:gd name="connsiteY0" fmla="*/ 53187 h 57150"/>
                <a:gd name="connsiteX1" fmla="*/ 9055 w 57150"/>
                <a:gd name="connsiteY1" fmla="*/ 51758 h 57150"/>
                <a:gd name="connsiteX2" fmla="*/ 2102 w 57150"/>
                <a:gd name="connsiteY2" fmla="*/ 28994 h 57150"/>
                <a:gd name="connsiteX3" fmla="*/ 21533 w 57150"/>
                <a:gd name="connsiteY3" fmla="*/ 6610 h 57150"/>
                <a:gd name="connsiteX4" fmla="*/ 49536 w 57150"/>
                <a:gd name="connsiteY4" fmla="*/ 4895 h 57150"/>
                <a:gd name="connsiteX5" fmla="*/ 51155 w 57150"/>
                <a:gd name="connsiteY5" fmla="*/ 6324 h 57150"/>
                <a:gd name="connsiteX6" fmla="*/ 53632 w 57150"/>
                <a:gd name="connsiteY6" fmla="*/ 34232 h 57150"/>
                <a:gd name="connsiteX7" fmla="*/ 34201 w 57150"/>
                <a:gd name="connsiteY7" fmla="*/ 56616 h 57150"/>
                <a:gd name="connsiteX8" fmla="*/ 10674 w 57150"/>
                <a:gd name="connsiteY8" fmla="*/ 53187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50" h="57150">
                  <a:moveTo>
                    <a:pt x="10674" y="53187"/>
                  </a:moveTo>
                  <a:lnTo>
                    <a:pt x="9055" y="51758"/>
                  </a:lnTo>
                  <a:cubicBezTo>
                    <a:pt x="673" y="44519"/>
                    <a:pt x="-2471" y="34328"/>
                    <a:pt x="2102" y="28994"/>
                  </a:cubicBezTo>
                  <a:lnTo>
                    <a:pt x="21533" y="6610"/>
                  </a:lnTo>
                  <a:cubicBezTo>
                    <a:pt x="28581" y="-1486"/>
                    <a:pt x="41154" y="-2248"/>
                    <a:pt x="49536" y="4895"/>
                  </a:cubicBezTo>
                  <a:lnTo>
                    <a:pt x="51155" y="6324"/>
                  </a:lnTo>
                  <a:cubicBezTo>
                    <a:pt x="59537" y="13563"/>
                    <a:pt x="60585" y="26136"/>
                    <a:pt x="53632" y="34232"/>
                  </a:cubicBezTo>
                  <a:lnTo>
                    <a:pt x="34201" y="56616"/>
                  </a:lnTo>
                  <a:cubicBezTo>
                    <a:pt x="29629" y="61950"/>
                    <a:pt x="19056" y="60331"/>
                    <a:pt x="10674" y="53187"/>
                  </a:cubicBez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Forma Livre: Forma 202">
              <a:extLst>
                <a:ext uri="{FF2B5EF4-FFF2-40B4-BE49-F238E27FC236}">
                  <a16:creationId xmlns:a16="http://schemas.microsoft.com/office/drawing/2014/main" id="{4E7E829C-A5F2-B32C-394E-DF06C108C7B4}"/>
                </a:ext>
              </a:extLst>
            </p:cNvPr>
            <p:cNvSpPr/>
            <p:nvPr/>
          </p:nvSpPr>
          <p:spPr>
            <a:xfrm>
              <a:off x="13743756" y="1587182"/>
              <a:ext cx="28575" cy="9525"/>
            </a:xfrm>
            <a:custGeom>
              <a:avLst/>
              <a:gdLst>
                <a:gd name="connsiteX0" fmla="*/ 0 w 28575"/>
                <a:gd name="connsiteY0" fmla="*/ 0 h 0"/>
                <a:gd name="connsiteX1" fmla="*/ 28575 w 2857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">
                  <a:moveTo>
                    <a:pt x="0" y="0"/>
                  </a:moveTo>
                  <a:lnTo>
                    <a:pt x="28575" y="0"/>
                  </a:lnTo>
                </a:path>
              </a:pathLst>
            </a:custGeom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Forma Livre: Forma 203">
              <a:extLst>
                <a:ext uri="{FF2B5EF4-FFF2-40B4-BE49-F238E27FC236}">
                  <a16:creationId xmlns:a16="http://schemas.microsoft.com/office/drawing/2014/main" id="{ED3458D7-2298-F9E7-FF64-68441B28C98C}"/>
                </a:ext>
              </a:extLst>
            </p:cNvPr>
            <p:cNvSpPr/>
            <p:nvPr/>
          </p:nvSpPr>
          <p:spPr>
            <a:xfrm>
              <a:off x="13648506" y="1263332"/>
              <a:ext cx="219075" cy="123825"/>
            </a:xfrm>
            <a:custGeom>
              <a:avLst/>
              <a:gdLst>
                <a:gd name="connsiteX0" fmla="*/ 219075 w 219075"/>
                <a:gd name="connsiteY0" fmla="*/ 76200 h 123825"/>
                <a:gd name="connsiteX1" fmla="*/ 219075 w 219075"/>
                <a:gd name="connsiteY1" fmla="*/ 28575 h 123825"/>
                <a:gd name="connsiteX2" fmla="*/ 190500 w 219075"/>
                <a:gd name="connsiteY2" fmla="*/ 0 h 123825"/>
                <a:gd name="connsiteX3" fmla="*/ 28575 w 219075"/>
                <a:gd name="connsiteY3" fmla="*/ 0 h 123825"/>
                <a:gd name="connsiteX4" fmla="*/ 0 w 219075"/>
                <a:gd name="connsiteY4" fmla="*/ 28575 h 123825"/>
                <a:gd name="connsiteX5" fmla="*/ 0 w 219075"/>
                <a:gd name="connsiteY5" fmla="*/ 123825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075" h="123825">
                  <a:moveTo>
                    <a:pt x="219075" y="76200"/>
                  </a:moveTo>
                  <a:lnTo>
                    <a:pt x="219075" y="28575"/>
                  </a:lnTo>
                  <a:cubicBezTo>
                    <a:pt x="219075" y="12763"/>
                    <a:pt x="206312" y="0"/>
                    <a:pt x="190500" y="0"/>
                  </a:cubicBezTo>
                  <a:lnTo>
                    <a:pt x="28575" y="0"/>
                  </a:lnTo>
                  <a:cubicBezTo>
                    <a:pt x="12763" y="0"/>
                    <a:pt x="0" y="12763"/>
                    <a:pt x="0" y="28575"/>
                  </a:cubicBezTo>
                  <a:cubicBezTo>
                    <a:pt x="0" y="56674"/>
                    <a:pt x="0" y="123825"/>
                    <a:pt x="0" y="123825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" name="Forma Livre: Forma 204">
              <a:extLst>
                <a:ext uri="{FF2B5EF4-FFF2-40B4-BE49-F238E27FC236}">
                  <a16:creationId xmlns:a16="http://schemas.microsoft.com/office/drawing/2014/main" id="{50065FF1-A6ED-893B-4C7E-6D908BD6DBBC}"/>
                </a:ext>
              </a:extLst>
            </p:cNvPr>
            <p:cNvSpPr/>
            <p:nvPr/>
          </p:nvSpPr>
          <p:spPr>
            <a:xfrm>
              <a:off x="13677081" y="1568132"/>
              <a:ext cx="190500" cy="47625"/>
            </a:xfrm>
            <a:custGeom>
              <a:avLst/>
              <a:gdLst>
                <a:gd name="connsiteX0" fmla="*/ 0 w 190500"/>
                <a:gd name="connsiteY0" fmla="*/ 47625 h 47625"/>
                <a:gd name="connsiteX1" fmla="*/ 161925 w 190500"/>
                <a:gd name="connsiteY1" fmla="*/ 47625 h 47625"/>
                <a:gd name="connsiteX2" fmla="*/ 190500 w 190500"/>
                <a:gd name="connsiteY2" fmla="*/ 19050 h 47625"/>
                <a:gd name="connsiteX3" fmla="*/ 190500 w 190500"/>
                <a:gd name="connsiteY3" fmla="*/ 19050 h 47625"/>
                <a:gd name="connsiteX4" fmla="*/ 190500 w 190500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0" h="47625">
                  <a:moveTo>
                    <a:pt x="0" y="47625"/>
                  </a:moveTo>
                  <a:lnTo>
                    <a:pt x="161925" y="47625"/>
                  </a:lnTo>
                  <a:cubicBezTo>
                    <a:pt x="177737" y="47625"/>
                    <a:pt x="190500" y="34862"/>
                    <a:pt x="190500" y="19050"/>
                  </a:cubicBezTo>
                  <a:lnTo>
                    <a:pt x="190500" y="19050"/>
                  </a:lnTo>
                  <a:lnTo>
                    <a:pt x="190500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6" name="Forma Livre: Forma 205">
              <a:extLst>
                <a:ext uri="{FF2B5EF4-FFF2-40B4-BE49-F238E27FC236}">
                  <a16:creationId xmlns:a16="http://schemas.microsoft.com/office/drawing/2014/main" id="{08CE1877-5161-F261-FFF9-22C1FCDC118F}"/>
                </a:ext>
              </a:extLst>
            </p:cNvPr>
            <p:cNvSpPr/>
            <p:nvPr/>
          </p:nvSpPr>
          <p:spPr>
            <a:xfrm>
              <a:off x="13505631" y="1577657"/>
              <a:ext cx="171450" cy="123825"/>
            </a:xfrm>
            <a:custGeom>
              <a:avLst/>
              <a:gdLst>
                <a:gd name="connsiteX0" fmla="*/ 171450 w 171450"/>
                <a:gd name="connsiteY0" fmla="*/ 123825 h 123825"/>
                <a:gd name="connsiteX1" fmla="*/ 47625 w 171450"/>
                <a:gd name="connsiteY1" fmla="*/ 0 h 123825"/>
                <a:gd name="connsiteX2" fmla="*/ 0 w 171450"/>
                <a:gd name="connsiteY2" fmla="*/ 47625 h 123825"/>
                <a:gd name="connsiteX3" fmla="*/ 76200 w 171450"/>
                <a:gd name="connsiteY3" fmla="*/ 123825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450" h="123825">
                  <a:moveTo>
                    <a:pt x="171450" y="123825"/>
                  </a:moveTo>
                  <a:lnTo>
                    <a:pt x="47625" y="0"/>
                  </a:lnTo>
                  <a:lnTo>
                    <a:pt x="0" y="47625"/>
                  </a:lnTo>
                  <a:lnTo>
                    <a:pt x="76200" y="123825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7" name="Forma Livre: Forma 206">
              <a:extLst>
                <a:ext uri="{FF2B5EF4-FFF2-40B4-BE49-F238E27FC236}">
                  <a16:creationId xmlns:a16="http://schemas.microsoft.com/office/drawing/2014/main" id="{ADD62688-095C-EAC6-F246-7BBE43965357}"/>
                </a:ext>
              </a:extLst>
            </p:cNvPr>
            <p:cNvSpPr/>
            <p:nvPr/>
          </p:nvSpPr>
          <p:spPr>
            <a:xfrm>
              <a:off x="13553256" y="1625282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9525 w 9525"/>
                <a:gd name="connsiteY1" fmla="*/ 9525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9525" y="9525"/>
                  </a:lnTo>
                </a:path>
              </a:pathLst>
            </a:custGeom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8" name="Forma Livre: Forma 207">
              <a:extLst>
                <a:ext uri="{FF2B5EF4-FFF2-40B4-BE49-F238E27FC236}">
                  <a16:creationId xmlns:a16="http://schemas.microsoft.com/office/drawing/2014/main" id="{36E90BB0-C723-E53C-E450-D513ED5CED88}"/>
                </a:ext>
              </a:extLst>
            </p:cNvPr>
            <p:cNvSpPr/>
            <p:nvPr/>
          </p:nvSpPr>
          <p:spPr>
            <a:xfrm>
              <a:off x="13715181" y="1320482"/>
              <a:ext cx="95250" cy="85725"/>
            </a:xfrm>
            <a:custGeom>
              <a:avLst/>
              <a:gdLst>
                <a:gd name="connsiteX0" fmla="*/ 95250 w 95250"/>
                <a:gd name="connsiteY0" fmla="*/ 38100 h 85725"/>
                <a:gd name="connsiteX1" fmla="*/ 95250 w 95250"/>
                <a:gd name="connsiteY1" fmla="*/ 85725 h 85725"/>
                <a:gd name="connsiteX2" fmla="*/ 0 w 95250"/>
                <a:gd name="connsiteY2" fmla="*/ 85725 h 85725"/>
                <a:gd name="connsiteX3" fmla="*/ 0 w 95250"/>
                <a:gd name="connsiteY3" fmla="*/ 0 h 85725"/>
                <a:gd name="connsiteX4" fmla="*/ 66675 w 95250"/>
                <a:gd name="connsiteY4" fmla="*/ 0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85725">
                  <a:moveTo>
                    <a:pt x="95250" y="38100"/>
                  </a:moveTo>
                  <a:lnTo>
                    <a:pt x="95250" y="85725"/>
                  </a:lnTo>
                  <a:lnTo>
                    <a:pt x="0" y="85725"/>
                  </a:lnTo>
                  <a:lnTo>
                    <a:pt x="0" y="0"/>
                  </a:lnTo>
                  <a:lnTo>
                    <a:pt x="66675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9" name="Forma Livre: Forma 208">
              <a:extLst>
                <a:ext uri="{FF2B5EF4-FFF2-40B4-BE49-F238E27FC236}">
                  <a16:creationId xmlns:a16="http://schemas.microsoft.com/office/drawing/2014/main" id="{5B17F7CA-F414-DF17-9F4A-80EF1FFE9A34}"/>
                </a:ext>
              </a:extLst>
            </p:cNvPr>
            <p:cNvSpPr/>
            <p:nvPr/>
          </p:nvSpPr>
          <p:spPr>
            <a:xfrm>
              <a:off x="13743756" y="1330007"/>
              <a:ext cx="66675" cy="47625"/>
            </a:xfrm>
            <a:custGeom>
              <a:avLst/>
              <a:gdLst>
                <a:gd name="connsiteX0" fmla="*/ 0 w 66675"/>
                <a:gd name="connsiteY0" fmla="*/ 19050 h 47625"/>
                <a:gd name="connsiteX1" fmla="*/ 19050 w 66675"/>
                <a:gd name="connsiteY1" fmla="*/ 47625 h 47625"/>
                <a:gd name="connsiteX2" fmla="*/ 66675 w 66675"/>
                <a:gd name="connsiteY2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675" h="47625">
                  <a:moveTo>
                    <a:pt x="0" y="19050"/>
                  </a:moveTo>
                  <a:lnTo>
                    <a:pt x="19050" y="47625"/>
                  </a:lnTo>
                  <a:lnTo>
                    <a:pt x="66675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0" name="Forma Livre: Forma 209">
              <a:extLst>
                <a:ext uri="{FF2B5EF4-FFF2-40B4-BE49-F238E27FC236}">
                  <a16:creationId xmlns:a16="http://schemas.microsoft.com/office/drawing/2014/main" id="{42CB5977-171A-87CD-820B-6C7769336AC8}"/>
                </a:ext>
              </a:extLst>
            </p:cNvPr>
            <p:cNvSpPr/>
            <p:nvPr/>
          </p:nvSpPr>
          <p:spPr>
            <a:xfrm>
              <a:off x="13715181" y="1453832"/>
              <a:ext cx="95250" cy="85725"/>
            </a:xfrm>
            <a:custGeom>
              <a:avLst/>
              <a:gdLst>
                <a:gd name="connsiteX0" fmla="*/ 95250 w 95250"/>
                <a:gd name="connsiteY0" fmla="*/ 38100 h 85725"/>
                <a:gd name="connsiteX1" fmla="*/ 95250 w 95250"/>
                <a:gd name="connsiteY1" fmla="*/ 85725 h 85725"/>
                <a:gd name="connsiteX2" fmla="*/ 0 w 95250"/>
                <a:gd name="connsiteY2" fmla="*/ 85725 h 85725"/>
                <a:gd name="connsiteX3" fmla="*/ 0 w 95250"/>
                <a:gd name="connsiteY3" fmla="*/ 0 h 85725"/>
                <a:gd name="connsiteX4" fmla="*/ 66675 w 95250"/>
                <a:gd name="connsiteY4" fmla="*/ 0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85725">
                  <a:moveTo>
                    <a:pt x="95250" y="38100"/>
                  </a:moveTo>
                  <a:lnTo>
                    <a:pt x="95250" y="85725"/>
                  </a:lnTo>
                  <a:lnTo>
                    <a:pt x="0" y="85725"/>
                  </a:lnTo>
                  <a:lnTo>
                    <a:pt x="0" y="0"/>
                  </a:lnTo>
                  <a:lnTo>
                    <a:pt x="66675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1" name="Forma Livre: Forma 210">
              <a:extLst>
                <a:ext uri="{FF2B5EF4-FFF2-40B4-BE49-F238E27FC236}">
                  <a16:creationId xmlns:a16="http://schemas.microsoft.com/office/drawing/2014/main" id="{A3E84AC4-4EBC-1505-2F7A-E5D983996B2A}"/>
                </a:ext>
              </a:extLst>
            </p:cNvPr>
            <p:cNvSpPr/>
            <p:nvPr/>
          </p:nvSpPr>
          <p:spPr>
            <a:xfrm>
              <a:off x="13743756" y="1463357"/>
              <a:ext cx="66675" cy="47625"/>
            </a:xfrm>
            <a:custGeom>
              <a:avLst/>
              <a:gdLst>
                <a:gd name="connsiteX0" fmla="*/ 0 w 66675"/>
                <a:gd name="connsiteY0" fmla="*/ 19050 h 47625"/>
                <a:gd name="connsiteX1" fmla="*/ 19050 w 66675"/>
                <a:gd name="connsiteY1" fmla="*/ 47625 h 47625"/>
                <a:gd name="connsiteX2" fmla="*/ 66675 w 66675"/>
                <a:gd name="connsiteY2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675" h="47625">
                  <a:moveTo>
                    <a:pt x="0" y="19050"/>
                  </a:moveTo>
                  <a:lnTo>
                    <a:pt x="19050" y="47625"/>
                  </a:lnTo>
                  <a:lnTo>
                    <a:pt x="66675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12" name="Agrupar 211">
            <a:extLst>
              <a:ext uri="{FF2B5EF4-FFF2-40B4-BE49-F238E27FC236}">
                <a16:creationId xmlns:a16="http://schemas.microsoft.com/office/drawing/2014/main" id="{5FE34071-50B7-6FC0-E729-F3AA45B733A6}"/>
              </a:ext>
            </a:extLst>
          </p:cNvPr>
          <p:cNvGrpSpPr>
            <a:grpSpLocks noChangeAspect="1"/>
          </p:cNvGrpSpPr>
          <p:nvPr/>
        </p:nvGrpSpPr>
        <p:grpSpPr>
          <a:xfrm>
            <a:off x="6954535" y="5375496"/>
            <a:ext cx="340941" cy="252000"/>
            <a:chOff x="14240687" y="3604622"/>
            <a:chExt cx="438150" cy="323850"/>
          </a:xfrm>
        </p:grpSpPr>
        <p:sp>
          <p:nvSpPr>
            <p:cNvPr id="213" name="Forma Livre: Forma 212">
              <a:extLst>
                <a:ext uri="{FF2B5EF4-FFF2-40B4-BE49-F238E27FC236}">
                  <a16:creationId xmlns:a16="http://schemas.microsoft.com/office/drawing/2014/main" id="{AEDF7205-528A-0084-21A2-97762B0AB105}"/>
                </a:ext>
              </a:extLst>
            </p:cNvPr>
            <p:cNvSpPr/>
            <p:nvPr/>
          </p:nvSpPr>
          <p:spPr>
            <a:xfrm>
              <a:off x="14240687" y="3880847"/>
              <a:ext cx="438150" cy="47625"/>
            </a:xfrm>
            <a:custGeom>
              <a:avLst/>
              <a:gdLst>
                <a:gd name="connsiteX0" fmla="*/ 409575 w 438150"/>
                <a:gd name="connsiteY0" fmla="*/ 47625 h 47625"/>
                <a:gd name="connsiteX1" fmla="*/ 28575 w 438150"/>
                <a:gd name="connsiteY1" fmla="*/ 47625 h 47625"/>
                <a:gd name="connsiteX2" fmla="*/ 0 w 438150"/>
                <a:gd name="connsiteY2" fmla="*/ 19050 h 47625"/>
                <a:gd name="connsiteX3" fmla="*/ 0 w 438150"/>
                <a:gd name="connsiteY3" fmla="*/ 0 h 47625"/>
                <a:gd name="connsiteX4" fmla="*/ 171450 w 438150"/>
                <a:gd name="connsiteY4" fmla="*/ 0 h 47625"/>
                <a:gd name="connsiteX5" fmla="*/ 180975 w 438150"/>
                <a:gd name="connsiteY5" fmla="*/ 9525 h 47625"/>
                <a:gd name="connsiteX6" fmla="*/ 257175 w 438150"/>
                <a:gd name="connsiteY6" fmla="*/ 9525 h 47625"/>
                <a:gd name="connsiteX7" fmla="*/ 266700 w 438150"/>
                <a:gd name="connsiteY7" fmla="*/ 0 h 47625"/>
                <a:gd name="connsiteX8" fmla="*/ 438150 w 438150"/>
                <a:gd name="connsiteY8" fmla="*/ 0 h 47625"/>
                <a:gd name="connsiteX9" fmla="*/ 438150 w 438150"/>
                <a:gd name="connsiteY9" fmla="*/ 19050 h 47625"/>
                <a:gd name="connsiteX10" fmla="*/ 409575 w 438150"/>
                <a:gd name="connsiteY10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38150" h="47625">
                  <a:moveTo>
                    <a:pt x="409575" y="47625"/>
                  </a:moveTo>
                  <a:lnTo>
                    <a:pt x="28575" y="47625"/>
                  </a:lnTo>
                  <a:cubicBezTo>
                    <a:pt x="12763" y="47625"/>
                    <a:pt x="0" y="34862"/>
                    <a:pt x="0" y="19050"/>
                  </a:cubicBezTo>
                  <a:lnTo>
                    <a:pt x="0" y="0"/>
                  </a:lnTo>
                  <a:lnTo>
                    <a:pt x="171450" y="0"/>
                  </a:lnTo>
                  <a:lnTo>
                    <a:pt x="180975" y="9525"/>
                  </a:lnTo>
                  <a:lnTo>
                    <a:pt x="257175" y="9525"/>
                  </a:lnTo>
                  <a:lnTo>
                    <a:pt x="266700" y="0"/>
                  </a:lnTo>
                  <a:lnTo>
                    <a:pt x="438150" y="0"/>
                  </a:lnTo>
                  <a:lnTo>
                    <a:pt x="438150" y="19050"/>
                  </a:lnTo>
                  <a:cubicBezTo>
                    <a:pt x="438150" y="34862"/>
                    <a:pt x="425387" y="47625"/>
                    <a:pt x="409575" y="47625"/>
                  </a:cubicBez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4" name="Forma Livre: Forma 213">
              <a:extLst>
                <a:ext uri="{FF2B5EF4-FFF2-40B4-BE49-F238E27FC236}">
                  <a16:creationId xmlns:a16="http://schemas.microsoft.com/office/drawing/2014/main" id="{07DD740A-F4A6-D538-90FC-57E9A3F3775A}"/>
                </a:ext>
              </a:extLst>
            </p:cNvPr>
            <p:cNvSpPr/>
            <p:nvPr/>
          </p:nvSpPr>
          <p:spPr>
            <a:xfrm>
              <a:off x="14269262" y="3604622"/>
              <a:ext cx="381000" cy="276225"/>
            </a:xfrm>
            <a:custGeom>
              <a:avLst/>
              <a:gdLst>
                <a:gd name="connsiteX0" fmla="*/ 0 w 381000"/>
                <a:gd name="connsiteY0" fmla="*/ 276225 h 276225"/>
                <a:gd name="connsiteX1" fmla="*/ 0 w 381000"/>
                <a:gd name="connsiteY1" fmla="*/ 19050 h 276225"/>
                <a:gd name="connsiteX2" fmla="*/ 19050 w 381000"/>
                <a:gd name="connsiteY2" fmla="*/ 0 h 276225"/>
                <a:gd name="connsiteX3" fmla="*/ 361950 w 381000"/>
                <a:gd name="connsiteY3" fmla="*/ 0 h 276225"/>
                <a:gd name="connsiteX4" fmla="*/ 381000 w 381000"/>
                <a:gd name="connsiteY4" fmla="*/ 19050 h 276225"/>
                <a:gd name="connsiteX5" fmla="*/ 381000 w 381000"/>
                <a:gd name="connsiteY5" fmla="*/ 276225 h 27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1000" h="276225">
                  <a:moveTo>
                    <a:pt x="0" y="276225"/>
                  </a:moveTo>
                  <a:lnTo>
                    <a:pt x="0" y="19050"/>
                  </a:lnTo>
                  <a:cubicBezTo>
                    <a:pt x="0" y="8572"/>
                    <a:pt x="8572" y="0"/>
                    <a:pt x="19050" y="0"/>
                  </a:cubicBezTo>
                  <a:lnTo>
                    <a:pt x="361950" y="0"/>
                  </a:lnTo>
                  <a:cubicBezTo>
                    <a:pt x="372428" y="0"/>
                    <a:pt x="381000" y="8572"/>
                    <a:pt x="381000" y="19050"/>
                  </a:cubicBezTo>
                  <a:lnTo>
                    <a:pt x="381000" y="276225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5" name="Forma Livre: Forma 214">
              <a:extLst>
                <a:ext uri="{FF2B5EF4-FFF2-40B4-BE49-F238E27FC236}">
                  <a16:creationId xmlns:a16="http://schemas.microsoft.com/office/drawing/2014/main" id="{696E019A-66AD-C853-9F47-61E5920F552C}"/>
                </a:ext>
              </a:extLst>
            </p:cNvPr>
            <p:cNvSpPr/>
            <p:nvPr/>
          </p:nvSpPr>
          <p:spPr>
            <a:xfrm>
              <a:off x="14354987" y="3642722"/>
              <a:ext cx="171450" cy="171450"/>
            </a:xfrm>
            <a:custGeom>
              <a:avLst/>
              <a:gdLst>
                <a:gd name="connsiteX0" fmla="*/ 171450 w 171450"/>
                <a:gd name="connsiteY0" fmla="*/ 85725 h 171450"/>
                <a:gd name="connsiteX1" fmla="*/ 85725 w 171450"/>
                <a:gd name="connsiteY1" fmla="*/ 171450 h 171450"/>
                <a:gd name="connsiteX2" fmla="*/ 0 w 171450"/>
                <a:gd name="connsiteY2" fmla="*/ 85725 h 171450"/>
                <a:gd name="connsiteX3" fmla="*/ 85725 w 171450"/>
                <a:gd name="connsiteY3" fmla="*/ 0 h 171450"/>
                <a:gd name="connsiteX4" fmla="*/ 171450 w 171450"/>
                <a:gd name="connsiteY4" fmla="*/ 85725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171450">
                  <a:moveTo>
                    <a:pt x="171450" y="85725"/>
                  </a:moveTo>
                  <a:cubicBezTo>
                    <a:pt x="171450" y="133070"/>
                    <a:pt x="133070" y="171450"/>
                    <a:pt x="85725" y="171450"/>
                  </a:cubicBezTo>
                  <a:cubicBezTo>
                    <a:pt x="38380" y="171450"/>
                    <a:pt x="0" y="133070"/>
                    <a:pt x="0" y="85725"/>
                  </a:cubicBezTo>
                  <a:cubicBezTo>
                    <a:pt x="0" y="38380"/>
                    <a:pt x="38380" y="0"/>
                    <a:pt x="85725" y="0"/>
                  </a:cubicBezTo>
                  <a:cubicBezTo>
                    <a:pt x="133070" y="0"/>
                    <a:pt x="171450" y="38380"/>
                    <a:pt x="171450" y="85725"/>
                  </a:cubicBez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6" name="Forma Livre: Forma 215">
              <a:extLst>
                <a:ext uri="{FF2B5EF4-FFF2-40B4-BE49-F238E27FC236}">
                  <a16:creationId xmlns:a16="http://schemas.microsoft.com/office/drawing/2014/main" id="{C55EF277-B8A5-3E51-8800-4BB2EEE60D5B}"/>
                </a:ext>
              </a:extLst>
            </p:cNvPr>
            <p:cNvSpPr/>
            <p:nvPr/>
          </p:nvSpPr>
          <p:spPr>
            <a:xfrm>
              <a:off x="14507387" y="3795122"/>
              <a:ext cx="47625" cy="47625"/>
            </a:xfrm>
            <a:custGeom>
              <a:avLst/>
              <a:gdLst>
                <a:gd name="connsiteX0" fmla="*/ 0 w 47625"/>
                <a:gd name="connsiteY0" fmla="*/ 0 h 47625"/>
                <a:gd name="connsiteX1" fmla="*/ 47625 w 47625"/>
                <a:gd name="connsiteY1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5" h="47625">
                  <a:moveTo>
                    <a:pt x="0" y="0"/>
                  </a:moveTo>
                  <a:lnTo>
                    <a:pt x="47625" y="47625"/>
                  </a:lnTo>
                </a:path>
              </a:pathLst>
            </a:custGeom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6081284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Forma Livre: Forma 226">
            <a:extLst>
              <a:ext uri="{FF2B5EF4-FFF2-40B4-BE49-F238E27FC236}">
                <a16:creationId xmlns:a16="http://schemas.microsoft.com/office/drawing/2014/main" id="{290DC1D9-498F-4B3F-A4C0-A6D8F600C324}"/>
              </a:ext>
            </a:extLst>
          </p:cNvPr>
          <p:cNvSpPr/>
          <p:nvPr/>
        </p:nvSpPr>
        <p:spPr>
          <a:xfrm rot="2700000" flipH="1" flipV="1">
            <a:off x="11572412" y="3043231"/>
            <a:ext cx="1258003" cy="1258002"/>
          </a:xfrm>
          <a:custGeom>
            <a:avLst/>
            <a:gdLst>
              <a:gd name="connsiteX0" fmla="*/ 1730783 w 1730783"/>
              <a:gd name="connsiteY0" fmla="*/ 1730782 h 1730782"/>
              <a:gd name="connsiteX1" fmla="*/ 0 w 1730783"/>
              <a:gd name="connsiteY1" fmla="*/ 0 h 1730782"/>
              <a:gd name="connsiteX2" fmla="*/ 1243143 w 1730783"/>
              <a:gd name="connsiteY2" fmla="*/ 0 h 1730782"/>
              <a:gd name="connsiteX3" fmla="*/ 1730783 w 1730783"/>
              <a:gd name="connsiteY3" fmla="*/ 487640 h 1730782"/>
              <a:gd name="connsiteX4" fmla="*/ 1730783 w 1730783"/>
              <a:gd name="connsiteY4" fmla="*/ 1730782 h 1730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30783" h="1730782">
                <a:moveTo>
                  <a:pt x="1730783" y="1730782"/>
                </a:moveTo>
                <a:lnTo>
                  <a:pt x="0" y="0"/>
                </a:lnTo>
                <a:lnTo>
                  <a:pt x="1243143" y="0"/>
                </a:lnTo>
                <a:cubicBezTo>
                  <a:pt x="1512459" y="0"/>
                  <a:pt x="1730783" y="218324"/>
                  <a:pt x="1730783" y="487640"/>
                </a:cubicBezTo>
                <a:lnTo>
                  <a:pt x="1730783" y="1730782"/>
                </a:lnTo>
                <a:close/>
              </a:path>
            </a:pathLst>
          </a:custGeom>
          <a:solidFill>
            <a:srgbClr val="D6D0CC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DA1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0" name="Forma Livre: Forma 219">
            <a:extLst>
              <a:ext uri="{FF2B5EF4-FFF2-40B4-BE49-F238E27FC236}">
                <a16:creationId xmlns:a16="http://schemas.microsoft.com/office/drawing/2014/main" id="{60CD08FE-CF7C-2974-3ADD-163E13402573}"/>
              </a:ext>
            </a:extLst>
          </p:cNvPr>
          <p:cNvSpPr/>
          <p:nvPr/>
        </p:nvSpPr>
        <p:spPr>
          <a:xfrm rot="10800000">
            <a:off x="10058399" y="-4"/>
            <a:ext cx="2133599" cy="1732342"/>
          </a:xfrm>
          <a:custGeom>
            <a:avLst/>
            <a:gdLst>
              <a:gd name="connsiteX0" fmla="*/ 2315028 w 2315028"/>
              <a:gd name="connsiteY0" fmla="*/ 1879649 h 1879649"/>
              <a:gd name="connsiteX1" fmla="*/ 0 w 2315028"/>
              <a:gd name="connsiteY1" fmla="*/ 1879649 h 1879649"/>
              <a:gd name="connsiteX2" fmla="*/ 0 w 2315028"/>
              <a:gd name="connsiteY2" fmla="*/ 0 h 1879649"/>
              <a:gd name="connsiteX3" fmla="*/ 100749 w 2315028"/>
              <a:gd name="connsiteY3" fmla="*/ 4810 h 1879649"/>
              <a:gd name="connsiteX4" fmla="*/ 743236 w 2315028"/>
              <a:gd name="connsiteY4" fmla="*/ 307858 h 1879649"/>
              <a:gd name="connsiteX5" fmla="*/ 2315028 w 2315028"/>
              <a:gd name="connsiteY5" fmla="*/ 1879649 h 1879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15028" h="1879649">
                <a:moveTo>
                  <a:pt x="2315028" y="1879649"/>
                </a:moveTo>
                <a:lnTo>
                  <a:pt x="0" y="1879649"/>
                </a:lnTo>
                <a:lnTo>
                  <a:pt x="0" y="0"/>
                </a:lnTo>
                <a:lnTo>
                  <a:pt x="100749" y="4810"/>
                </a:lnTo>
                <a:cubicBezTo>
                  <a:pt x="335252" y="27258"/>
                  <a:pt x="563652" y="128274"/>
                  <a:pt x="743236" y="307858"/>
                </a:cubicBezTo>
                <a:lnTo>
                  <a:pt x="2315028" y="1879649"/>
                </a:lnTo>
                <a:close/>
              </a:path>
            </a:pathLst>
          </a:custGeom>
          <a:solidFill>
            <a:srgbClr val="FF6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DA1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E9DF3622-E567-7CD0-828B-065659CE83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6" imgW="421" imgH="420" progId="TCLayout.ActiveDocument.1">
                  <p:embed/>
                </p:oleObj>
              </mc:Choice>
              <mc:Fallback>
                <p:oleObj name="Slide do think-cell" r:id="rId6" imgW="421" imgH="420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DF3622-E567-7CD0-828B-065659CE83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tângulo 35" hidden="1">
            <a:extLst>
              <a:ext uri="{FF2B5EF4-FFF2-40B4-BE49-F238E27FC236}">
                <a16:creationId xmlns:a16="http://schemas.microsoft.com/office/drawing/2014/main" id="{E46F29D4-4314-2C18-CC27-BCD23C878399}"/>
              </a:ext>
            </a:extLst>
          </p:cNvPr>
          <p:cNvSpPr/>
          <p:nvPr/>
        </p:nvSpPr>
        <p:spPr>
          <a:xfrm>
            <a:off x="4093029" y="5205682"/>
            <a:ext cx="271553" cy="137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3" name="Retângulo: Cantos Arredondados 222">
            <a:extLst>
              <a:ext uri="{FF2B5EF4-FFF2-40B4-BE49-F238E27FC236}">
                <a16:creationId xmlns:a16="http://schemas.microsoft.com/office/drawing/2014/main" id="{219486DB-774B-8396-F808-4AE3276CF0FD}"/>
              </a:ext>
            </a:extLst>
          </p:cNvPr>
          <p:cNvSpPr/>
          <p:nvPr/>
        </p:nvSpPr>
        <p:spPr>
          <a:xfrm rot="2700000">
            <a:off x="11674626" y="4028848"/>
            <a:ext cx="364061" cy="364061"/>
          </a:xfrm>
          <a:prstGeom prst="roundRect">
            <a:avLst>
              <a:gd name="adj" fmla="val 29018"/>
            </a:avLst>
          </a:prstGeom>
          <a:solidFill>
            <a:srgbClr val="FF62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tau Display Pro" panose="020B0503020204020204" pitchFamily="34" charset="0"/>
              <a:ea typeface="+mn-ea"/>
              <a:cs typeface="Itau Display Pro" panose="020B0503020204020204" pitchFamily="34" charset="0"/>
            </a:endParaRP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580ADD86-3F69-BC96-C8C1-4D760D448816}"/>
              </a:ext>
            </a:extLst>
          </p:cNvPr>
          <p:cNvSpPr txBox="1"/>
          <p:nvPr/>
        </p:nvSpPr>
        <p:spPr>
          <a:xfrm>
            <a:off x="537051" y="152612"/>
            <a:ext cx="7832849" cy="32643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R="0" lvl="0" indent="0" defTabSz="91437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0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313037"/>
                </a:solidFill>
                <a:effectLst/>
                <a:uLnTx/>
                <a:uFillTx/>
                <a:latin typeface="Itau Display "/>
                <a:ea typeface="+mn-ea"/>
                <a:cs typeface="Itau Display Heavy" panose="020B0803020204020204" pitchFamily="34" charset="0"/>
              </a:rPr>
              <a:t>Até aqui passamos por diversas etapas na idealização dessa jornada...</a:t>
            </a:r>
          </a:p>
        </p:txBody>
      </p:sp>
      <p:sp>
        <p:nvSpPr>
          <p:cNvPr id="26" name="Retângulo: Cantos Arredondados 25">
            <a:extLst>
              <a:ext uri="{FF2B5EF4-FFF2-40B4-BE49-F238E27FC236}">
                <a16:creationId xmlns:a16="http://schemas.microsoft.com/office/drawing/2014/main" id="{B94D7A17-BA24-EABD-1EE9-6A82394ED9E5}"/>
              </a:ext>
            </a:extLst>
          </p:cNvPr>
          <p:cNvSpPr/>
          <p:nvPr/>
        </p:nvSpPr>
        <p:spPr>
          <a:xfrm rot="2700000">
            <a:off x="105778" y="133800"/>
            <a:ext cx="364061" cy="364061"/>
          </a:xfrm>
          <a:prstGeom prst="roundRect">
            <a:avLst>
              <a:gd name="adj" fmla="val 29018"/>
            </a:avLst>
          </a:prstGeom>
          <a:solidFill>
            <a:srgbClr val="FF62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tau Display Pro" panose="020B0503020204020204" pitchFamily="34" charset="0"/>
              <a:ea typeface="+mn-ea"/>
              <a:cs typeface="Itau Display Pro" panose="020B0503020204020204" pitchFamily="34" charset="0"/>
            </a:endParaRPr>
          </a:p>
        </p:txBody>
      </p:sp>
      <p:sp>
        <p:nvSpPr>
          <p:cNvPr id="2" name="Retângulo: Cantos Arredondados 1">
            <a:extLst>
              <a:ext uri="{FF2B5EF4-FFF2-40B4-BE49-F238E27FC236}">
                <a16:creationId xmlns:a16="http://schemas.microsoft.com/office/drawing/2014/main" id="{2B87DBC9-8981-3704-3B19-FBA3EAD64BC0}"/>
              </a:ext>
            </a:extLst>
          </p:cNvPr>
          <p:cNvSpPr/>
          <p:nvPr/>
        </p:nvSpPr>
        <p:spPr>
          <a:xfrm>
            <a:off x="222798" y="3457674"/>
            <a:ext cx="4966729" cy="3119676"/>
          </a:xfrm>
          <a:prstGeom prst="roundRect">
            <a:avLst>
              <a:gd name="adj" fmla="val 7743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47D86FD8-8B04-5057-7B06-ACBD62F556C0}"/>
              </a:ext>
            </a:extLst>
          </p:cNvPr>
          <p:cNvSpPr/>
          <p:nvPr/>
        </p:nvSpPr>
        <p:spPr>
          <a:xfrm>
            <a:off x="-1" y="972480"/>
            <a:ext cx="12191998" cy="22680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l" defTabSz="2438337" rtl="0" eaLnBrk="1" fontAlgn="auto" latinLnBrk="0" hangingPunct="0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  <a:sym typeface="Helvetica Neue"/>
            </a:endParaRPr>
          </a:p>
        </p:txBody>
      </p:sp>
      <p:sp>
        <p:nvSpPr>
          <p:cNvPr id="4" name="TextBox 12">
            <a:extLst>
              <a:ext uri="{FF2B5EF4-FFF2-40B4-BE49-F238E27FC236}">
                <a16:creationId xmlns:a16="http://schemas.microsoft.com/office/drawing/2014/main" id="{2E375FE5-945B-CDE2-83DF-D8612CCE2248}"/>
              </a:ext>
            </a:extLst>
          </p:cNvPr>
          <p:cNvSpPr txBox="1"/>
          <p:nvPr/>
        </p:nvSpPr>
        <p:spPr>
          <a:xfrm>
            <a:off x="2403278" y="635596"/>
            <a:ext cx="1152000" cy="2215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defTabSz="2438337">
              <a:lnSpc>
                <a:spcPct val="90000"/>
              </a:lnSpc>
              <a:spcBef>
                <a:spcPts val="4500"/>
              </a:spcBef>
              <a:defRPr sz="2400" spc="0">
                <a:solidFill>
                  <a:srgbClr val="000000"/>
                </a:solidFill>
                <a:latin typeface="Itau Display Pro Regular"/>
                <a:ea typeface="Itau Display Pro Regular"/>
                <a:cs typeface="Itau Display Pro Regular"/>
                <a:sym typeface="Itau Display Pro Regular"/>
              </a:defRPr>
            </a:lvl1pPr>
          </a:lstStyle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Prototipação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tau Display Pro Regular"/>
              <a:cs typeface="Itau Display Pro Regular"/>
              <a:sym typeface="Itau Display Pro Regular"/>
            </a:endParaRPr>
          </a:p>
        </p:txBody>
      </p:sp>
      <p:sp>
        <p:nvSpPr>
          <p:cNvPr id="5" name="TextBox 14">
            <a:extLst>
              <a:ext uri="{FF2B5EF4-FFF2-40B4-BE49-F238E27FC236}">
                <a16:creationId xmlns:a16="http://schemas.microsoft.com/office/drawing/2014/main" id="{0465B5EA-8540-6F48-5875-144882980453}"/>
              </a:ext>
            </a:extLst>
          </p:cNvPr>
          <p:cNvSpPr txBox="1"/>
          <p:nvPr/>
        </p:nvSpPr>
        <p:spPr>
          <a:xfrm>
            <a:off x="5791139" y="635596"/>
            <a:ext cx="1095728" cy="2215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 defTabSz="2438337">
              <a:lnSpc>
                <a:spcPct val="90000"/>
              </a:lnSpc>
              <a:spcBef>
                <a:spcPts val="4500"/>
              </a:spcBef>
              <a:defRPr sz="2400" spc="0">
                <a:solidFill>
                  <a:srgbClr val="000000"/>
                </a:solidFill>
                <a:latin typeface="Itau Display Pro Regular"/>
                <a:ea typeface="Itau Display Pro Regular"/>
                <a:cs typeface="Itau Display Pro Regular"/>
                <a:sym typeface="Itau Display Pro Regular"/>
              </a:defRPr>
            </a:lvl1pPr>
          </a:lstStyle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Validação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tau Display Pro Regular"/>
              <a:cs typeface="Itau Display Pro Regular"/>
              <a:sym typeface="Itau Display Pro Regular"/>
            </a:endParaRPr>
          </a:p>
        </p:txBody>
      </p:sp>
      <p:sp>
        <p:nvSpPr>
          <p:cNvPr id="6" name="Retângulo: Cantos Arredondados 14">
            <a:extLst>
              <a:ext uri="{FF2B5EF4-FFF2-40B4-BE49-F238E27FC236}">
                <a16:creationId xmlns:a16="http://schemas.microsoft.com/office/drawing/2014/main" id="{A44B2EF6-2B96-7A24-067C-8A7DA3CDCB33}"/>
              </a:ext>
            </a:extLst>
          </p:cNvPr>
          <p:cNvSpPr/>
          <p:nvPr/>
        </p:nvSpPr>
        <p:spPr>
          <a:xfrm>
            <a:off x="5582124" y="585050"/>
            <a:ext cx="92966" cy="322691"/>
          </a:xfrm>
          <a:prstGeom prst="roundRect">
            <a:avLst>
              <a:gd name="adj" fmla="val 50000"/>
            </a:avLst>
          </a:prstGeom>
          <a:solidFill>
            <a:srgbClr val="FF7C05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600" spc="0">
                <a:solidFill>
                  <a:srgbClr val="00A2FF"/>
                </a:solidFill>
                <a:latin typeface="+mj-lt"/>
                <a:ea typeface="+mj-ea"/>
                <a:cs typeface="+mj-cs"/>
                <a:sym typeface="Helvetica Neue"/>
              </a:defRPr>
            </a:pPr>
            <a:endParaRPr kumimoji="0" sz="4800" b="1" i="0" u="none" strike="noStrike" kern="0" cap="none" spc="0" normalizeH="0" baseline="0" noProof="0">
              <a:ln>
                <a:noFill/>
              </a:ln>
              <a:solidFill>
                <a:srgbClr val="00A2FF"/>
              </a:solidFill>
              <a:effectLst/>
              <a:uLnTx/>
              <a:uFillTx/>
              <a:latin typeface="Helvetica Neue"/>
              <a:ea typeface="+mn-ea"/>
              <a:cs typeface="+mn-cs"/>
              <a:sym typeface="Helvetica Neue"/>
            </a:endParaRPr>
          </a:p>
        </p:txBody>
      </p:sp>
      <p:sp>
        <p:nvSpPr>
          <p:cNvPr id="8" name="TextBox 12">
            <a:extLst>
              <a:ext uri="{FF2B5EF4-FFF2-40B4-BE49-F238E27FC236}">
                <a16:creationId xmlns:a16="http://schemas.microsoft.com/office/drawing/2014/main" id="{FB4D1E3C-651B-08C1-8CA7-49E1DFD527B5}"/>
              </a:ext>
            </a:extLst>
          </p:cNvPr>
          <p:cNvSpPr txBox="1"/>
          <p:nvPr/>
        </p:nvSpPr>
        <p:spPr>
          <a:xfrm>
            <a:off x="409268" y="1785621"/>
            <a:ext cx="1425479" cy="4431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 defTabSz="2438337">
              <a:lnSpc>
                <a:spcPct val="90000"/>
              </a:lnSpc>
              <a:spcBef>
                <a:spcPts val="4500"/>
              </a:spcBef>
              <a:defRPr sz="2400" spc="0">
                <a:solidFill>
                  <a:srgbClr val="000000"/>
                </a:solidFill>
                <a:latin typeface="Itau Display Pro Regular"/>
                <a:ea typeface="Itau Display Pro Regular"/>
                <a:cs typeface="Itau Display Pro Regular"/>
                <a:sym typeface="Itau Display Pro Regular"/>
              </a:defRPr>
            </a:lvl1pPr>
          </a:lstStyle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Modernização das jornadas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44546A">
                  <a:lumMod val="50000"/>
                </a:srgbClr>
              </a:solidFill>
              <a:effectLst/>
              <a:uLnTx/>
              <a:uFillTx/>
              <a:latin typeface="Itau Display Pro Regular"/>
              <a:cs typeface="Itau Display Pro Regular"/>
              <a:sym typeface="Itau Display Pro Regular"/>
            </a:endParaRPr>
          </a:p>
        </p:txBody>
      </p:sp>
      <p:sp>
        <p:nvSpPr>
          <p:cNvPr id="10" name="TextBox 12">
            <a:extLst>
              <a:ext uri="{FF2B5EF4-FFF2-40B4-BE49-F238E27FC236}">
                <a16:creationId xmlns:a16="http://schemas.microsoft.com/office/drawing/2014/main" id="{CE3B92B7-35DA-4FEF-48B5-B396972F07E2}"/>
              </a:ext>
            </a:extLst>
          </p:cNvPr>
          <p:cNvSpPr txBox="1"/>
          <p:nvPr/>
        </p:nvSpPr>
        <p:spPr>
          <a:xfrm>
            <a:off x="2403277" y="1933466"/>
            <a:ext cx="2578464" cy="96263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t">
            <a:spAutoFit/>
          </a:bodyPr>
          <a:lstStyle>
            <a:lvl1pPr defTabSz="2438337">
              <a:lnSpc>
                <a:spcPct val="90000"/>
              </a:lnSpc>
              <a:spcBef>
                <a:spcPts val="4500"/>
              </a:spcBef>
              <a:defRPr sz="2400" spc="0">
                <a:solidFill>
                  <a:srgbClr val="000000"/>
                </a:solidFill>
                <a:latin typeface="Itau Display Pro Regular"/>
                <a:ea typeface="Itau Display Pro Regular"/>
                <a:cs typeface="Itau Display Pro Regular"/>
                <a:sym typeface="Itau Display Pro Regular"/>
              </a:defRPr>
            </a:lvl1pPr>
          </a:lstStyle>
          <a:p>
            <a:pPr marL="0" marR="0" lvl="0" indent="0" algn="l" defTabSz="1219169" rtl="0" eaLnBrk="1" fontAlgn="auto" latinLnBrk="0" hangingPunct="0">
              <a:lnSpc>
                <a:spcPct val="15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UX + UI + diretrizes do </a:t>
            </a:r>
            <a:r>
              <a:rPr kumimoji="0" lang="pt-BR" sz="11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iDS</a:t>
            </a:r>
            <a:r>
              <a:rPr kumimoji="0" lang="pt-BR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:</a:t>
            </a:r>
            <a:br>
              <a:rPr kumimoji="0" lang="pt-BR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</a:br>
            <a:r>
              <a:rPr kumimoji="0" lang="pt-B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_consultor de experiência;</a:t>
            </a:r>
            <a:br>
              <a:rPr kumimoji="0" lang="pt-B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</a:br>
            <a:r>
              <a:rPr kumimoji="0" lang="pt-B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_consultor de </a:t>
            </a:r>
            <a:r>
              <a:rPr kumimoji="0" lang="pt-BR" sz="105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writing</a:t>
            </a:r>
            <a:r>
              <a:rPr kumimoji="0" lang="pt-B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;</a:t>
            </a:r>
            <a:br>
              <a:rPr kumimoji="0" lang="pt-B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</a:br>
            <a:r>
              <a:rPr kumimoji="0" lang="pt-B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_consultor de imagens/ícones</a:t>
            </a: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;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tau Display Pro Regular"/>
              <a:cs typeface="Itau Display Pro Regular"/>
              <a:sym typeface="Itau Display Pro Regular"/>
            </a:endParaRPr>
          </a:p>
        </p:txBody>
      </p:sp>
      <p:sp>
        <p:nvSpPr>
          <p:cNvPr id="11" name="TextBox 12">
            <a:extLst>
              <a:ext uri="{FF2B5EF4-FFF2-40B4-BE49-F238E27FC236}">
                <a16:creationId xmlns:a16="http://schemas.microsoft.com/office/drawing/2014/main" id="{71292BAF-C9E6-1D97-FAAC-6A6A894DB788}"/>
              </a:ext>
            </a:extLst>
          </p:cNvPr>
          <p:cNvSpPr txBox="1"/>
          <p:nvPr/>
        </p:nvSpPr>
        <p:spPr>
          <a:xfrm>
            <a:off x="1356868" y="586006"/>
            <a:ext cx="1152000" cy="3323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defTabSz="2438337">
              <a:lnSpc>
                <a:spcPct val="90000"/>
              </a:lnSpc>
              <a:spcBef>
                <a:spcPts val="4500"/>
              </a:spcBef>
              <a:defRPr sz="2400" spc="0">
                <a:solidFill>
                  <a:srgbClr val="000000"/>
                </a:solidFill>
                <a:latin typeface="Itau Display Pro Regular"/>
                <a:ea typeface="Itau Display Pro Regular"/>
                <a:cs typeface="Itau Display Pro Regular"/>
                <a:sym typeface="Itau Display Pro Regular"/>
              </a:defRPr>
            </a:lvl1pPr>
          </a:lstStyle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# 1</a:t>
            </a:r>
            <a:endParaRPr kumimoji="0" sz="2400" b="1" i="0" u="none" strike="noStrike" kern="0" cap="none" spc="0" normalizeH="0" baseline="0" noProof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Itau Display Pro Regular"/>
              <a:cs typeface="Itau Display Pro Regular"/>
              <a:sym typeface="Itau Display Pro Regular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B158E99-0162-6F9B-294E-1C5AE26C0FC9}"/>
              </a:ext>
            </a:extLst>
          </p:cNvPr>
          <p:cNvSpPr txBox="1"/>
          <p:nvPr/>
        </p:nvSpPr>
        <p:spPr>
          <a:xfrm>
            <a:off x="4673689" y="585325"/>
            <a:ext cx="1152000" cy="3323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defTabSz="2438337">
              <a:lnSpc>
                <a:spcPct val="90000"/>
              </a:lnSpc>
              <a:spcBef>
                <a:spcPts val="4500"/>
              </a:spcBef>
              <a:defRPr sz="2400" spc="0">
                <a:solidFill>
                  <a:srgbClr val="000000"/>
                </a:solidFill>
                <a:latin typeface="Itau Display Pro Regular"/>
                <a:ea typeface="Itau Display Pro Regular"/>
                <a:cs typeface="Itau Display Pro Regular"/>
                <a:sym typeface="Itau Display Pro Regular"/>
              </a:defRPr>
            </a:lvl1pPr>
          </a:lstStyle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0" cap="none" spc="0" normalizeH="0" baseline="0" noProof="0" dirty="0">
                <a:ln>
                  <a:noFill/>
                </a:ln>
                <a:solidFill>
                  <a:srgbClr val="FF7C05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# 2</a:t>
            </a:r>
            <a:endParaRPr kumimoji="0" sz="2400" b="1" i="0" u="none" strike="noStrike" kern="0" cap="none" spc="0" normalizeH="0" baseline="0" noProof="0" dirty="0">
              <a:ln>
                <a:noFill/>
              </a:ln>
              <a:solidFill>
                <a:srgbClr val="FF7C05"/>
              </a:solidFill>
              <a:effectLst/>
              <a:uLnTx/>
              <a:uFillTx/>
              <a:latin typeface="Itau Display Pro Regular"/>
              <a:cs typeface="Itau Display Pro Regular"/>
              <a:sym typeface="Itau Display Pro Regular"/>
            </a:endParaRPr>
          </a:p>
        </p:txBody>
      </p:sp>
      <p:sp>
        <p:nvSpPr>
          <p:cNvPr id="14" name="TextBox 12">
            <a:extLst>
              <a:ext uri="{FF2B5EF4-FFF2-40B4-BE49-F238E27FC236}">
                <a16:creationId xmlns:a16="http://schemas.microsoft.com/office/drawing/2014/main" id="{26B97284-8755-3564-2191-C337024CD0C6}"/>
              </a:ext>
            </a:extLst>
          </p:cNvPr>
          <p:cNvSpPr txBox="1"/>
          <p:nvPr/>
        </p:nvSpPr>
        <p:spPr>
          <a:xfrm>
            <a:off x="2403277" y="1050957"/>
            <a:ext cx="2588773" cy="7101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 defTabSz="2438337">
              <a:lnSpc>
                <a:spcPct val="90000"/>
              </a:lnSpc>
              <a:spcBef>
                <a:spcPts val="4500"/>
              </a:spcBef>
              <a:defRPr sz="2400" spc="0">
                <a:solidFill>
                  <a:srgbClr val="000000"/>
                </a:solidFill>
                <a:latin typeface="Itau Display Pro Regular"/>
                <a:ea typeface="Itau Display Pro Regular"/>
                <a:cs typeface="Itau Display Pro Regular"/>
                <a:sym typeface="Itau Display Pro Regular"/>
              </a:defRPr>
            </a:lvl1pPr>
          </a:lstStyle>
          <a:p>
            <a:pPr marL="0" marR="0" lvl="0" indent="0" algn="l" defTabSz="1219169" rtl="0" eaLnBrk="1" fontAlgn="auto" latinLnBrk="0" hangingPunct="0">
              <a:lnSpc>
                <a:spcPct val="15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Entendimento do </a:t>
            </a:r>
            <a:r>
              <a:rPr kumimoji="0" lang="pt-BR" sz="11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iDS</a:t>
            </a: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:</a:t>
            </a:r>
            <a:br>
              <a: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</a:br>
            <a:r>
              <a:rPr kumimoji="0" lang="pt-B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_cores,</a:t>
            </a:r>
            <a:br>
              <a:rPr kumimoji="0" lang="pt-B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</a:br>
            <a:r>
              <a:rPr kumimoji="0" lang="pt-B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_componentes,</a:t>
            </a:r>
            <a:endParaRPr kumimoji="0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tau Display Pro Regular"/>
              <a:cs typeface="Itau Display Pro Regular"/>
              <a:sym typeface="Itau Display Pro Regular"/>
            </a:endParaRPr>
          </a:p>
        </p:txBody>
      </p:sp>
      <p:sp>
        <p:nvSpPr>
          <p:cNvPr id="15" name="TextBox 12">
            <a:extLst>
              <a:ext uri="{FF2B5EF4-FFF2-40B4-BE49-F238E27FC236}">
                <a16:creationId xmlns:a16="http://schemas.microsoft.com/office/drawing/2014/main" id="{1CA838FB-B510-030E-8263-4BFFB983619C}"/>
              </a:ext>
            </a:extLst>
          </p:cNvPr>
          <p:cNvSpPr txBox="1"/>
          <p:nvPr/>
        </p:nvSpPr>
        <p:spPr>
          <a:xfrm>
            <a:off x="5791139" y="1115616"/>
            <a:ext cx="3489653" cy="9525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t">
            <a:spAutoFit/>
          </a:bodyPr>
          <a:lstStyle>
            <a:lvl1pPr defTabSz="2438337">
              <a:lnSpc>
                <a:spcPct val="90000"/>
              </a:lnSpc>
              <a:spcBef>
                <a:spcPts val="4500"/>
              </a:spcBef>
              <a:defRPr sz="2400" spc="0">
                <a:solidFill>
                  <a:srgbClr val="000000"/>
                </a:solidFill>
                <a:latin typeface="Itau Display Pro Regular"/>
                <a:ea typeface="Itau Display Pro Regular"/>
                <a:cs typeface="Itau Display Pro Regular"/>
                <a:sym typeface="Itau Display Pro Regular"/>
              </a:defRPr>
            </a:lvl1pPr>
          </a:lstStyle>
          <a:p>
            <a:pPr marL="0" marR="0" lvl="0" indent="0" algn="l" defTabSz="1219169" rtl="0" eaLnBrk="1" fontAlgn="auto" latinLnBrk="0" hangingPunct="0">
              <a:lnSpc>
                <a:spcPct val="15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Pesquisas:</a:t>
            </a:r>
            <a:br>
              <a:rPr kumimoji="0" lang="pt-BR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</a:br>
            <a:r>
              <a:rPr kumimoji="0" lang="pt-B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_validação do protótipo com clientes;;</a:t>
            </a:r>
            <a:br>
              <a:rPr kumimoji="0" lang="pt-B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</a:br>
            <a:r>
              <a:rPr kumimoji="0" lang="pt-B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_alinhamento com áreas parceiras (produtos, TI, </a:t>
            </a:r>
            <a:r>
              <a:rPr kumimoji="0" lang="pt-BR" sz="105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etc</a:t>
            </a:r>
            <a:r>
              <a:rPr kumimoji="0" lang="pt-B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); </a:t>
            </a:r>
            <a:br>
              <a:rPr kumimoji="0" lang="pt-B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</a:br>
            <a:r>
              <a:rPr kumimoji="0" lang="pt-B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_teste de acessibilidade;</a:t>
            </a:r>
          </a:p>
        </p:txBody>
      </p:sp>
      <p:cxnSp>
        <p:nvCxnSpPr>
          <p:cNvPr id="16" name="Conector reto 15">
            <a:extLst>
              <a:ext uri="{FF2B5EF4-FFF2-40B4-BE49-F238E27FC236}">
                <a16:creationId xmlns:a16="http://schemas.microsoft.com/office/drawing/2014/main" id="{38EFDB95-60ED-AECA-644B-FBD31E41B6A1}"/>
              </a:ext>
            </a:extLst>
          </p:cNvPr>
          <p:cNvCxnSpPr>
            <a:cxnSpLocks/>
          </p:cNvCxnSpPr>
          <p:nvPr/>
        </p:nvCxnSpPr>
        <p:spPr>
          <a:xfrm>
            <a:off x="2264746" y="679724"/>
            <a:ext cx="0" cy="2560756"/>
          </a:xfrm>
          <a:prstGeom prst="line">
            <a:avLst/>
          </a:prstGeom>
          <a:noFill/>
          <a:ln w="3175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7" name="Conector reto 16">
            <a:extLst>
              <a:ext uri="{FF2B5EF4-FFF2-40B4-BE49-F238E27FC236}">
                <a16:creationId xmlns:a16="http://schemas.microsoft.com/office/drawing/2014/main" id="{7DB60DA4-C35D-77E2-7A32-28349259C09E}"/>
              </a:ext>
            </a:extLst>
          </p:cNvPr>
          <p:cNvCxnSpPr>
            <a:cxnSpLocks/>
          </p:cNvCxnSpPr>
          <p:nvPr/>
        </p:nvCxnSpPr>
        <p:spPr>
          <a:xfrm>
            <a:off x="5628607" y="679724"/>
            <a:ext cx="0" cy="2560756"/>
          </a:xfrm>
          <a:prstGeom prst="line">
            <a:avLst/>
          </a:prstGeom>
          <a:noFill/>
          <a:ln w="3175" cap="flat">
            <a:solidFill>
              <a:srgbClr val="FF7C05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Retângulo: Cantos Arredondados 13">
            <a:extLst>
              <a:ext uri="{FF2B5EF4-FFF2-40B4-BE49-F238E27FC236}">
                <a16:creationId xmlns:a16="http://schemas.microsoft.com/office/drawing/2014/main" id="{3A20FC84-D8AC-1076-A269-DFF9332EB471}"/>
              </a:ext>
            </a:extLst>
          </p:cNvPr>
          <p:cNvSpPr/>
          <p:nvPr/>
        </p:nvSpPr>
        <p:spPr>
          <a:xfrm>
            <a:off x="2231515" y="585050"/>
            <a:ext cx="92966" cy="322691"/>
          </a:xfrm>
          <a:prstGeom prst="roundRect">
            <a:avLst>
              <a:gd name="adj" fmla="val 50000"/>
            </a:avLst>
          </a:prstGeom>
          <a:solidFill>
            <a:srgbClr val="00B0F0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600" spc="0">
                <a:solidFill>
                  <a:srgbClr val="00A2FF"/>
                </a:solidFill>
                <a:latin typeface="+mj-lt"/>
                <a:ea typeface="+mj-ea"/>
                <a:cs typeface="+mj-cs"/>
                <a:sym typeface="Helvetica Neue"/>
              </a:defRPr>
            </a:pPr>
            <a:endParaRPr kumimoji="0" sz="4800" b="0" i="0" u="none" strike="noStrike" kern="0" cap="none" spc="0" normalizeH="0" baseline="0" noProof="0">
              <a:ln>
                <a:noFill/>
              </a:ln>
              <a:solidFill>
                <a:srgbClr val="00A2FF"/>
              </a:solidFill>
              <a:effectLst/>
              <a:uLnTx/>
              <a:uFillTx/>
              <a:latin typeface="Helvetica Neue"/>
              <a:ea typeface="+mn-ea"/>
              <a:cs typeface="+mn-cs"/>
              <a:sym typeface="Helvetica Neue"/>
            </a:endParaRPr>
          </a:p>
        </p:txBody>
      </p:sp>
      <p:sp>
        <p:nvSpPr>
          <p:cNvPr id="19" name="Triângulo isósceles 18">
            <a:extLst>
              <a:ext uri="{FF2B5EF4-FFF2-40B4-BE49-F238E27FC236}">
                <a16:creationId xmlns:a16="http://schemas.microsoft.com/office/drawing/2014/main" id="{3BF7353F-FF1A-8079-B33B-7A5F56261E07}"/>
              </a:ext>
            </a:extLst>
          </p:cNvPr>
          <p:cNvSpPr/>
          <p:nvPr/>
        </p:nvSpPr>
        <p:spPr>
          <a:xfrm rot="5400000">
            <a:off x="2304171" y="4993275"/>
            <a:ext cx="1311613" cy="150153"/>
          </a:xfrm>
          <a:prstGeom prst="triangl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Box 12">
            <a:extLst>
              <a:ext uri="{FF2B5EF4-FFF2-40B4-BE49-F238E27FC236}">
                <a16:creationId xmlns:a16="http://schemas.microsoft.com/office/drawing/2014/main" id="{6292EEA6-9DF3-66E0-D3F5-789F5A90DD8B}"/>
              </a:ext>
            </a:extLst>
          </p:cNvPr>
          <p:cNvSpPr txBox="1"/>
          <p:nvPr/>
        </p:nvSpPr>
        <p:spPr>
          <a:xfrm>
            <a:off x="520819" y="3548434"/>
            <a:ext cx="1152000" cy="2215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defTabSz="2438337">
              <a:lnSpc>
                <a:spcPct val="90000"/>
              </a:lnSpc>
              <a:spcBef>
                <a:spcPts val="4500"/>
              </a:spcBef>
              <a:defRPr sz="2400" spc="0">
                <a:solidFill>
                  <a:srgbClr val="000000"/>
                </a:solidFill>
                <a:latin typeface="Itau Display Pro Regular"/>
                <a:ea typeface="Itau Display Pro Regular"/>
                <a:cs typeface="Itau Display Pro Regular"/>
                <a:sym typeface="Itau Display Pro Regular"/>
              </a:defRPr>
            </a:lvl1pPr>
          </a:lstStyle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Protótipo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tau Display Pro Regular"/>
              <a:cs typeface="Itau Display Pro Regular"/>
              <a:sym typeface="Itau Display Pro Regular"/>
            </a:endParaRPr>
          </a:p>
        </p:txBody>
      </p:sp>
      <p:sp>
        <p:nvSpPr>
          <p:cNvPr id="22" name="Retângulo: Cantos Arredondados 21">
            <a:extLst>
              <a:ext uri="{FF2B5EF4-FFF2-40B4-BE49-F238E27FC236}">
                <a16:creationId xmlns:a16="http://schemas.microsoft.com/office/drawing/2014/main" id="{5FF92317-8891-5321-4E8E-79A3DB26777C}"/>
              </a:ext>
            </a:extLst>
          </p:cNvPr>
          <p:cNvSpPr/>
          <p:nvPr/>
        </p:nvSpPr>
        <p:spPr>
          <a:xfrm>
            <a:off x="5484611" y="3442996"/>
            <a:ext cx="6545155" cy="3119676"/>
          </a:xfrm>
          <a:prstGeom prst="roundRect">
            <a:avLst>
              <a:gd name="adj" fmla="val 7743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Box 12">
            <a:extLst>
              <a:ext uri="{FF2B5EF4-FFF2-40B4-BE49-F238E27FC236}">
                <a16:creationId xmlns:a16="http://schemas.microsoft.com/office/drawing/2014/main" id="{6664A09E-E767-2A62-6BFB-015FCEA77348}"/>
              </a:ext>
            </a:extLst>
          </p:cNvPr>
          <p:cNvSpPr txBox="1"/>
          <p:nvPr/>
        </p:nvSpPr>
        <p:spPr>
          <a:xfrm>
            <a:off x="5946407" y="3548434"/>
            <a:ext cx="1152000" cy="2215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defTabSz="2438337">
              <a:lnSpc>
                <a:spcPct val="90000"/>
              </a:lnSpc>
              <a:spcBef>
                <a:spcPts val="4500"/>
              </a:spcBef>
              <a:defRPr sz="2400" spc="0">
                <a:solidFill>
                  <a:srgbClr val="000000"/>
                </a:solidFill>
                <a:latin typeface="Itau Display Pro Regular"/>
                <a:ea typeface="Itau Display Pro Regular"/>
                <a:cs typeface="Itau Display Pro Regular"/>
                <a:sym typeface="Itau Display Pro Regular"/>
              </a:defRPr>
            </a:lvl1pPr>
          </a:lstStyle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Pesquisas</a:t>
            </a:r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tau Display Pro Regular"/>
              <a:cs typeface="Itau Display Pro Regular"/>
              <a:sym typeface="Itau Display Pro Regular"/>
            </a:endParaRPr>
          </a:p>
        </p:txBody>
      </p:sp>
      <p:pic>
        <p:nvPicPr>
          <p:cNvPr id="24" name="Imagem 23">
            <a:extLst>
              <a:ext uri="{FF2B5EF4-FFF2-40B4-BE49-F238E27FC236}">
                <a16:creationId xmlns:a16="http://schemas.microsoft.com/office/drawing/2014/main" id="{D0E5AB4A-62A0-D013-C611-5876AE2BB86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01898" y="3946548"/>
            <a:ext cx="1074864" cy="1734071"/>
          </a:xfrm>
          <a:prstGeom prst="rect">
            <a:avLst/>
          </a:prstGeom>
        </p:spPr>
      </p:pic>
      <p:pic>
        <p:nvPicPr>
          <p:cNvPr id="25" name="Imagem 24">
            <a:extLst>
              <a:ext uri="{FF2B5EF4-FFF2-40B4-BE49-F238E27FC236}">
                <a16:creationId xmlns:a16="http://schemas.microsoft.com/office/drawing/2014/main" id="{481567D3-3C29-6039-7C61-0855890A6BC5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grayscl/>
          </a:blip>
          <a:srcRect r="54144"/>
          <a:stretch/>
        </p:blipFill>
        <p:spPr>
          <a:xfrm>
            <a:off x="6911134" y="4756827"/>
            <a:ext cx="1370819" cy="819055"/>
          </a:xfrm>
          <a:prstGeom prst="rect">
            <a:avLst/>
          </a:prstGeom>
        </p:spPr>
      </p:pic>
      <p:pic>
        <p:nvPicPr>
          <p:cNvPr id="27" name="Imagem 26">
            <a:extLst>
              <a:ext uri="{FF2B5EF4-FFF2-40B4-BE49-F238E27FC236}">
                <a16:creationId xmlns:a16="http://schemas.microsoft.com/office/drawing/2014/main" id="{90CA71D0-0F3F-E4F9-1569-12DC88E305D5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51059"/>
          <a:stretch/>
        </p:blipFill>
        <p:spPr>
          <a:xfrm>
            <a:off x="6911135" y="3946548"/>
            <a:ext cx="1403227" cy="785570"/>
          </a:xfrm>
          <a:prstGeom prst="rect">
            <a:avLst/>
          </a:prstGeom>
        </p:spPr>
      </p:pic>
      <p:pic>
        <p:nvPicPr>
          <p:cNvPr id="28" name="Imagem 27">
            <a:extLst>
              <a:ext uri="{FF2B5EF4-FFF2-40B4-BE49-F238E27FC236}">
                <a16:creationId xmlns:a16="http://schemas.microsoft.com/office/drawing/2014/main" id="{437225AC-F36B-DE94-21AA-0FF7414CEC19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33468"/>
          <a:stretch/>
        </p:blipFill>
        <p:spPr>
          <a:xfrm>
            <a:off x="8462865" y="3630572"/>
            <a:ext cx="1936924" cy="1381506"/>
          </a:xfrm>
          <a:prstGeom prst="rect">
            <a:avLst/>
          </a:prstGeom>
        </p:spPr>
      </p:pic>
      <p:pic>
        <p:nvPicPr>
          <p:cNvPr id="29" name="Imagem 28">
            <a:extLst>
              <a:ext uri="{FF2B5EF4-FFF2-40B4-BE49-F238E27FC236}">
                <a16:creationId xmlns:a16="http://schemas.microsoft.com/office/drawing/2014/main" id="{EC1D5ACF-52C5-FDF7-059C-6E0092AAD7D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463329" y="5307399"/>
            <a:ext cx="2535969" cy="954333"/>
          </a:xfrm>
          <a:prstGeom prst="rect">
            <a:avLst/>
          </a:prstGeom>
        </p:spPr>
      </p:pic>
      <p:pic>
        <p:nvPicPr>
          <p:cNvPr id="30" name="Imagem 29">
            <a:extLst>
              <a:ext uri="{FF2B5EF4-FFF2-40B4-BE49-F238E27FC236}">
                <a16:creationId xmlns:a16="http://schemas.microsoft.com/office/drawing/2014/main" id="{E8BFC7DC-12DA-1307-8B4F-A6680D0B6E6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451193" y="3593960"/>
            <a:ext cx="1495093" cy="1418118"/>
          </a:xfrm>
          <a:prstGeom prst="rect">
            <a:avLst/>
          </a:prstGeom>
        </p:spPr>
      </p:pic>
      <p:sp>
        <p:nvSpPr>
          <p:cNvPr id="31" name="TextBox 12">
            <a:extLst>
              <a:ext uri="{FF2B5EF4-FFF2-40B4-BE49-F238E27FC236}">
                <a16:creationId xmlns:a16="http://schemas.microsoft.com/office/drawing/2014/main" id="{ABB3669F-2CF5-F9D3-9B0C-BA5D1DAA655F}"/>
              </a:ext>
            </a:extLst>
          </p:cNvPr>
          <p:cNvSpPr txBox="1"/>
          <p:nvPr/>
        </p:nvSpPr>
        <p:spPr>
          <a:xfrm>
            <a:off x="5845488" y="5680777"/>
            <a:ext cx="2332709" cy="4562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t">
            <a:spAutoFit/>
          </a:bodyPr>
          <a:lstStyle>
            <a:lvl1pPr defTabSz="2438337">
              <a:lnSpc>
                <a:spcPct val="90000"/>
              </a:lnSpc>
              <a:spcBef>
                <a:spcPts val="4500"/>
              </a:spcBef>
              <a:defRPr sz="2400" spc="0">
                <a:solidFill>
                  <a:srgbClr val="000000"/>
                </a:solidFill>
                <a:latin typeface="Itau Display Pro Regular"/>
                <a:ea typeface="Itau Display Pro Regular"/>
                <a:cs typeface="Itau Display Pro Regular"/>
                <a:sym typeface="Itau Display Pro Regular"/>
              </a:defRPr>
            </a:lvl1pPr>
          </a:lstStyle>
          <a:p>
            <a:pPr marL="0" marR="0" lvl="0" indent="0" algn="l" defTabSz="1219169" rtl="0" eaLnBrk="1" fontAlgn="auto" latinLnBrk="0" hangingPunct="0">
              <a:lnSpc>
                <a:spcPct val="15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Menu Perfil - Preferência do cliente por rotas</a:t>
            </a:r>
          </a:p>
        </p:txBody>
      </p:sp>
      <p:sp>
        <p:nvSpPr>
          <p:cNvPr id="32" name="TextBox 12">
            <a:extLst>
              <a:ext uri="{FF2B5EF4-FFF2-40B4-BE49-F238E27FC236}">
                <a16:creationId xmlns:a16="http://schemas.microsoft.com/office/drawing/2014/main" id="{AFC8E365-FE18-674D-1A7F-5E6D2ED6FD9A}"/>
              </a:ext>
            </a:extLst>
          </p:cNvPr>
          <p:cNvSpPr txBox="1"/>
          <p:nvPr/>
        </p:nvSpPr>
        <p:spPr>
          <a:xfrm>
            <a:off x="8462865" y="4958999"/>
            <a:ext cx="3483421" cy="213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t">
            <a:spAutoFit/>
          </a:bodyPr>
          <a:lstStyle>
            <a:lvl1pPr defTabSz="2438337">
              <a:lnSpc>
                <a:spcPct val="90000"/>
              </a:lnSpc>
              <a:spcBef>
                <a:spcPts val="4500"/>
              </a:spcBef>
              <a:defRPr sz="2400" spc="0">
                <a:solidFill>
                  <a:srgbClr val="000000"/>
                </a:solidFill>
                <a:latin typeface="Itau Display Pro Regular"/>
                <a:ea typeface="Itau Display Pro Regular"/>
                <a:cs typeface="Itau Display Pro Regular"/>
                <a:sym typeface="Itau Display Pro Regular"/>
              </a:defRPr>
            </a:lvl1pPr>
          </a:lstStyle>
          <a:p>
            <a:pPr marL="0" marR="0" lvl="0" indent="0" algn="l" defTabSz="1219169" rtl="0" eaLnBrk="1" fontAlgn="auto" latinLnBrk="0" hangingPunct="0">
              <a:lnSpc>
                <a:spcPct val="15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Meus documentos - </a:t>
            </a:r>
            <a:r>
              <a:rPr kumimoji="0" lang="pt-BR" sz="1050" b="0" i="1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Lab</a:t>
            </a:r>
            <a:r>
              <a:rPr kumimoji="0" lang="pt-BR" sz="105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 de validação do protótipo</a:t>
            </a:r>
          </a:p>
        </p:txBody>
      </p:sp>
      <p:sp>
        <p:nvSpPr>
          <p:cNvPr id="33" name="TextBox 12">
            <a:extLst>
              <a:ext uri="{FF2B5EF4-FFF2-40B4-BE49-F238E27FC236}">
                <a16:creationId xmlns:a16="http://schemas.microsoft.com/office/drawing/2014/main" id="{CBBDABC7-0BCD-5491-B96F-F83B1BDDCDA7}"/>
              </a:ext>
            </a:extLst>
          </p:cNvPr>
          <p:cNvSpPr txBox="1"/>
          <p:nvPr/>
        </p:nvSpPr>
        <p:spPr>
          <a:xfrm>
            <a:off x="8462865" y="6277372"/>
            <a:ext cx="3483421" cy="213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t">
            <a:spAutoFit/>
          </a:bodyPr>
          <a:lstStyle>
            <a:lvl1pPr defTabSz="2438337">
              <a:lnSpc>
                <a:spcPct val="90000"/>
              </a:lnSpc>
              <a:spcBef>
                <a:spcPts val="4500"/>
              </a:spcBef>
              <a:defRPr sz="2400" spc="0">
                <a:solidFill>
                  <a:srgbClr val="000000"/>
                </a:solidFill>
                <a:latin typeface="Itau Display Pro Regular"/>
                <a:ea typeface="Itau Display Pro Regular"/>
                <a:cs typeface="Itau Display Pro Regular"/>
                <a:sym typeface="Itau Display Pro Regular"/>
              </a:defRPr>
            </a:lvl1pPr>
          </a:lstStyle>
          <a:p>
            <a:pPr marL="0" marR="0" lvl="0" indent="0" algn="l" defTabSz="1219169" rtl="0" eaLnBrk="1" fontAlgn="auto" latinLnBrk="0" hangingPunct="0">
              <a:lnSpc>
                <a:spcPct val="15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Relação do cliente com jornadas de conteúdo Itaú</a:t>
            </a:r>
          </a:p>
        </p:txBody>
      </p:sp>
      <p:pic>
        <p:nvPicPr>
          <p:cNvPr id="34" name="Prototipo_consignado">
            <a:hlinkClick r:id="" action="ppaction://media"/>
            <a:extLst>
              <a:ext uri="{FF2B5EF4-FFF2-40B4-BE49-F238E27FC236}">
                <a16:creationId xmlns:a16="http://schemas.microsoft.com/office/drawing/2014/main" id="{29F97BD1-561B-318E-DD25-04F5AD5159FE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13"/>
          <a:stretch>
            <a:fillRect/>
          </a:stretch>
        </p:blipFill>
        <p:spPr>
          <a:xfrm>
            <a:off x="3220893" y="3525609"/>
            <a:ext cx="1799875" cy="2976659"/>
          </a:xfrm>
          <a:prstGeom prst="rect">
            <a:avLst/>
          </a:prstGeom>
        </p:spPr>
      </p:pic>
      <p:pic>
        <p:nvPicPr>
          <p:cNvPr id="35" name="Imagem 34">
            <a:extLst>
              <a:ext uri="{FF2B5EF4-FFF2-40B4-BE49-F238E27FC236}">
                <a16:creationId xmlns:a16="http://schemas.microsoft.com/office/drawing/2014/main" id="{5895447B-9860-CAD4-AE98-A98BB235A03A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60987" y="4005021"/>
            <a:ext cx="2018468" cy="1237856"/>
          </a:xfrm>
          <a:prstGeom prst="rect">
            <a:avLst/>
          </a:prstGeom>
        </p:spPr>
      </p:pic>
      <p:pic>
        <p:nvPicPr>
          <p:cNvPr id="37" name="Imagem 36">
            <a:extLst>
              <a:ext uri="{FF2B5EF4-FFF2-40B4-BE49-F238E27FC236}">
                <a16:creationId xmlns:a16="http://schemas.microsoft.com/office/drawing/2014/main" id="{A41D3A24-2AEB-4114-BA04-4D73B007F7C5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01655" y="5379763"/>
            <a:ext cx="1937132" cy="892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0594238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24" fill="hold"/>
                                        <p:tgtEl>
                                          <p:spTgt spid="3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3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3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4"/>
                  </p:tgtEl>
                </p:cond>
              </p:nextCondLst>
            </p:seq>
            <p:video>
              <p:cMediaNode>
                <p:cTn id="12" fill="hold" display="0">
                  <p:stCondLst>
                    <p:cond delay="indefinite"/>
                  </p:stCondLst>
                </p:cTn>
                <p:tgtEl>
                  <p:spTgt spid="34"/>
                </p:tgtEl>
              </p:cMediaNode>
            </p:video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Forma Livre: Forma 226">
            <a:extLst>
              <a:ext uri="{FF2B5EF4-FFF2-40B4-BE49-F238E27FC236}">
                <a16:creationId xmlns:a16="http://schemas.microsoft.com/office/drawing/2014/main" id="{290DC1D9-498F-4B3F-A4C0-A6D8F600C324}"/>
              </a:ext>
            </a:extLst>
          </p:cNvPr>
          <p:cNvSpPr/>
          <p:nvPr/>
        </p:nvSpPr>
        <p:spPr>
          <a:xfrm rot="2700000" flipH="1" flipV="1">
            <a:off x="11572412" y="3043231"/>
            <a:ext cx="1258003" cy="1258002"/>
          </a:xfrm>
          <a:custGeom>
            <a:avLst/>
            <a:gdLst>
              <a:gd name="connsiteX0" fmla="*/ 1730783 w 1730783"/>
              <a:gd name="connsiteY0" fmla="*/ 1730782 h 1730782"/>
              <a:gd name="connsiteX1" fmla="*/ 0 w 1730783"/>
              <a:gd name="connsiteY1" fmla="*/ 0 h 1730782"/>
              <a:gd name="connsiteX2" fmla="*/ 1243143 w 1730783"/>
              <a:gd name="connsiteY2" fmla="*/ 0 h 1730782"/>
              <a:gd name="connsiteX3" fmla="*/ 1730783 w 1730783"/>
              <a:gd name="connsiteY3" fmla="*/ 487640 h 1730782"/>
              <a:gd name="connsiteX4" fmla="*/ 1730783 w 1730783"/>
              <a:gd name="connsiteY4" fmla="*/ 1730782 h 1730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30783" h="1730782">
                <a:moveTo>
                  <a:pt x="1730783" y="1730782"/>
                </a:moveTo>
                <a:lnTo>
                  <a:pt x="0" y="0"/>
                </a:lnTo>
                <a:lnTo>
                  <a:pt x="1243143" y="0"/>
                </a:lnTo>
                <a:cubicBezTo>
                  <a:pt x="1512459" y="0"/>
                  <a:pt x="1730783" y="218324"/>
                  <a:pt x="1730783" y="487640"/>
                </a:cubicBezTo>
                <a:lnTo>
                  <a:pt x="1730783" y="1730782"/>
                </a:lnTo>
                <a:close/>
              </a:path>
            </a:pathLst>
          </a:custGeom>
          <a:solidFill>
            <a:srgbClr val="D6D0CC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DA1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0" name="Forma Livre: Forma 219">
            <a:extLst>
              <a:ext uri="{FF2B5EF4-FFF2-40B4-BE49-F238E27FC236}">
                <a16:creationId xmlns:a16="http://schemas.microsoft.com/office/drawing/2014/main" id="{60CD08FE-CF7C-2974-3ADD-163E13402573}"/>
              </a:ext>
            </a:extLst>
          </p:cNvPr>
          <p:cNvSpPr/>
          <p:nvPr/>
        </p:nvSpPr>
        <p:spPr>
          <a:xfrm rot="10800000">
            <a:off x="10058399" y="-4"/>
            <a:ext cx="2133599" cy="1732342"/>
          </a:xfrm>
          <a:custGeom>
            <a:avLst/>
            <a:gdLst>
              <a:gd name="connsiteX0" fmla="*/ 2315028 w 2315028"/>
              <a:gd name="connsiteY0" fmla="*/ 1879649 h 1879649"/>
              <a:gd name="connsiteX1" fmla="*/ 0 w 2315028"/>
              <a:gd name="connsiteY1" fmla="*/ 1879649 h 1879649"/>
              <a:gd name="connsiteX2" fmla="*/ 0 w 2315028"/>
              <a:gd name="connsiteY2" fmla="*/ 0 h 1879649"/>
              <a:gd name="connsiteX3" fmla="*/ 100749 w 2315028"/>
              <a:gd name="connsiteY3" fmla="*/ 4810 h 1879649"/>
              <a:gd name="connsiteX4" fmla="*/ 743236 w 2315028"/>
              <a:gd name="connsiteY4" fmla="*/ 307858 h 1879649"/>
              <a:gd name="connsiteX5" fmla="*/ 2315028 w 2315028"/>
              <a:gd name="connsiteY5" fmla="*/ 1879649 h 1879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15028" h="1879649">
                <a:moveTo>
                  <a:pt x="2315028" y="1879649"/>
                </a:moveTo>
                <a:lnTo>
                  <a:pt x="0" y="1879649"/>
                </a:lnTo>
                <a:lnTo>
                  <a:pt x="0" y="0"/>
                </a:lnTo>
                <a:lnTo>
                  <a:pt x="100749" y="4810"/>
                </a:lnTo>
                <a:cubicBezTo>
                  <a:pt x="335252" y="27258"/>
                  <a:pt x="563652" y="128274"/>
                  <a:pt x="743236" y="307858"/>
                </a:cubicBezTo>
                <a:lnTo>
                  <a:pt x="2315028" y="1879649"/>
                </a:lnTo>
                <a:close/>
              </a:path>
            </a:pathLst>
          </a:custGeom>
          <a:solidFill>
            <a:srgbClr val="FF6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FDA1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E9DF3622-E567-7CD0-828B-065659CE83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0" progId="TCLayout.ActiveDocument.1">
                  <p:embed/>
                </p:oleObj>
              </mc:Choice>
              <mc:Fallback>
                <p:oleObj name="Slide do think-cell" r:id="rId4" imgW="421" imgH="420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DF3622-E567-7CD0-828B-065659CE83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tângulo 35" hidden="1">
            <a:extLst>
              <a:ext uri="{FF2B5EF4-FFF2-40B4-BE49-F238E27FC236}">
                <a16:creationId xmlns:a16="http://schemas.microsoft.com/office/drawing/2014/main" id="{E46F29D4-4314-2C18-CC27-BCD23C878399}"/>
              </a:ext>
            </a:extLst>
          </p:cNvPr>
          <p:cNvSpPr/>
          <p:nvPr/>
        </p:nvSpPr>
        <p:spPr>
          <a:xfrm>
            <a:off x="4093029" y="5205682"/>
            <a:ext cx="271553" cy="137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580ADD86-3F69-BC96-C8C1-4D760D448816}"/>
              </a:ext>
            </a:extLst>
          </p:cNvPr>
          <p:cNvSpPr txBox="1"/>
          <p:nvPr/>
        </p:nvSpPr>
        <p:spPr>
          <a:xfrm>
            <a:off x="537051" y="152612"/>
            <a:ext cx="7832849" cy="32643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R="0" lvl="0" indent="0" defTabSz="91437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0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313037"/>
                </a:solidFill>
                <a:effectLst/>
                <a:uLnTx/>
                <a:uFillTx/>
                <a:latin typeface="Itau Display "/>
                <a:ea typeface="+mn-ea"/>
                <a:cs typeface="Itau Display Heavy" panose="020B0803020204020204" pitchFamily="34" charset="0"/>
              </a:rPr>
              <a:t>Até aqui passamos por diversas etapas na idealização dessa jornada...</a:t>
            </a:r>
          </a:p>
        </p:txBody>
      </p:sp>
      <p:sp>
        <p:nvSpPr>
          <p:cNvPr id="26" name="Retângulo: Cantos Arredondados 25">
            <a:extLst>
              <a:ext uri="{FF2B5EF4-FFF2-40B4-BE49-F238E27FC236}">
                <a16:creationId xmlns:a16="http://schemas.microsoft.com/office/drawing/2014/main" id="{B94D7A17-BA24-EABD-1EE9-6A82394ED9E5}"/>
              </a:ext>
            </a:extLst>
          </p:cNvPr>
          <p:cNvSpPr/>
          <p:nvPr/>
        </p:nvSpPr>
        <p:spPr>
          <a:xfrm rot="2700000">
            <a:off x="105778" y="133800"/>
            <a:ext cx="364061" cy="364061"/>
          </a:xfrm>
          <a:prstGeom prst="roundRect">
            <a:avLst>
              <a:gd name="adj" fmla="val 29018"/>
            </a:avLst>
          </a:prstGeom>
          <a:solidFill>
            <a:srgbClr val="FF62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tau Display Pro" panose="020B0503020204020204" pitchFamily="34" charset="0"/>
              <a:ea typeface="+mn-ea"/>
              <a:cs typeface="Itau Display Pro" panose="020B0503020204020204" pitchFamily="34" charset="0"/>
            </a:endParaRPr>
          </a:p>
        </p:txBody>
      </p:sp>
      <p:sp>
        <p:nvSpPr>
          <p:cNvPr id="58" name="Retângulo: Cantos Arredondados 57">
            <a:extLst>
              <a:ext uri="{FF2B5EF4-FFF2-40B4-BE49-F238E27FC236}">
                <a16:creationId xmlns:a16="http://schemas.microsoft.com/office/drawing/2014/main" id="{85FEE2B8-6C27-D0C4-482F-054AF6F7F06B}"/>
              </a:ext>
            </a:extLst>
          </p:cNvPr>
          <p:cNvSpPr/>
          <p:nvPr/>
        </p:nvSpPr>
        <p:spPr>
          <a:xfrm>
            <a:off x="162234" y="3500949"/>
            <a:ext cx="5762316" cy="3119676"/>
          </a:xfrm>
          <a:prstGeom prst="roundRect">
            <a:avLst>
              <a:gd name="adj" fmla="val 7743"/>
            </a:avLst>
          </a:prstGeom>
          <a:solidFill>
            <a:srgbClr val="F2F2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9" name="Retângulo 58">
            <a:extLst>
              <a:ext uri="{FF2B5EF4-FFF2-40B4-BE49-F238E27FC236}">
                <a16:creationId xmlns:a16="http://schemas.microsoft.com/office/drawing/2014/main" id="{9E15239D-5CA8-CC88-7ED4-5B21845FE308}"/>
              </a:ext>
            </a:extLst>
          </p:cNvPr>
          <p:cNvSpPr/>
          <p:nvPr/>
        </p:nvSpPr>
        <p:spPr>
          <a:xfrm>
            <a:off x="-1" y="972480"/>
            <a:ext cx="12191998" cy="226800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25400" cap="flat">
            <a:noFill/>
            <a:prstDash val="solid"/>
            <a:round/>
          </a:ln>
          <a:effectLst/>
          <a:sp3d/>
        </p:spPr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l" defTabSz="2438337" rtl="0" eaLnBrk="1" fontAlgn="auto" latinLnBrk="0" hangingPunct="0">
              <a:lnSpc>
                <a:spcPct val="90000"/>
              </a:lnSpc>
              <a:spcBef>
                <a:spcPts val="4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  <a:sym typeface="Helvetica Neue"/>
            </a:endParaRPr>
          </a:p>
        </p:txBody>
      </p:sp>
      <p:sp>
        <p:nvSpPr>
          <p:cNvPr id="60" name="TextBox 12">
            <a:extLst>
              <a:ext uri="{FF2B5EF4-FFF2-40B4-BE49-F238E27FC236}">
                <a16:creationId xmlns:a16="http://schemas.microsoft.com/office/drawing/2014/main" id="{4A0FAEC2-4834-BDD5-64D5-911379605225}"/>
              </a:ext>
            </a:extLst>
          </p:cNvPr>
          <p:cNvSpPr txBox="1"/>
          <p:nvPr/>
        </p:nvSpPr>
        <p:spPr>
          <a:xfrm>
            <a:off x="2403277" y="635596"/>
            <a:ext cx="1851311" cy="2215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 defTabSz="2438337">
              <a:lnSpc>
                <a:spcPct val="90000"/>
              </a:lnSpc>
              <a:spcBef>
                <a:spcPts val="4500"/>
              </a:spcBef>
              <a:defRPr sz="2400" spc="0">
                <a:solidFill>
                  <a:srgbClr val="000000"/>
                </a:solidFill>
                <a:latin typeface="Itau Display Pro Regular"/>
                <a:ea typeface="Itau Display Pro Regular"/>
                <a:cs typeface="Itau Display Pro Regular"/>
                <a:sym typeface="Itau Display Pro Regular"/>
              </a:defRPr>
            </a:lvl1pPr>
          </a:lstStyle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Métricas de sucesso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tau Display Pro Regular"/>
              <a:cs typeface="Itau Display Pro Regular"/>
              <a:sym typeface="Itau Display Pro Regular"/>
            </a:endParaRPr>
          </a:p>
        </p:txBody>
      </p:sp>
      <p:sp>
        <p:nvSpPr>
          <p:cNvPr id="61" name="TextBox 12">
            <a:extLst>
              <a:ext uri="{FF2B5EF4-FFF2-40B4-BE49-F238E27FC236}">
                <a16:creationId xmlns:a16="http://schemas.microsoft.com/office/drawing/2014/main" id="{FAAACB18-1B00-8C90-66E3-568AB17DBE61}"/>
              </a:ext>
            </a:extLst>
          </p:cNvPr>
          <p:cNvSpPr txBox="1"/>
          <p:nvPr/>
        </p:nvSpPr>
        <p:spPr>
          <a:xfrm>
            <a:off x="409268" y="1785621"/>
            <a:ext cx="1425479" cy="4431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 defTabSz="2438337">
              <a:lnSpc>
                <a:spcPct val="90000"/>
              </a:lnSpc>
              <a:spcBef>
                <a:spcPts val="4500"/>
              </a:spcBef>
              <a:defRPr sz="2400" spc="0">
                <a:solidFill>
                  <a:srgbClr val="000000"/>
                </a:solidFill>
                <a:latin typeface="Itau Display Pro Regular"/>
                <a:ea typeface="Itau Display Pro Regular"/>
                <a:cs typeface="Itau Display Pro Regular"/>
                <a:sym typeface="Itau Display Pro Regular"/>
              </a:defRPr>
            </a:lvl1pPr>
          </a:lstStyle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Modernização das jornadas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44546A">
                  <a:lumMod val="50000"/>
                </a:srgbClr>
              </a:solidFill>
              <a:effectLst/>
              <a:uLnTx/>
              <a:uFillTx/>
              <a:latin typeface="Itau Display Pro Regular"/>
              <a:cs typeface="Itau Display Pro Regular"/>
              <a:sym typeface="Itau Display Pro Regular"/>
            </a:endParaRPr>
          </a:p>
        </p:txBody>
      </p:sp>
      <p:sp>
        <p:nvSpPr>
          <p:cNvPr id="62" name="TextBox 12">
            <a:extLst>
              <a:ext uri="{FF2B5EF4-FFF2-40B4-BE49-F238E27FC236}">
                <a16:creationId xmlns:a16="http://schemas.microsoft.com/office/drawing/2014/main" id="{E1BA1F04-2E51-1EAF-DE6B-0D3DBB19F03E}"/>
              </a:ext>
            </a:extLst>
          </p:cNvPr>
          <p:cNvSpPr txBox="1"/>
          <p:nvPr/>
        </p:nvSpPr>
        <p:spPr>
          <a:xfrm>
            <a:off x="1356868" y="586006"/>
            <a:ext cx="1152000" cy="3323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defTabSz="2438337">
              <a:lnSpc>
                <a:spcPct val="90000"/>
              </a:lnSpc>
              <a:spcBef>
                <a:spcPts val="4500"/>
              </a:spcBef>
              <a:defRPr sz="2400" spc="0">
                <a:solidFill>
                  <a:srgbClr val="000000"/>
                </a:solidFill>
                <a:latin typeface="Itau Display Pro Regular"/>
                <a:ea typeface="Itau Display Pro Regular"/>
                <a:cs typeface="Itau Display Pro Regular"/>
                <a:sym typeface="Itau Display Pro Regular"/>
              </a:defRPr>
            </a:lvl1pPr>
          </a:lstStyle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0" cap="none" spc="0" normalizeH="0" baseline="0" noProof="0" dirty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# 3</a:t>
            </a:r>
            <a:endParaRPr kumimoji="0" sz="2400" b="1" i="0" u="none" strike="noStrike" kern="0" cap="none" spc="0" normalizeH="0" baseline="0" noProof="0" dirty="0">
              <a:ln>
                <a:noFill/>
              </a:ln>
              <a:solidFill>
                <a:srgbClr val="70AD47"/>
              </a:solidFill>
              <a:effectLst/>
              <a:uLnTx/>
              <a:uFillTx/>
              <a:latin typeface="Itau Display Pro Regular"/>
              <a:cs typeface="Itau Display Pro Regular"/>
              <a:sym typeface="Itau Display Pro Regular"/>
            </a:endParaRPr>
          </a:p>
        </p:txBody>
      </p:sp>
      <p:sp>
        <p:nvSpPr>
          <p:cNvPr id="63" name="TextBox 12">
            <a:extLst>
              <a:ext uri="{FF2B5EF4-FFF2-40B4-BE49-F238E27FC236}">
                <a16:creationId xmlns:a16="http://schemas.microsoft.com/office/drawing/2014/main" id="{6148205D-CD1A-9316-2D1A-5A00142AD86F}"/>
              </a:ext>
            </a:extLst>
          </p:cNvPr>
          <p:cNvSpPr txBox="1"/>
          <p:nvPr/>
        </p:nvSpPr>
        <p:spPr>
          <a:xfrm>
            <a:off x="2403277" y="1050957"/>
            <a:ext cx="2588773" cy="7101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 defTabSz="2438337">
              <a:lnSpc>
                <a:spcPct val="90000"/>
              </a:lnSpc>
              <a:spcBef>
                <a:spcPts val="4500"/>
              </a:spcBef>
              <a:defRPr sz="2400" spc="0">
                <a:solidFill>
                  <a:srgbClr val="000000"/>
                </a:solidFill>
                <a:latin typeface="Itau Display Pro Regular"/>
                <a:ea typeface="Itau Display Pro Regular"/>
                <a:cs typeface="Itau Display Pro Regular"/>
                <a:sym typeface="Itau Display Pro Regular"/>
              </a:defRPr>
            </a:lvl1pPr>
          </a:lstStyle>
          <a:p>
            <a:pPr marL="0" marR="0" lvl="0" indent="0" algn="l" defTabSz="1219169" rtl="0" eaLnBrk="1" fontAlgn="auto" latinLnBrk="0" hangingPunct="0">
              <a:lnSpc>
                <a:spcPct val="15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Quais indicadores acompanhar?</a:t>
            </a:r>
            <a:br>
              <a:rPr kumimoji="0" lang="pt-BR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</a:br>
            <a:r>
              <a:rPr kumimoji="0" lang="pt-B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_CSAT, LIKERT, CES;</a:t>
            </a:r>
            <a:br>
              <a:rPr kumimoji="0" lang="pt-B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</a:br>
            <a:r>
              <a:rPr kumimoji="0" lang="pt-B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_Tagueamento dos botões;</a:t>
            </a:r>
          </a:p>
        </p:txBody>
      </p:sp>
      <p:cxnSp>
        <p:nvCxnSpPr>
          <p:cNvPr id="192" name="Conector reto 191">
            <a:extLst>
              <a:ext uri="{FF2B5EF4-FFF2-40B4-BE49-F238E27FC236}">
                <a16:creationId xmlns:a16="http://schemas.microsoft.com/office/drawing/2014/main" id="{5408B5EA-DC29-0090-B81D-E4A8B522C2F0}"/>
              </a:ext>
            </a:extLst>
          </p:cNvPr>
          <p:cNvCxnSpPr>
            <a:cxnSpLocks/>
          </p:cNvCxnSpPr>
          <p:nvPr/>
        </p:nvCxnSpPr>
        <p:spPr>
          <a:xfrm>
            <a:off x="2264746" y="679724"/>
            <a:ext cx="0" cy="2560756"/>
          </a:xfrm>
          <a:prstGeom prst="line">
            <a:avLst/>
          </a:prstGeom>
          <a:noFill/>
          <a:ln w="3175" cap="flat">
            <a:solidFill>
              <a:srgbClr val="70AD47"/>
            </a:solidFill>
            <a:prstDash val="solid"/>
            <a:round/>
          </a:ln>
          <a:effectLst/>
          <a:sp3d/>
        </p:spPr>
      </p:cxnSp>
      <p:sp>
        <p:nvSpPr>
          <p:cNvPr id="193" name="Retângulo: Cantos Arredondados 13">
            <a:extLst>
              <a:ext uri="{FF2B5EF4-FFF2-40B4-BE49-F238E27FC236}">
                <a16:creationId xmlns:a16="http://schemas.microsoft.com/office/drawing/2014/main" id="{15D4E945-145B-69AF-0B6E-5FA2249EAC4A}"/>
              </a:ext>
            </a:extLst>
          </p:cNvPr>
          <p:cNvSpPr/>
          <p:nvPr/>
        </p:nvSpPr>
        <p:spPr>
          <a:xfrm>
            <a:off x="2231515" y="585050"/>
            <a:ext cx="92966" cy="322691"/>
          </a:xfrm>
          <a:prstGeom prst="roundRect">
            <a:avLst>
              <a:gd name="adj" fmla="val 50000"/>
            </a:avLst>
          </a:prstGeom>
          <a:solidFill>
            <a:srgbClr val="70AD47"/>
          </a:solidFill>
          <a:ln w="12700">
            <a:solidFill>
              <a:srgbClr val="70AD47"/>
            </a:solidFill>
            <a:miter lim="400000"/>
          </a:ln>
        </p:spPr>
        <p:txBody>
          <a:bodyPr lIns="25400" tIns="25400" rIns="25400" bIns="25400" anchor="ctr"/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600" spc="0">
                <a:solidFill>
                  <a:srgbClr val="00A2FF"/>
                </a:solidFill>
                <a:latin typeface="+mj-lt"/>
                <a:ea typeface="+mj-ea"/>
                <a:cs typeface="+mj-cs"/>
                <a:sym typeface="Helvetica Neue"/>
              </a:defRPr>
            </a:pPr>
            <a:endParaRPr kumimoji="0" sz="4800" b="0" i="0" u="none" strike="noStrike" kern="0" cap="none" spc="0" normalizeH="0" baseline="0" noProof="0">
              <a:ln>
                <a:noFill/>
              </a:ln>
              <a:solidFill>
                <a:srgbClr val="00A2FF"/>
              </a:solidFill>
              <a:effectLst/>
              <a:uLnTx/>
              <a:uFillTx/>
              <a:latin typeface="Helvetica Neue"/>
              <a:ea typeface="+mn-ea"/>
              <a:cs typeface="+mn-cs"/>
              <a:sym typeface="Helvetica Neue"/>
            </a:endParaRPr>
          </a:p>
        </p:txBody>
      </p:sp>
      <p:sp>
        <p:nvSpPr>
          <p:cNvPr id="194" name="TextBox 12">
            <a:extLst>
              <a:ext uri="{FF2B5EF4-FFF2-40B4-BE49-F238E27FC236}">
                <a16:creationId xmlns:a16="http://schemas.microsoft.com/office/drawing/2014/main" id="{75D2DC8A-5BDA-68AC-70EB-AF7D65F8F636}"/>
              </a:ext>
            </a:extLst>
          </p:cNvPr>
          <p:cNvSpPr txBox="1"/>
          <p:nvPr/>
        </p:nvSpPr>
        <p:spPr>
          <a:xfrm>
            <a:off x="460255" y="3591709"/>
            <a:ext cx="1152000" cy="2215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defTabSz="2438337">
              <a:lnSpc>
                <a:spcPct val="90000"/>
              </a:lnSpc>
              <a:spcBef>
                <a:spcPts val="4500"/>
              </a:spcBef>
              <a:defRPr sz="2400" spc="0">
                <a:solidFill>
                  <a:srgbClr val="000000"/>
                </a:solidFill>
                <a:latin typeface="Itau Display Pro Regular"/>
                <a:ea typeface="Itau Display Pro Regular"/>
                <a:cs typeface="Itau Display Pro Regular"/>
                <a:sym typeface="Itau Display Pro Regular"/>
              </a:defRPr>
            </a:lvl1pPr>
          </a:lstStyle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Métricas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tau Display Pro Regular"/>
              <a:cs typeface="Itau Display Pro Regular"/>
              <a:sym typeface="Itau Display Pro Regular"/>
            </a:endParaRPr>
          </a:p>
        </p:txBody>
      </p:sp>
      <p:sp>
        <p:nvSpPr>
          <p:cNvPr id="195" name="TextBox 25">
            <a:extLst>
              <a:ext uri="{FF2B5EF4-FFF2-40B4-BE49-F238E27FC236}">
                <a16:creationId xmlns:a16="http://schemas.microsoft.com/office/drawing/2014/main" id="{66412B5A-685A-0782-A987-F31897007AD0}"/>
              </a:ext>
            </a:extLst>
          </p:cNvPr>
          <p:cNvSpPr txBox="1"/>
          <p:nvPr/>
        </p:nvSpPr>
        <p:spPr>
          <a:xfrm>
            <a:off x="6522232" y="635596"/>
            <a:ext cx="3211343" cy="2215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 defTabSz="2438337">
              <a:lnSpc>
                <a:spcPct val="90000"/>
              </a:lnSpc>
              <a:spcBef>
                <a:spcPts val="4500"/>
              </a:spcBef>
              <a:defRPr sz="2400" spc="0">
                <a:solidFill>
                  <a:srgbClr val="000000"/>
                </a:solidFill>
                <a:latin typeface="Itau Display Pro Regular"/>
                <a:ea typeface="Itau Display Pro Regular"/>
                <a:cs typeface="Itau Display Pro Regular"/>
                <a:sym typeface="Itau Display Pro Regular"/>
              </a:defRPr>
            </a:lvl1pPr>
          </a:lstStyle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Implementação da jornada</a:t>
            </a:r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tau Display Pro Regular"/>
              <a:cs typeface="Itau Display Pro Regular"/>
              <a:sym typeface="Itau Display Pro Regular"/>
            </a:endParaRPr>
          </a:p>
        </p:txBody>
      </p:sp>
      <p:sp>
        <p:nvSpPr>
          <p:cNvPr id="196" name="Retângulo: Cantos Arredondados 15">
            <a:extLst>
              <a:ext uri="{FF2B5EF4-FFF2-40B4-BE49-F238E27FC236}">
                <a16:creationId xmlns:a16="http://schemas.microsoft.com/office/drawing/2014/main" id="{A50FEE02-14E0-86C2-C3A2-5A0B28D588DC}"/>
              </a:ext>
            </a:extLst>
          </p:cNvPr>
          <p:cNvSpPr/>
          <p:nvPr/>
        </p:nvSpPr>
        <p:spPr>
          <a:xfrm>
            <a:off x="6314717" y="585050"/>
            <a:ext cx="92966" cy="322691"/>
          </a:xfrm>
          <a:prstGeom prst="roundRect">
            <a:avLst>
              <a:gd name="adj" fmla="val 50000"/>
            </a:avLst>
          </a:prstGeom>
          <a:solidFill>
            <a:srgbClr val="FFCD06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600" spc="0">
                <a:solidFill>
                  <a:srgbClr val="00A2FF"/>
                </a:solidFill>
                <a:latin typeface="+mj-lt"/>
                <a:ea typeface="+mj-ea"/>
                <a:cs typeface="+mj-cs"/>
                <a:sym typeface="Helvetica Neue"/>
              </a:defRPr>
            </a:pPr>
            <a:endParaRPr kumimoji="0" sz="4800" b="1" i="0" u="none" strike="noStrike" kern="0" cap="none" spc="0" normalizeH="0" baseline="0" noProof="0">
              <a:ln>
                <a:noFill/>
              </a:ln>
              <a:solidFill>
                <a:srgbClr val="00A2FF"/>
              </a:solidFill>
              <a:effectLst/>
              <a:uLnTx/>
              <a:uFillTx/>
              <a:latin typeface="Helvetica Neue"/>
              <a:ea typeface="+mn-ea"/>
              <a:cs typeface="+mn-cs"/>
              <a:sym typeface="Helvetica Neue"/>
            </a:endParaRPr>
          </a:p>
        </p:txBody>
      </p:sp>
      <p:sp>
        <p:nvSpPr>
          <p:cNvPr id="197" name="TextBox 12">
            <a:extLst>
              <a:ext uri="{FF2B5EF4-FFF2-40B4-BE49-F238E27FC236}">
                <a16:creationId xmlns:a16="http://schemas.microsoft.com/office/drawing/2014/main" id="{53DBBBAB-F69E-809F-0FDF-2F83FFE44748}"/>
              </a:ext>
            </a:extLst>
          </p:cNvPr>
          <p:cNvSpPr txBox="1"/>
          <p:nvPr/>
        </p:nvSpPr>
        <p:spPr>
          <a:xfrm>
            <a:off x="6522232" y="1009706"/>
            <a:ext cx="3910045" cy="9525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 defTabSz="2438337">
              <a:lnSpc>
                <a:spcPct val="90000"/>
              </a:lnSpc>
              <a:spcBef>
                <a:spcPts val="4500"/>
              </a:spcBef>
              <a:defRPr sz="2400" spc="0">
                <a:solidFill>
                  <a:srgbClr val="000000"/>
                </a:solidFill>
                <a:latin typeface="Itau Display Pro Regular"/>
                <a:ea typeface="Itau Display Pro Regular"/>
                <a:cs typeface="Itau Display Pro Regular"/>
                <a:sym typeface="Itau Display Pro Regular"/>
              </a:defRPr>
            </a:lvl1pPr>
          </a:lstStyle>
          <a:p>
            <a:pPr marL="0" marR="0" lvl="0" indent="0" algn="l" defTabSz="1219169" rtl="0" eaLnBrk="1" fontAlgn="auto" latinLnBrk="0" hangingPunct="0">
              <a:lnSpc>
                <a:spcPct val="15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Checklist 2.0</a:t>
            </a:r>
            <a:br>
              <a:rPr kumimoji="0" lang="pt-BR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</a:br>
            <a:r>
              <a:rPr kumimoji="0" lang="pt-B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_cadastro do “meus documentos” no mapeamento de jornadas;</a:t>
            </a:r>
            <a:br>
              <a:rPr kumimoji="0" lang="pt-B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</a:br>
            <a:r>
              <a:rPr kumimoji="0" lang="pt-B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_realização dos critérios de aderência da jornada Meus documentos;</a:t>
            </a:r>
            <a:br>
              <a:rPr kumimoji="0" lang="pt-B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</a:br>
            <a:r>
              <a:rPr kumimoji="0" lang="pt-B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_Pesquisa SUM</a:t>
            </a:r>
          </a:p>
        </p:txBody>
      </p:sp>
      <p:sp>
        <p:nvSpPr>
          <p:cNvPr id="198" name="TextBox 12">
            <a:extLst>
              <a:ext uri="{FF2B5EF4-FFF2-40B4-BE49-F238E27FC236}">
                <a16:creationId xmlns:a16="http://schemas.microsoft.com/office/drawing/2014/main" id="{A8EE78DF-2304-1BF7-C5EA-99565A7C9C01}"/>
              </a:ext>
            </a:extLst>
          </p:cNvPr>
          <p:cNvSpPr txBox="1"/>
          <p:nvPr/>
        </p:nvSpPr>
        <p:spPr>
          <a:xfrm>
            <a:off x="5402640" y="599836"/>
            <a:ext cx="1152000" cy="3323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defTabSz="2438337">
              <a:lnSpc>
                <a:spcPct val="90000"/>
              </a:lnSpc>
              <a:spcBef>
                <a:spcPts val="4500"/>
              </a:spcBef>
              <a:defRPr sz="2400" spc="0">
                <a:solidFill>
                  <a:srgbClr val="000000"/>
                </a:solidFill>
                <a:latin typeface="Itau Display Pro Regular"/>
                <a:ea typeface="Itau Display Pro Regular"/>
                <a:cs typeface="Itau Display Pro Regular"/>
                <a:sym typeface="Itau Display Pro Regular"/>
              </a:defRPr>
            </a:lvl1pPr>
          </a:lstStyle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0" cap="none" spc="0" normalizeH="0" baseline="0" noProof="0" dirty="0">
                <a:ln>
                  <a:noFill/>
                </a:ln>
                <a:solidFill>
                  <a:srgbClr val="FFCD06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# 4</a:t>
            </a:r>
            <a:endParaRPr kumimoji="0" sz="2400" b="1" i="0" u="none" strike="noStrike" kern="0" cap="none" spc="0" normalizeH="0" baseline="0" noProof="0" dirty="0">
              <a:ln>
                <a:noFill/>
              </a:ln>
              <a:solidFill>
                <a:srgbClr val="FFCD06"/>
              </a:solidFill>
              <a:effectLst/>
              <a:uLnTx/>
              <a:uFillTx/>
              <a:latin typeface="Itau Display Pro Regular"/>
              <a:cs typeface="Itau Display Pro Regular"/>
              <a:sym typeface="Itau Display Pro Regular"/>
            </a:endParaRPr>
          </a:p>
        </p:txBody>
      </p:sp>
      <p:sp>
        <p:nvSpPr>
          <p:cNvPr id="199" name="TextBox 12">
            <a:extLst>
              <a:ext uri="{FF2B5EF4-FFF2-40B4-BE49-F238E27FC236}">
                <a16:creationId xmlns:a16="http://schemas.microsoft.com/office/drawing/2014/main" id="{9A3413AB-5E56-B620-BEF6-7E731D7EDB9C}"/>
              </a:ext>
            </a:extLst>
          </p:cNvPr>
          <p:cNvSpPr txBox="1"/>
          <p:nvPr/>
        </p:nvSpPr>
        <p:spPr>
          <a:xfrm>
            <a:off x="6522228" y="2220664"/>
            <a:ext cx="3211350" cy="7101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 defTabSz="2438337">
              <a:lnSpc>
                <a:spcPct val="90000"/>
              </a:lnSpc>
              <a:spcBef>
                <a:spcPts val="4500"/>
              </a:spcBef>
              <a:defRPr sz="2400" spc="0">
                <a:solidFill>
                  <a:srgbClr val="000000"/>
                </a:solidFill>
                <a:latin typeface="Itau Display Pro Regular"/>
                <a:ea typeface="Itau Display Pro Regular"/>
                <a:cs typeface="Itau Display Pro Regular"/>
                <a:sym typeface="Itau Display Pro Regular"/>
              </a:defRPr>
            </a:lvl1pPr>
          </a:lstStyle>
          <a:p>
            <a:pPr marL="0" marR="0" lvl="0" indent="0" algn="l" defTabSz="1219169" rtl="0" eaLnBrk="1" fontAlgn="auto" latinLnBrk="0" hangingPunct="0">
              <a:lnSpc>
                <a:spcPct val="15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Plano de </a:t>
            </a:r>
            <a:r>
              <a:rPr kumimoji="0" lang="pt-BR" sz="11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change</a:t>
            </a:r>
            <a:br>
              <a:rPr kumimoji="0" lang="pt-B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</a:br>
            <a:r>
              <a:rPr kumimoji="0" lang="pt-B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_alinhamento para piloto do “meus documentos”;</a:t>
            </a:r>
            <a:br>
              <a:rPr kumimoji="0" lang="pt-B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</a:br>
            <a:r>
              <a:rPr kumimoji="0" lang="pt-B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_plano de </a:t>
            </a:r>
            <a:r>
              <a:rPr kumimoji="0" lang="pt-BR" sz="105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change</a:t>
            </a:r>
            <a:r>
              <a:rPr kumimoji="0" lang="pt-B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;</a:t>
            </a:r>
          </a:p>
        </p:txBody>
      </p:sp>
      <p:cxnSp>
        <p:nvCxnSpPr>
          <p:cNvPr id="200" name="Conector reto 199">
            <a:extLst>
              <a:ext uri="{FF2B5EF4-FFF2-40B4-BE49-F238E27FC236}">
                <a16:creationId xmlns:a16="http://schemas.microsoft.com/office/drawing/2014/main" id="{1CB6FA25-AE18-DB35-3104-689089216E3D}"/>
              </a:ext>
            </a:extLst>
          </p:cNvPr>
          <p:cNvCxnSpPr>
            <a:cxnSpLocks/>
          </p:cNvCxnSpPr>
          <p:nvPr/>
        </p:nvCxnSpPr>
        <p:spPr>
          <a:xfrm>
            <a:off x="6351813" y="679724"/>
            <a:ext cx="0" cy="2560756"/>
          </a:xfrm>
          <a:prstGeom prst="line">
            <a:avLst/>
          </a:prstGeom>
          <a:noFill/>
          <a:ln w="3175" cap="flat">
            <a:solidFill>
              <a:srgbClr val="FFC000"/>
            </a:solidFill>
            <a:prstDash val="solid"/>
            <a:round/>
          </a:ln>
          <a:effectLst/>
          <a:sp3d/>
        </p:spPr>
      </p:cxnSp>
      <p:pic>
        <p:nvPicPr>
          <p:cNvPr id="201" name="Gráfico 200" descr="Caminhão de lixo com preenchimento sólido">
            <a:extLst>
              <a:ext uri="{FF2B5EF4-FFF2-40B4-BE49-F238E27FC236}">
                <a16:creationId xmlns:a16="http://schemas.microsoft.com/office/drawing/2014/main" id="{5318402E-D02A-69B2-8635-7C1838948B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880668" y="573994"/>
            <a:ext cx="332399" cy="332399"/>
          </a:xfrm>
          <a:prstGeom prst="rect">
            <a:avLst/>
          </a:prstGeom>
        </p:spPr>
      </p:pic>
      <p:pic>
        <p:nvPicPr>
          <p:cNvPr id="202" name="Imagem 201">
            <a:extLst>
              <a:ext uri="{FF2B5EF4-FFF2-40B4-BE49-F238E27FC236}">
                <a16:creationId xmlns:a16="http://schemas.microsoft.com/office/drawing/2014/main" id="{98EDBF74-0AD1-5AFB-7507-CBEFC6706D3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4575" y="4150050"/>
            <a:ext cx="2860343" cy="1800563"/>
          </a:xfrm>
          <a:prstGeom prst="rect">
            <a:avLst/>
          </a:prstGeom>
        </p:spPr>
      </p:pic>
      <p:pic>
        <p:nvPicPr>
          <p:cNvPr id="203" name="Imagem 202">
            <a:extLst>
              <a:ext uri="{FF2B5EF4-FFF2-40B4-BE49-F238E27FC236}">
                <a16:creationId xmlns:a16="http://schemas.microsoft.com/office/drawing/2014/main" id="{4FC03F35-E0F0-0182-ADEB-52BF2285236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692509" y="5050332"/>
            <a:ext cx="2001832" cy="1418441"/>
          </a:xfrm>
          <a:prstGeom prst="rect">
            <a:avLst/>
          </a:prstGeom>
        </p:spPr>
      </p:pic>
      <p:pic>
        <p:nvPicPr>
          <p:cNvPr id="204" name="Imagem 203">
            <a:extLst>
              <a:ext uri="{FF2B5EF4-FFF2-40B4-BE49-F238E27FC236}">
                <a16:creationId xmlns:a16="http://schemas.microsoft.com/office/drawing/2014/main" id="{215135C0-1DB6-862D-2C63-A4B084097C5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363202" y="3688724"/>
            <a:ext cx="1330223" cy="1361608"/>
          </a:xfrm>
          <a:prstGeom prst="rect">
            <a:avLst/>
          </a:prstGeom>
        </p:spPr>
      </p:pic>
      <p:sp>
        <p:nvSpPr>
          <p:cNvPr id="205" name="Retângulo: Cantos Arredondados 204">
            <a:extLst>
              <a:ext uri="{FF2B5EF4-FFF2-40B4-BE49-F238E27FC236}">
                <a16:creationId xmlns:a16="http://schemas.microsoft.com/office/drawing/2014/main" id="{00121BA9-A52F-27A4-B0D8-51FC43D61799}"/>
              </a:ext>
            </a:extLst>
          </p:cNvPr>
          <p:cNvSpPr/>
          <p:nvPr/>
        </p:nvSpPr>
        <p:spPr>
          <a:xfrm>
            <a:off x="6222571" y="3500949"/>
            <a:ext cx="5762316" cy="3119676"/>
          </a:xfrm>
          <a:prstGeom prst="roundRect">
            <a:avLst>
              <a:gd name="adj" fmla="val 7743"/>
            </a:avLst>
          </a:prstGeom>
          <a:solidFill>
            <a:srgbClr val="F2F2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6" name="TextBox 12">
            <a:extLst>
              <a:ext uri="{FF2B5EF4-FFF2-40B4-BE49-F238E27FC236}">
                <a16:creationId xmlns:a16="http://schemas.microsoft.com/office/drawing/2014/main" id="{2F57BF8B-6FF4-8E36-C4CE-C66C59217C4A}"/>
              </a:ext>
            </a:extLst>
          </p:cNvPr>
          <p:cNvSpPr txBox="1"/>
          <p:nvPr/>
        </p:nvSpPr>
        <p:spPr>
          <a:xfrm>
            <a:off x="6520592" y="3591709"/>
            <a:ext cx="1651858" cy="2215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 defTabSz="2438337">
              <a:lnSpc>
                <a:spcPct val="90000"/>
              </a:lnSpc>
              <a:spcBef>
                <a:spcPts val="4500"/>
              </a:spcBef>
              <a:defRPr sz="2400" spc="0">
                <a:solidFill>
                  <a:srgbClr val="000000"/>
                </a:solidFill>
                <a:latin typeface="Itau Display Pro Regular"/>
                <a:ea typeface="Itau Display Pro Regular"/>
                <a:cs typeface="Itau Display Pro Regular"/>
                <a:sym typeface="Itau Display Pro Regular"/>
              </a:defRPr>
            </a:lvl1pPr>
          </a:lstStyle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Plano de </a:t>
            </a:r>
            <a:r>
              <a:rPr kumimoji="0" lang="pt-BR" sz="16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 Pro Regular"/>
                <a:cs typeface="Itau Display Pro Regular"/>
                <a:sym typeface="Itau Display Pro Regular"/>
              </a:rPr>
              <a:t>change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tau Display Pro Regular"/>
              <a:cs typeface="Itau Display Pro Regular"/>
              <a:sym typeface="Itau Display Pro Regular"/>
            </a:endParaRPr>
          </a:p>
        </p:txBody>
      </p:sp>
      <p:pic>
        <p:nvPicPr>
          <p:cNvPr id="207" name="Picture 2">
            <a:extLst>
              <a:ext uri="{FF2B5EF4-FFF2-40B4-BE49-F238E27FC236}">
                <a16:creationId xmlns:a16="http://schemas.microsoft.com/office/drawing/2014/main" id="{217E1321-C553-934B-E3F2-BF09D2B4E9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5429" y="3921955"/>
            <a:ext cx="4424968" cy="2457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5037046"/>
      </p:ext>
    </p:extLst>
  </p:cSld>
  <p:clrMapOvr>
    <a:masterClrMapping/>
  </p:clrMapOvr>
  <p:transition spd="slow">
    <p:push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>
            <a:extLst>
              <a:ext uri="{FF2B5EF4-FFF2-40B4-BE49-F238E27FC236}">
                <a16:creationId xmlns:a16="http://schemas.microsoft.com/office/drawing/2014/main" id="{4817FFF8-56C3-48A0-A5A0-0EB560AF8C8B}"/>
              </a:ext>
            </a:extLst>
          </p:cNvPr>
          <p:cNvSpPr/>
          <p:nvPr/>
        </p:nvSpPr>
        <p:spPr>
          <a:xfrm>
            <a:off x="0" y="3424845"/>
            <a:ext cx="12191999" cy="3433155"/>
          </a:xfrm>
          <a:prstGeom prst="rect">
            <a:avLst/>
          </a:prstGeom>
          <a:gradFill flip="none" rotWithShape="1">
            <a:gsLst>
              <a:gs pos="0">
                <a:srgbClr val="FF7500"/>
              </a:gs>
              <a:gs pos="100000">
                <a:srgbClr val="FD9D00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sp>
        <p:nvSpPr>
          <p:cNvPr id="9" name="Retângulo: Cantos Arredondados 8">
            <a:extLst>
              <a:ext uri="{FF2B5EF4-FFF2-40B4-BE49-F238E27FC236}">
                <a16:creationId xmlns:a16="http://schemas.microsoft.com/office/drawing/2014/main" id="{9A43ED12-9443-42C0-A3BD-8023E1438C8F}"/>
              </a:ext>
            </a:extLst>
          </p:cNvPr>
          <p:cNvSpPr/>
          <p:nvPr/>
        </p:nvSpPr>
        <p:spPr>
          <a:xfrm>
            <a:off x="456859" y="1137242"/>
            <a:ext cx="11218503" cy="5117263"/>
          </a:xfrm>
          <a:prstGeom prst="roundRect">
            <a:avLst>
              <a:gd name="adj" fmla="val 1698"/>
            </a:avLst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8CAF830D-B19B-42D5-8447-60DCBCDB6935}"/>
              </a:ext>
            </a:extLst>
          </p:cNvPr>
          <p:cNvSpPr txBox="1"/>
          <p:nvPr/>
        </p:nvSpPr>
        <p:spPr>
          <a:xfrm>
            <a:off x="336954" y="368356"/>
            <a:ext cx="6468824" cy="4347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pt-BR"/>
            </a:defPPr>
            <a:lvl1pPr defTabSz="914411">
              <a:lnSpc>
                <a:spcPct val="75000"/>
              </a:lnSpc>
              <a:spcBef>
                <a:spcPts val="0"/>
              </a:spcBef>
              <a:buNone/>
              <a:defRPr kumimoji="0" sz="2800" b="0" i="0" u="none" strike="noStrike" cap="none" spc="0" normalizeH="0" baseline="0">
                <a:ln>
                  <a:noFill/>
                </a:ln>
                <a:solidFill>
                  <a:srgbClr val="FE9600"/>
                </a:solidFill>
                <a:effectLst/>
                <a:uLnTx/>
                <a:uFillTx/>
                <a:latin typeface="Itau Display Heavy" panose="020B0803020204020204" pitchFamily="34" charset="0"/>
                <a:cs typeface="Itau Display Heavy" panose="020B0803020204020204" pitchFamily="34" charset="0"/>
              </a:defRPr>
            </a:lvl1pPr>
            <a:lvl2pPr marL="539756" indent="-182566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>
                <a:solidFill>
                  <a:schemeClr val="accent6"/>
                </a:solidFill>
              </a:defRPr>
            </a:lvl2pPr>
            <a:lvl3pPr marL="898536" indent="-184152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chemeClr val="accent6"/>
                </a:solidFill>
              </a:defRPr>
            </a:lvl3pPr>
            <a:lvl4pPr marL="1255729" indent="-184152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>
                <a:solidFill>
                  <a:schemeClr val="accent6"/>
                </a:solidFill>
              </a:defRPr>
            </a:lvl4pPr>
            <a:lvl5pPr marL="1612920" indent="-174628" defTabSz="91441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>
                <a:solidFill>
                  <a:schemeClr val="accent6"/>
                </a:solidFill>
              </a:defRPr>
            </a:lvl5pPr>
            <a:lvl6pPr marL="2514632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6pPr>
            <a:lvl7pPr marL="2971838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7pPr>
            <a:lvl8pPr marL="3429044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8pPr>
            <a:lvl9pPr marL="3886249" indent="-228604" defTabSz="91441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/>
            </a:lvl9pPr>
          </a:lstStyle>
          <a:p>
            <a:pPr marL="0" marR="0" lvl="0" indent="0" algn="l" defTabSz="914411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0" i="0" u="none" strike="noStrike" kern="1200" cap="none" spc="0" normalizeH="0" baseline="0" noProof="0">
                <a:ln>
                  <a:noFill/>
                </a:ln>
                <a:solidFill>
                  <a:srgbClr val="FE9600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</a:rPr>
              <a:t>_convertendo indicadores em soluções</a:t>
            </a:r>
          </a:p>
        </p:txBody>
      </p:sp>
      <p:cxnSp>
        <p:nvCxnSpPr>
          <p:cNvPr id="5" name="Conector reto 4">
            <a:extLst>
              <a:ext uri="{FF2B5EF4-FFF2-40B4-BE49-F238E27FC236}">
                <a16:creationId xmlns:a16="http://schemas.microsoft.com/office/drawing/2014/main" id="{B1C499A3-0044-40C5-B072-481444759EFA}"/>
              </a:ext>
            </a:extLst>
          </p:cNvPr>
          <p:cNvCxnSpPr>
            <a:cxnSpLocks/>
          </p:cNvCxnSpPr>
          <p:nvPr/>
        </p:nvCxnSpPr>
        <p:spPr>
          <a:xfrm>
            <a:off x="3416968" y="1662105"/>
            <a:ext cx="0" cy="4058653"/>
          </a:xfrm>
          <a:prstGeom prst="line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Agrupar 23">
            <a:extLst>
              <a:ext uri="{FF2B5EF4-FFF2-40B4-BE49-F238E27FC236}">
                <a16:creationId xmlns:a16="http://schemas.microsoft.com/office/drawing/2014/main" id="{D183C503-14C6-403A-AD0C-767971C420D8}"/>
              </a:ext>
            </a:extLst>
          </p:cNvPr>
          <p:cNvGrpSpPr/>
          <p:nvPr/>
        </p:nvGrpSpPr>
        <p:grpSpPr>
          <a:xfrm>
            <a:off x="1012239" y="2600339"/>
            <a:ext cx="1971593" cy="2388756"/>
            <a:chOff x="1012239" y="1603754"/>
            <a:chExt cx="1971593" cy="2388756"/>
          </a:xfrm>
        </p:grpSpPr>
        <p:sp>
          <p:nvSpPr>
            <p:cNvPr id="23" name="CaixaDeTexto 6">
              <a:extLst>
                <a:ext uri="{FF2B5EF4-FFF2-40B4-BE49-F238E27FC236}">
                  <a16:creationId xmlns:a16="http://schemas.microsoft.com/office/drawing/2014/main" id="{3A7DCABF-5DC3-4D25-A511-2BF91344DD47}"/>
                </a:ext>
              </a:extLst>
            </p:cNvPr>
            <p:cNvSpPr txBox="1"/>
            <p:nvPr/>
          </p:nvSpPr>
          <p:spPr>
            <a:xfrm>
              <a:off x="1012239" y="1984442"/>
              <a:ext cx="1971593" cy="200806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45718" tIns="45718" rIns="45718" bIns="45718" anchor="t" anchorCtr="0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000">
                  <a:solidFill>
                    <a:srgbClr val="605F60"/>
                  </a:solidFill>
                  <a:latin typeface="Itau Display Bold"/>
                  <a:ea typeface="Itau Display Bold"/>
                  <a:cs typeface="Itau Display Bold"/>
                  <a:sym typeface="Itau Display Bold"/>
                </a:defRPr>
              </a:pPr>
              <a:r>
                <a:rPr kumimoji="0" lang="pt-BR" sz="2400" b="0" i="0" u="none" strike="noStrike" kern="0" cap="none" spc="0" normalizeH="0" baseline="0" noProof="0">
                  <a:ln>
                    <a:noFill/>
                  </a:ln>
                  <a:solidFill>
                    <a:srgbClr val="FF7800"/>
                  </a:solidFill>
                  <a:effectLst/>
                  <a:uLnTx/>
                  <a:uFillTx/>
                  <a:latin typeface="Itau Display XBold" panose="020B0803020204020204" pitchFamily="34" charset="0"/>
                  <a:cs typeface="Itau Display XBold" panose="020B0803020204020204" pitchFamily="34" charset="0"/>
                  <a:sym typeface="Itau Display Bold"/>
                </a:rPr>
                <a:t>Ouvir sempre!</a:t>
              </a:r>
            </a:p>
            <a:p>
              <a:pPr marL="0" marR="0" lvl="0" indent="0" algn="l" defTabSz="914400" rtl="0" eaLnBrk="1" fontAlgn="auto" latinLnBrk="0" hangingPunct="0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000">
                  <a:solidFill>
                    <a:srgbClr val="605F60"/>
                  </a:solidFill>
                  <a:latin typeface="Itau Display Bold"/>
                  <a:ea typeface="Itau Display Bold"/>
                  <a:cs typeface="Itau Display Bold"/>
                  <a:sym typeface="Itau Display Bold"/>
                </a:defRPr>
              </a:pPr>
              <a:endParaRPr kumimoji="0" lang="pt-BR" sz="2000" b="0" i="0" u="none" strike="noStrike" kern="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 XBold" panose="020B0803020204020204" pitchFamily="34" charset="0"/>
                <a:cs typeface="Itau Display XBold" panose="020B0803020204020204" pitchFamily="34" charset="0"/>
                <a:sym typeface="Itau Display Bold"/>
              </a:endParaRPr>
            </a:p>
            <a:p>
              <a:pPr marL="0" marR="0" lvl="0" indent="0" algn="l" defTabSz="914400" rtl="0" eaLnBrk="1" fontAlgn="auto" latinLnBrk="0" hangingPunct="0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000">
                  <a:solidFill>
                    <a:srgbClr val="605F60"/>
                  </a:solidFill>
                  <a:latin typeface="Itau Display Bold"/>
                  <a:ea typeface="Itau Display Bold"/>
                  <a:cs typeface="Itau Display Bold"/>
                  <a:sym typeface="Itau Display Bold"/>
                </a:defRPr>
              </a:pPr>
              <a:r>
                <a:rPr kumimoji="0" lang="pt-BR" sz="1600" b="0" i="0" u="none" strike="noStrike" kern="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cs typeface="Itau Display" panose="020B0503020204020204" pitchFamily="34" charset="0"/>
                  <a:sym typeface="Itau Display Bold"/>
                </a:rPr>
                <a:t>Dores e necessidades do cliente captadas e  endereçadas nas nossas soluções</a:t>
              </a:r>
              <a:endParaRPr kumimoji="0" sz="1200" b="0" i="0" u="none" strike="noStrike" kern="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Text Light" panose="020B0403020204020203" pitchFamily="34" charset="0"/>
                <a:cs typeface="Itau Text Light" panose="020B0403020204020203" pitchFamily="34" charset="0"/>
                <a:sym typeface="Itau Display Bold"/>
              </a:endParaRPr>
            </a:p>
          </p:txBody>
        </p:sp>
        <p:grpSp>
          <p:nvGrpSpPr>
            <p:cNvPr id="32" name="Agrupar 31">
              <a:extLst>
                <a:ext uri="{FF2B5EF4-FFF2-40B4-BE49-F238E27FC236}">
                  <a16:creationId xmlns:a16="http://schemas.microsoft.com/office/drawing/2014/main" id="{0AB0C793-0FAD-4D0B-AC7B-B1F5A7324B04}"/>
                </a:ext>
              </a:extLst>
            </p:cNvPr>
            <p:cNvGrpSpPr/>
            <p:nvPr/>
          </p:nvGrpSpPr>
          <p:grpSpPr>
            <a:xfrm>
              <a:off x="1050948" y="1603754"/>
              <a:ext cx="438150" cy="374593"/>
              <a:chOff x="3617684" y="7475165"/>
              <a:chExt cx="438150" cy="374593"/>
            </a:xfrm>
          </p:grpSpPr>
          <p:sp>
            <p:nvSpPr>
              <p:cNvPr id="33" name="Forma Livre: Forma 32">
                <a:extLst>
                  <a:ext uri="{FF2B5EF4-FFF2-40B4-BE49-F238E27FC236}">
                    <a16:creationId xmlns:a16="http://schemas.microsoft.com/office/drawing/2014/main" id="{68D06FB6-0EFD-4F38-BB44-DDB7B4B7F0C5}"/>
                  </a:ext>
                </a:extLst>
              </p:cNvPr>
              <p:cNvSpPr/>
              <p:nvPr/>
            </p:nvSpPr>
            <p:spPr>
              <a:xfrm>
                <a:off x="3881527" y="7602775"/>
                <a:ext cx="95250" cy="38100"/>
              </a:xfrm>
              <a:custGeom>
                <a:avLst/>
                <a:gdLst>
                  <a:gd name="connsiteX0" fmla="*/ 98107 w 95250"/>
                  <a:gd name="connsiteY0" fmla="*/ 43910 h 38100"/>
                  <a:gd name="connsiteX1" fmla="*/ 85534 w 95250"/>
                  <a:gd name="connsiteY1" fmla="*/ 43910 h 38100"/>
                  <a:gd name="connsiteX2" fmla="*/ 0 w 95250"/>
                  <a:gd name="connsiteY2" fmla="*/ 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5250" h="38100">
                    <a:moveTo>
                      <a:pt x="98107" y="43910"/>
                    </a:moveTo>
                    <a:lnTo>
                      <a:pt x="85534" y="43910"/>
                    </a:lnTo>
                    <a:cubicBezTo>
                      <a:pt x="54292" y="43910"/>
                      <a:pt x="0" y="0"/>
                      <a:pt x="0" y="0"/>
                    </a:cubicBezTo>
                  </a:path>
                </a:pathLst>
              </a:custGeom>
              <a:noFill/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34" name="Forma Livre: Forma 33">
                <a:extLst>
                  <a:ext uri="{FF2B5EF4-FFF2-40B4-BE49-F238E27FC236}">
                    <a16:creationId xmlns:a16="http://schemas.microsoft.com/office/drawing/2014/main" id="{B80E745E-4DDA-4FF2-8B32-29A71232377F}"/>
                  </a:ext>
                </a:extLst>
              </p:cNvPr>
              <p:cNvSpPr/>
              <p:nvPr/>
            </p:nvSpPr>
            <p:spPr>
              <a:xfrm>
                <a:off x="3617684" y="7581820"/>
                <a:ext cx="209550" cy="209550"/>
              </a:xfrm>
              <a:custGeom>
                <a:avLst/>
                <a:gdLst>
                  <a:gd name="connsiteX0" fmla="*/ 60103 w 209550"/>
                  <a:gd name="connsiteY0" fmla="*/ 206788 h 209550"/>
                  <a:gd name="connsiteX1" fmla="*/ 0 w 209550"/>
                  <a:gd name="connsiteY1" fmla="*/ 191262 h 209550"/>
                  <a:gd name="connsiteX2" fmla="*/ 67723 w 209550"/>
                  <a:gd name="connsiteY2" fmla="*/ 74867 h 209550"/>
                  <a:gd name="connsiteX3" fmla="*/ 174593 w 209550"/>
                  <a:gd name="connsiteY3" fmla="*/ 0 h 209550"/>
                  <a:gd name="connsiteX4" fmla="*/ 214789 w 209550"/>
                  <a:gd name="connsiteY4" fmla="*/ 8858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9550" h="209550">
                    <a:moveTo>
                      <a:pt x="60103" y="206788"/>
                    </a:moveTo>
                    <a:cubicBezTo>
                      <a:pt x="60103" y="206788"/>
                      <a:pt x="22003" y="223838"/>
                      <a:pt x="0" y="191262"/>
                    </a:cubicBezTo>
                    <a:cubicBezTo>
                      <a:pt x="12478" y="170498"/>
                      <a:pt x="67723" y="74867"/>
                      <a:pt x="67723" y="74867"/>
                    </a:cubicBezTo>
                    <a:lnTo>
                      <a:pt x="174593" y="0"/>
                    </a:lnTo>
                    <a:lnTo>
                      <a:pt x="214789" y="8858"/>
                    </a:lnTo>
                  </a:path>
                </a:pathLst>
              </a:custGeom>
              <a:noFill/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35" name="Forma Livre: Forma 34">
                <a:extLst>
                  <a:ext uri="{FF2B5EF4-FFF2-40B4-BE49-F238E27FC236}">
                    <a16:creationId xmlns:a16="http://schemas.microsoft.com/office/drawing/2014/main" id="{06DF6C71-415D-4CC9-86CA-874AC7318A82}"/>
                  </a:ext>
                </a:extLst>
              </p:cNvPr>
              <p:cNvSpPr/>
              <p:nvPr/>
            </p:nvSpPr>
            <p:spPr>
              <a:xfrm>
                <a:off x="3627209" y="7792608"/>
                <a:ext cx="85725" cy="57150"/>
              </a:xfrm>
              <a:custGeom>
                <a:avLst/>
                <a:gdLst>
                  <a:gd name="connsiteX0" fmla="*/ 21241 w 85725"/>
                  <a:gd name="connsiteY0" fmla="*/ 0 h 57150"/>
                  <a:gd name="connsiteX1" fmla="*/ 0 w 85725"/>
                  <a:gd name="connsiteY1" fmla="*/ 63627 h 57150"/>
                  <a:gd name="connsiteX2" fmla="*/ 85725 w 85725"/>
                  <a:gd name="connsiteY2" fmla="*/ 20765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5725" h="57150">
                    <a:moveTo>
                      <a:pt x="21241" y="0"/>
                    </a:moveTo>
                    <a:lnTo>
                      <a:pt x="0" y="63627"/>
                    </a:lnTo>
                    <a:lnTo>
                      <a:pt x="85725" y="20765"/>
                    </a:lnTo>
                  </a:path>
                </a:pathLst>
              </a:custGeom>
              <a:noFill/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36" name="Forma Livre: Forma 35">
                <a:extLst>
                  <a:ext uri="{FF2B5EF4-FFF2-40B4-BE49-F238E27FC236}">
                    <a16:creationId xmlns:a16="http://schemas.microsoft.com/office/drawing/2014/main" id="{AAB7A398-B3ED-4C3D-B300-E096FF93E262}"/>
                  </a:ext>
                </a:extLst>
              </p:cNvPr>
              <p:cNvSpPr/>
              <p:nvPr/>
            </p:nvSpPr>
            <p:spPr>
              <a:xfrm>
                <a:off x="3699027" y="7475165"/>
                <a:ext cx="266700" cy="257175"/>
              </a:xfrm>
              <a:custGeom>
                <a:avLst/>
                <a:gdLst>
                  <a:gd name="connsiteX0" fmla="*/ 66866 w 266700"/>
                  <a:gd name="connsiteY0" fmla="*/ 256292 h 257175"/>
                  <a:gd name="connsiteX1" fmla="*/ 265843 w 266700"/>
                  <a:gd name="connsiteY1" fmla="*/ 34836 h 257175"/>
                  <a:gd name="connsiteX2" fmla="*/ 262795 w 266700"/>
                  <a:gd name="connsiteY2" fmla="*/ 4166 h 257175"/>
                  <a:gd name="connsiteX3" fmla="*/ 262795 w 266700"/>
                  <a:gd name="connsiteY3" fmla="*/ 4166 h 257175"/>
                  <a:gd name="connsiteX4" fmla="*/ 234982 w 266700"/>
                  <a:gd name="connsiteY4" fmla="*/ 6642 h 257175"/>
                  <a:gd name="connsiteX5" fmla="*/ 0 w 266700"/>
                  <a:gd name="connsiteY5" fmla="*/ 258959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66700" h="257175">
                    <a:moveTo>
                      <a:pt x="66866" y="256292"/>
                    </a:moveTo>
                    <a:lnTo>
                      <a:pt x="265843" y="34836"/>
                    </a:lnTo>
                    <a:cubicBezTo>
                      <a:pt x="274034" y="25692"/>
                      <a:pt x="272606" y="11500"/>
                      <a:pt x="262795" y="4166"/>
                    </a:cubicBezTo>
                    <a:lnTo>
                      <a:pt x="262795" y="4166"/>
                    </a:lnTo>
                    <a:cubicBezTo>
                      <a:pt x="254222" y="-2216"/>
                      <a:pt x="242221" y="-1168"/>
                      <a:pt x="234982" y="6642"/>
                    </a:cubicBezTo>
                    <a:lnTo>
                      <a:pt x="0" y="258959"/>
                    </a:lnTo>
                  </a:path>
                </a:pathLst>
              </a:custGeom>
              <a:noFill/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37" name="Forma Livre: Forma 36">
                <a:extLst>
                  <a:ext uri="{FF2B5EF4-FFF2-40B4-BE49-F238E27FC236}">
                    <a16:creationId xmlns:a16="http://schemas.microsoft.com/office/drawing/2014/main" id="{1505A6EB-28BC-4F80-8C94-275A12F94D85}"/>
                  </a:ext>
                </a:extLst>
              </p:cNvPr>
              <p:cNvSpPr/>
              <p:nvPr/>
            </p:nvSpPr>
            <p:spPr>
              <a:xfrm>
                <a:off x="3668833" y="7665735"/>
                <a:ext cx="304800" cy="161925"/>
              </a:xfrm>
              <a:custGeom>
                <a:avLst/>
                <a:gdLst>
                  <a:gd name="connsiteX0" fmla="*/ 158401 w 304800"/>
                  <a:gd name="connsiteY0" fmla="*/ 0 h 161925"/>
                  <a:gd name="connsiteX1" fmla="*/ 158401 w 304800"/>
                  <a:gd name="connsiteY1" fmla="*/ 32480 h 161925"/>
                  <a:gd name="connsiteX2" fmla="*/ 124206 w 304800"/>
                  <a:gd name="connsiteY2" fmla="*/ 66675 h 161925"/>
                  <a:gd name="connsiteX3" fmla="*/ 41529 w 304800"/>
                  <a:gd name="connsiteY3" fmla="*/ 66675 h 161925"/>
                  <a:gd name="connsiteX4" fmla="*/ 0 w 304800"/>
                  <a:gd name="connsiteY4" fmla="*/ 100013 h 161925"/>
                  <a:gd name="connsiteX5" fmla="*/ 33242 w 304800"/>
                  <a:gd name="connsiteY5" fmla="*/ 133350 h 161925"/>
                  <a:gd name="connsiteX6" fmla="*/ 74867 w 304800"/>
                  <a:gd name="connsiteY6" fmla="*/ 133350 h 161925"/>
                  <a:gd name="connsiteX7" fmla="*/ 124778 w 304800"/>
                  <a:gd name="connsiteY7" fmla="*/ 133350 h 161925"/>
                  <a:gd name="connsiteX8" fmla="*/ 199644 w 304800"/>
                  <a:gd name="connsiteY8" fmla="*/ 161925 h 161925"/>
                  <a:gd name="connsiteX9" fmla="*/ 232220 w 304800"/>
                  <a:gd name="connsiteY9" fmla="*/ 161925 h 161925"/>
                  <a:gd name="connsiteX10" fmla="*/ 266129 w 304800"/>
                  <a:gd name="connsiteY10" fmla="*/ 157163 h 161925"/>
                  <a:gd name="connsiteX11" fmla="*/ 266129 w 304800"/>
                  <a:gd name="connsiteY11" fmla="*/ 157163 h 161925"/>
                  <a:gd name="connsiteX12" fmla="*/ 300038 w 304800"/>
                  <a:gd name="connsiteY12" fmla="*/ 152400 h 161925"/>
                  <a:gd name="connsiteX13" fmla="*/ 310801 w 304800"/>
                  <a:gd name="connsiteY13" fmla="*/ 152400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04800" h="161925">
                    <a:moveTo>
                      <a:pt x="158401" y="0"/>
                    </a:moveTo>
                    <a:lnTo>
                      <a:pt x="158401" y="32480"/>
                    </a:lnTo>
                    <a:cubicBezTo>
                      <a:pt x="158401" y="51244"/>
                      <a:pt x="143066" y="66675"/>
                      <a:pt x="124206" y="66675"/>
                    </a:cubicBezTo>
                    <a:lnTo>
                      <a:pt x="41529" y="66675"/>
                    </a:lnTo>
                    <a:cubicBezTo>
                      <a:pt x="25432" y="66675"/>
                      <a:pt x="0" y="79248"/>
                      <a:pt x="0" y="100013"/>
                    </a:cubicBezTo>
                    <a:cubicBezTo>
                      <a:pt x="0" y="120777"/>
                      <a:pt x="17145" y="133350"/>
                      <a:pt x="33242" y="133350"/>
                    </a:cubicBezTo>
                    <a:lnTo>
                      <a:pt x="74867" y="133350"/>
                    </a:lnTo>
                    <a:lnTo>
                      <a:pt x="124778" y="133350"/>
                    </a:lnTo>
                    <a:cubicBezTo>
                      <a:pt x="146399" y="152400"/>
                      <a:pt x="172593" y="161925"/>
                      <a:pt x="199644" y="161925"/>
                    </a:cubicBezTo>
                    <a:lnTo>
                      <a:pt x="232220" y="161925"/>
                    </a:lnTo>
                    <a:cubicBezTo>
                      <a:pt x="243745" y="161925"/>
                      <a:pt x="255175" y="160306"/>
                      <a:pt x="266129" y="157163"/>
                    </a:cubicBezTo>
                    <a:lnTo>
                      <a:pt x="266129" y="157163"/>
                    </a:lnTo>
                    <a:cubicBezTo>
                      <a:pt x="277178" y="154019"/>
                      <a:pt x="288608" y="152400"/>
                      <a:pt x="300038" y="152400"/>
                    </a:cubicBezTo>
                    <a:lnTo>
                      <a:pt x="310801" y="152400"/>
                    </a:lnTo>
                  </a:path>
                </a:pathLst>
              </a:custGeom>
              <a:noFill/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38" name="Forma Livre: Forma 37">
                <a:extLst>
                  <a:ext uri="{FF2B5EF4-FFF2-40B4-BE49-F238E27FC236}">
                    <a16:creationId xmlns:a16="http://schemas.microsoft.com/office/drawing/2014/main" id="{4FCB0AF1-C020-465B-AB2B-3D10349E2F50}"/>
                  </a:ext>
                </a:extLst>
              </p:cNvPr>
              <p:cNvSpPr/>
              <p:nvPr/>
            </p:nvSpPr>
            <p:spPr>
              <a:xfrm>
                <a:off x="3760559" y="7808610"/>
                <a:ext cx="47625" cy="19050"/>
              </a:xfrm>
              <a:custGeom>
                <a:avLst/>
                <a:gdLst>
                  <a:gd name="connsiteX0" fmla="*/ 0 w 47625"/>
                  <a:gd name="connsiteY0" fmla="*/ 0 h 19050"/>
                  <a:gd name="connsiteX1" fmla="*/ 0 w 47625"/>
                  <a:gd name="connsiteY1" fmla="*/ 1905 h 19050"/>
                  <a:gd name="connsiteX2" fmla="*/ 28956 w 47625"/>
                  <a:gd name="connsiteY2" fmla="*/ 19050 h 19050"/>
                  <a:gd name="connsiteX3" fmla="*/ 28480 w 47625"/>
                  <a:gd name="connsiteY3" fmla="*/ 19050 h 19050"/>
                  <a:gd name="connsiteX4" fmla="*/ 54864 w 47625"/>
                  <a:gd name="connsiteY4" fmla="*/ 9525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625" h="19050">
                    <a:moveTo>
                      <a:pt x="0" y="0"/>
                    </a:moveTo>
                    <a:lnTo>
                      <a:pt x="0" y="1905"/>
                    </a:lnTo>
                    <a:cubicBezTo>
                      <a:pt x="0" y="13430"/>
                      <a:pt x="12859" y="19050"/>
                      <a:pt x="28956" y="19050"/>
                    </a:cubicBezTo>
                    <a:lnTo>
                      <a:pt x="28480" y="19050"/>
                    </a:lnTo>
                    <a:cubicBezTo>
                      <a:pt x="40481" y="19050"/>
                      <a:pt x="50482" y="15907"/>
                      <a:pt x="54864" y="9525"/>
                    </a:cubicBezTo>
                  </a:path>
                </a:pathLst>
              </a:custGeom>
              <a:noFill/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39" name="Forma Livre: Forma 38">
                <a:extLst>
                  <a:ext uri="{FF2B5EF4-FFF2-40B4-BE49-F238E27FC236}">
                    <a16:creationId xmlns:a16="http://schemas.microsoft.com/office/drawing/2014/main" id="{238D1EA3-B8E9-404E-84AF-EA12908B1210}"/>
                  </a:ext>
                </a:extLst>
              </p:cNvPr>
              <p:cNvSpPr/>
              <p:nvPr/>
            </p:nvSpPr>
            <p:spPr>
              <a:xfrm>
                <a:off x="3712934" y="7808610"/>
                <a:ext cx="47625" cy="19050"/>
              </a:xfrm>
              <a:custGeom>
                <a:avLst/>
                <a:gdLst>
                  <a:gd name="connsiteX0" fmla="*/ 0 w 47625"/>
                  <a:gd name="connsiteY0" fmla="*/ 0 h 19050"/>
                  <a:gd name="connsiteX1" fmla="*/ 0 w 47625"/>
                  <a:gd name="connsiteY1" fmla="*/ 1905 h 19050"/>
                  <a:gd name="connsiteX2" fmla="*/ 23622 w 47625"/>
                  <a:gd name="connsiteY2" fmla="*/ 19050 h 19050"/>
                  <a:gd name="connsiteX3" fmla="*/ 23146 w 47625"/>
                  <a:gd name="connsiteY3" fmla="*/ 19050 h 19050"/>
                  <a:gd name="connsiteX4" fmla="*/ 47625 w 47625"/>
                  <a:gd name="connsiteY4" fmla="*/ 1905 h 19050"/>
                  <a:gd name="connsiteX5" fmla="*/ 47625 w 47625"/>
                  <a:gd name="connsiteY5" fmla="*/ 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625" h="19050">
                    <a:moveTo>
                      <a:pt x="0" y="0"/>
                    </a:moveTo>
                    <a:lnTo>
                      <a:pt x="0" y="1905"/>
                    </a:lnTo>
                    <a:cubicBezTo>
                      <a:pt x="0" y="13430"/>
                      <a:pt x="9906" y="19050"/>
                      <a:pt x="23622" y="19050"/>
                    </a:cubicBezTo>
                    <a:lnTo>
                      <a:pt x="23146" y="19050"/>
                    </a:lnTo>
                    <a:cubicBezTo>
                      <a:pt x="36957" y="19050"/>
                      <a:pt x="47625" y="13335"/>
                      <a:pt x="47625" y="1905"/>
                    </a:cubicBezTo>
                    <a:lnTo>
                      <a:pt x="47625" y="0"/>
                    </a:lnTo>
                  </a:path>
                </a:pathLst>
              </a:custGeom>
              <a:noFill/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40" name="Forma Livre: Forma 39">
                <a:extLst>
                  <a:ext uri="{FF2B5EF4-FFF2-40B4-BE49-F238E27FC236}">
                    <a16:creationId xmlns:a16="http://schemas.microsoft.com/office/drawing/2014/main" id="{F0BC0E0C-D000-46C6-9388-0203AFBDAC24}"/>
                  </a:ext>
                </a:extLst>
              </p:cNvPr>
              <p:cNvSpPr/>
              <p:nvPr/>
            </p:nvSpPr>
            <p:spPr>
              <a:xfrm>
                <a:off x="3979634" y="7627568"/>
                <a:ext cx="76200" cy="200025"/>
              </a:xfrm>
              <a:custGeom>
                <a:avLst/>
                <a:gdLst>
                  <a:gd name="connsiteX0" fmla="*/ 76200 w 76200"/>
                  <a:gd name="connsiteY0" fmla="*/ 200025 h 200025"/>
                  <a:gd name="connsiteX1" fmla="*/ 0 w 76200"/>
                  <a:gd name="connsiteY1" fmla="*/ 200025 h 200025"/>
                  <a:gd name="connsiteX2" fmla="*/ 0 w 76200"/>
                  <a:gd name="connsiteY2" fmla="*/ 0 h 200025"/>
                  <a:gd name="connsiteX3" fmla="*/ 76200 w 76200"/>
                  <a:gd name="connsiteY3" fmla="*/ 0 h 200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200" h="200025">
                    <a:moveTo>
                      <a:pt x="76200" y="200025"/>
                    </a:moveTo>
                    <a:lnTo>
                      <a:pt x="0" y="200025"/>
                    </a:lnTo>
                    <a:lnTo>
                      <a:pt x="0" y="0"/>
                    </a:lnTo>
                    <a:lnTo>
                      <a:pt x="76200" y="0"/>
                    </a:lnTo>
                    <a:close/>
                  </a:path>
                </a:pathLst>
              </a:custGeom>
              <a:noFill/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41" name="Forma Livre: Forma 40">
                <a:extLst>
                  <a:ext uri="{FF2B5EF4-FFF2-40B4-BE49-F238E27FC236}">
                    <a16:creationId xmlns:a16="http://schemas.microsoft.com/office/drawing/2014/main" id="{044C314F-C936-4763-8082-08D534F45BB0}"/>
                  </a:ext>
                </a:extLst>
              </p:cNvPr>
              <p:cNvSpPr/>
              <p:nvPr/>
            </p:nvSpPr>
            <p:spPr>
              <a:xfrm>
                <a:off x="3904006" y="7513907"/>
                <a:ext cx="28575" cy="28575"/>
              </a:xfrm>
              <a:custGeom>
                <a:avLst/>
                <a:gdLst>
                  <a:gd name="connsiteX0" fmla="*/ 30194 w 28575"/>
                  <a:gd name="connsiteY0" fmla="*/ 30194 h 28575"/>
                  <a:gd name="connsiteX1" fmla="*/ 0 w 28575"/>
                  <a:gd name="connsiteY1" fmla="*/ 0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575" h="28575">
                    <a:moveTo>
                      <a:pt x="30194" y="30194"/>
                    </a:moveTo>
                    <a:lnTo>
                      <a:pt x="0" y="0"/>
                    </a:lnTo>
                  </a:path>
                </a:pathLst>
              </a:custGeom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42" name="Forma Livre: Forma 41">
                <a:extLst>
                  <a:ext uri="{FF2B5EF4-FFF2-40B4-BE49-F238E27FC236}">
                    <a16:creationId xmlns:a16="http://schemas.microsoft.com/office/drawing/2014/main" id="{F236F183-0643-41B3-8B5D-AC400F8E4B67}"/>
                  </a:ext>
                </a:extLst>
              </p:cNvPr>
              <p:cNvSpPr/>
              <p:nvPr/>
            </p:nvSpPr>
            <p:spPr>
              <a:xfrm>
                <a:off x="4017734" y="7770510"/>
                <a:ext cx="9525" cy="28575"/>
              </a:xfrm>
              <a:custGeom>
                <a:avLst/>
                <a:gdLst>
                  <a:gd name="connsiteX0" fmla="*/ 0 w 0"/>
                  <a:gd name="connsiteY0" fmla="*/ 0 h 28575"/>
                  <a:gd name="connsiteX1" fmla="*/ 0 w 0"/>
                  <a:gd name="connsiteY1" fmla="*/ 28575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8575">
                    <a:moveTo>
                      <a:pt x="0" y="0"/>
                    </a:moveTo>
                    <a:lnTo>
                      <a:pt x="0" y="28575"/>
                    </a:lnTo>
                  </a:path>
                </a:pathLst>
              </a:custGeom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</p:grpSp>
      </p:grpSp>
      <p:grpSp>
        <p:nvGrpSpPr>
          <p:cNvPr id="25" name="Agrupar 24">
            <a:extLst>
              <a:ext uri="{FF2B5EF4-FFF2-40B4-BE49-F238E27FC236}">
                <a16:creationId xmlns:a16="http://schemas.microsoft.com/office/drawing/2014/main" id="{C5AC882D-A6CA-4EA7-AE13-BDA5A19E05D4}"/>
              </a:ext>
            </a:extLst>
          </p:cNvPr>
          <p:cNvGrpSpPr>
            <a:grpSpLocks noChangeAspect="1"/>
          </p:cNvGrpSpPr>
          <p:nvPr/>
        </p:nvGrpSpPr>
        <p:grpSpPr>
          <a:xfrm>
            <a:off x="3874153" y="1777067"/>
            <a:ext cx="7269764" cy="3962564"/>
            <a:chOff x="4220663" y="2050887"/>
            <a:chExt cx="6479421" cy="3531766"/>
          </a:xfrm>
        </p:grpSpPr>
        <p:sp>
          <p:nvSpPr>
            <p:cNvPr id="26" name="CaixaDeTexto 6">
              <a:extLst>
                <a:ext uri="{FF2B5EF4-FFF2-40B4-BE49-F238E27FC236}">
                  <a16:creationId xmlns:a16="http://schemas.microsoft.com/office/drawing/2014/main" id="{EE36CAF9-0038-4DE3-89B2-B9A5FDBBDCD2}"/>
                </a:ext>
              </a:extLst>
            </p:cNvPr>
            <p:cNvSpPr txBox="1"/>
            <p:nvPr/>
          </p:nvSpPr>
          <p:spPr>
            <a:xfrm>
              <a:off x="4220663" y="2549925"/>
              <a:ext cx="1844456" cy="75876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45718" tIns="45718" rIns="45718" bIns="45718" anchor="t" anchorCtr="0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000">
                  <a:solidFill>
                    <a:srgbClr val="605F60"/>
                  </a:solidFill>
                  <a:latin typeface="Itau Display Bold"/>
                  <a:ea typeface="Itau Display Bold"/>
                  <a:cs typeface="Itau Display Bold"/>
                  <a:sym typeface="Itau Display Bold"/>
                </a:defRPr>
              </a:pPr>
              <a:r>
                <a:rPr kumimoji="0" lang="pt-BR" sz="1600" b="0" i="0" u="none" strike="noStrike" kern="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cs typeface="Itau Display" panose="020B0503020204020204" pitchFamily="34" charset="0"/>
                  <a:sym typeface="Itau Display Bold"/>
                </a:rPr>
                <a:t>Explorar a recuperação de conteúdos</a:t>
              </a:r>
              <a:br>
                <a:rPr kumimoji="0" lang="pt-BR" sz="1600" b="0" i="0" u="none" strike="noStrike" kern="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cs typeface="Itau Display" panose="020B0503020204020204" pitchFamily="34" charset="0"/>
                  <a:sym typeface="Itau Display Bold"/>
                </a:rPr>
              </a:br>
              <a:r>
                <a:rPr kumimoji="0" lang="pt-BR" sz="1100" b="0" i="0" u="none" strike="noStrike" kern="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cs typeface="Itau Display" panose="020B0503020204020204" pitchFamily="34" charset="0"/>
                  <a:sym typeface="Itau Display Bold"/>
                </a:rPr>
                <a:t>(somente 30% das pesquisas exploraram esse escopo)</a:t>
              </a:r>
              <a:endParaRPr kumimoji="0" lang="pt-BR" sz="1600" b="0" i="0" u="none" strike="noStrike" kern="0" cap="none" spc="0" normalizeH="0" baseline="0" noProof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Itau Display" panose="020B0503020204020204" pitchFamily="34" charset="0"/>
                <a:cs typeface="Itau Display" panose="020B0503020204020204" pitchFamily="34" charset="0"/>
                <a:sym typeface="Itau Display Bold"/>
              </a:endParaRPr>
            </a:p>
          </p:txBody>
        </p:sp>
        <p:sp>
          <p:nvSpPr>
            <p:cNvPr id="27" name="CaixaDeTexto 6">
              <a:extLst>
                <a:ext uri="{FF2B5EF4-FFF2-40B4-BE49-F238E27FC236}">
                  <a16:creationId xmlns:a16="http://schemas.microsoft.com/office/drawing/2014/main" id="{C85765D5-CC0C-4F06-AD5E-F2CC76DA05F7}"/>
                </a:ext>
              </a:extLst>
            </p:cNvPr>
            <p:cNvSpPr txBox="1"/>
            <p:nvPr/>
          </p:nvSpPr>
          <p:spPr>
            <a:xfrm>
              <a:off x="6731253" y="2549925"/>
              <a:ext cx="1844456" cy="726677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45718" tIns="45718" rIns="45718" bIns="45718" anchor="t" anchorCtr="0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000">
                  <a:solidFill>
                    <a:srgbClr val="605F60"/>
                  </a:solidFill>
                  <a:latin typeface="Itau Display Bold"/>
                  <a:ea typeface="Itau Display Bold"/>
                  <a:cs typeface="Itau Display Bold"/>
                  <a:sym typeface="Itau Display Bold"/>
                </a:defRPr>
              </a:pPr>
              <a:r>
                <a:rPr kumimoji="0" lang="pt-BR" sz="1600" b="0" i="0" u="none" strike="noStrike" kern="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cs typeface="Itau Display" panose="020B0503020204020204" pitchFamily="34" charset="0"/>
                  <a:sym typeface="Itau Display Bold"/>
                </a:rPr>
                <a:t>Ter um só Itaú nas agendas de conteúdos, fomentando reuso interno</a:t>
              </a:r>
            </a:p>
          </p:txBody>
        </p:sp>
        <p:sp>
          <p:nvSpPr>
            <p:cNvPr id="28" name="CaixaDeTexto 6">
              <a:extLst>
                <a:ext uri="{FF2B5EF4-FFF2-40B4-BE49-F238E27FC236}">
                  <a16:creationId xmlns:a16="http://schemas.microsoft.com/office/drawing/2014/main" id="{747780A0-1EE7-4A25-9198-04C25331C5BC}"/>
                </a:ext>
              </a:extLst>
            </p:cNvPr>
            <p:cNvSpPr txBox="1"/>
            <p:nvPr/>
          </p:nvSpPr>
          <p:spPr>
            <a:xfrm>
              <a:off x="9097464" y="2549925"/>
              <a:ext cx="1522412" cy="710634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45718" tIns="45718" rIns="45718" bIns="45718" anchor="t" anchorCtr="0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000">
                  <a:solidFill>
                    <a:srgbClr val="605F60"/>
                  </a:solidFill>
                  <a:latin typeface="Itau Display Bold"/>
                  <a:ea typeface="Itau Display Bold"/>
                  <a:cs typeface="Itau Display Bold"/>
                  <a:sym typeface="Itau Display Bold"/>
                </a:defRPr>
              </a:pPr>
              <a:r>
                <a:rPr kumimoji="0" lang="pt-BR" sz="1600" b="0" i="0" u="none" strike="noStrike" kern="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cs typeface="Itau Display" panose="020B0503020204020204" pitchFamily="34" charset="0"/>
                  <a:sym typeface="Itau Display Bold"/>
                </a:rPr>
                <a:t>Foco na satisfação do cliente</a:t>
              </a:r>
            </a:p>
          </p:txBody>
        </p:sp>
        <p:sp>
          <p:nvSpPr>
            <p:cNvPr id="29" name="CaixaDeTexto 6">
              <a:extLst>
                <a:ext uri="{FF2B5EF4-FFF2-40B4-BE49-F238E27FC236}">
                  <a16:creationId xmlns:a16="http://schemas.microsoft.com/office/drawing/2014/main" id="{FDBDD912-22A5-4739-BB70-FAFFA3B72959}"/>
                </a:ext>
              </a:extLst>
            </p:cNvPr>
            <p:cNvSpPr txBox="1"/>
            <p:nvPr/>
          </p:nvSpPr>
          <p:spPr>
            <a:xfrm>
              <a:off x="4220663" y="4759725"/>
              <a:ext cx="1634706" cy="74271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45718" tIns="45718" rIns="45718" bIns="45718" anchor="t" anchorCtr="0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000">
                  <a:solidFill>
                    <a:srgbClr val="605F60"/>
                  </a:solidFill>
                  <a:latin typeface="Itau Display Bold"/>
                  <a:ea typeface="Itau Display Bold"/>
                  <a:cs typeface="Itau Display Bold"/>
                  <a:sym typeface="Itau Display Bold"/>
                </a:defRPr>
              </a:pPr>
              <a:r>
                <a:rPr kumimoji="0" lang="pt-BR" sz="1600" b="0" i="0" u="none" strike="noStrike" kern="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cs typeface="Itau Display" panose="020B0503020204020204" pitchFamily="34" charset="0"/>
                  <a:sym typeface="Itau Display Bold"/>
                </a:rPr>
                <a:t>Estar presente onde e do jeito que o cliente quiser</a:t>
              </a:r>
            </a:p>
          </p:txBody>
        </p:sp>
        <p:sp>
          <p:nvSpPr>
            <p:cNvPr id="30" name="CaixaDeTexto 6">
              <a:extLst>
                <a:ext uri="{FF2B5EF4-FFF2-40B4-BE49-F238E27FC236}">
                  <a16:creationId xmlns:a16="http://schemas.microsoft.com/office/drawing/2014/main" id="{70A7DF1C-D3BD-4F7D-BF6C-C2B69CBC0413}"/>
                </a:ext>
              </a:extLst>
            </p:cNvPr>
            <p:cNvSpPr txBox="1"/>
            <p:nvPr/>
          </p:nvSpPr>
          <p:spPr>
            <a:xfrm>
              <a:off x="6731253" y="4759725"/>
              <a:ext cx="1490328" cy="790844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45718" tIns="45718" rIns="45718" bIns="45718" anchor="t" anchorCtr="0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000">
                  <a:solidFill>
                    <a:srgbClr val="605F60"/>
                  </a:solidFill>
                  <a:latin typeface="Itau Display Bold"/>
                  <a:ea typeface="Itau Display Bold"/>
                  <a:cs typeface="Itau Display Bold"/>
                  <a:sym typeface="Itau Display Bold"/>
                </a:defRPr>
              </a:pPr>
              <a:r>
                <a:rPr kumimoji="0" lang="pt-BR" sz="1600" b="0" i="0" u="none" strike="noStrike" kern="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cs typeface="Itau Display" panose="020B0503020204020204" pitchFamily="34" charset="0"/>
                  <a:sym typeface="Itau Display Bold"/>
                </a:rPr>
                <a:t>Desburocratizar a agenda de conteúdos</a:t>
              </a:r>
            </a:p>
          </p:txBody>
        </p:sp>
        <p:sp>
          <p:nvSpPr>
            <p:cNvPr id="31" name="CaixaDeTexto 6">
              <a:extLst>
                <a:ext uri="{FF2B5EF4-FFF2-40B4-BE49-F238E27FC236}">
                  <a16:creationId xmlns:a16="http://schemas.microsoft.com/office/drawing/2014/main" id="{AA08CF4E-545C-442F-8B5E-D69C0A403CCB}"/>
                </a:ext>
              </a:extLst>
            </p:cNvPr>
            <p:cNvSpPr txBox="1"/>
            <p:nvPr/>
          </p:nvSpPr>
          <p:spPr>
            <a:xfrm>
              <a:off x="9097464" y="4759725"/>
              <a:ext cx="1602620" cy="82292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45718" tIns="45718" rIns="45718" bIns="45718" anchor="t" anchorCtr="0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000">
                  <a:solidFill>
                    <a:srgbClr val="605F60"/>
                  </a:solidFill>
                  <a:latin typeface="Itau Display Bold"/>
                  <a:ea typeface="Itau Display Bold"/>
                  <a:cs typeface="Itau Display Bold"/>
                  <a:sym typeface="Itau Display Bold"/>
                </a:defRPr>
              </a:pPr>
              <a:r>
                <a:rPr kumimoji="0" lang="pt-BR" sz="1600" b="0" i="0" u="none" strike="noStrike" kern="0" cap="none" spc="0" normalizeH="0" baseline="0" noProof="0">
                  <a:ln>
                    <a:noFill/>
                  </a:ln>
                  <a:solidFill>
                    <a:srgbClr val="5F6062"/>
                  </a:solidFill>
                  <a:effectLst/>
                  <a:uLnTx/>
                  <a:uFillTx/>
                  <a:latin typeface="Itau Display" panose="020B0503020204020204" pitchFamily="34" charset="0"/>
                  <a:cs typeface="Itau Display" panose="020B0503020204020204" pitchFamily="34" charset="0"/>
                  <a:sym typeface="Itau Display Bold"/>
                </a:rPr>
                <a:t>Agendas de evolução de conteúdos junto aos produtos</a:t>
              </a:r>
            </a:p>
          </p:txBody>
        </p:sp>
        <p:grpSp>
          <p:nvGrpSpPr>
            <p:cNvPr id="45" name="Agrupar 44">
              <a:extLst>
                <a:ext uri="{FF2B5EF4-FFF2-40B4-BE49-F238E27FC236}">
                  <a16:creationId xmlns:a16="http://schemas.microsoft.com/office/drawing/2014/main" id="{6934308C-DEA5-4783-9255-282647F27CBA}"/>
                </a:ext>
              </a:extLst>
            </p:cNvPr>
            <p:cNvGrpSpPr/>
            <p:nvPr/>
          </p:nvGrpSpPr>
          <p:grpSpPr>
            <a:xfrm>
              <a:off x="4289625" y="2050887"/>
              <a:ext cx="400050" cy="400050"/>
              <a:chOff x="3599815" y="3527742"/>
              <a:chExt cx="400050" cy="400050"/>
            </a:xfrm>
          </p:grpSpPr>
          <p:sp>
            <p:nvSpPr>
              <p:cNvPr id="46" name="Forma Livre: Forma 45">
                <a:extLst>
                  <a:ext uri="{FF2B5EF4-FFF2-40B4-BE49-F238E27FC236}">
                    <a16:creationId xmlns:a16="http://schemas.microsoft.com/office/drawing/2014/main" id="{FE237ECB-1CD9-412A-A3BA-967799D8B2A5}"/>
                  </a:ext>
                </a:extLst>
              </p:cNvPr>
              <p:cNvSpPr/>
              <p:nvPr/>
            </p:nvSpPr>
            <p:spPr>
              <a:xfrm>
                <a:off x="3656965" y="3756342"/>
                <a:ext cx="9525" cy="171450"/>
              </a:xfrm>
              <a:custGeom>
                <a:avLst/>
                <a:gdLst>
                  <a:gd name="connsiteX0" fmla="*/ 0 w 0"/>
                  <a:gd name="connsiteY0" fmla="*/ 0 h 171450"/>
                  <a:gd name="connsiteX1" fmla="*/ 0 w 0"/>
                  <a:gd name="connsiteY1" fmla="*/ 171450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171450">
                    <a:moveTo>
                      <a:pt x="0" y="0"/>
                    </a:moveTo>
                    <a:lnTo>
                      <a:pt x="0" y="171450"/>
                    </a:lnTo>
                  </a:path>
                </a:pathLst>
              </a:custGeom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47" name="Forma Livre: Forma 46">
                <a:extLst>
                  <a:ext uri="{FF2B5EF4-FFF2-40B4-BE49-F238E27FC236}">
                    <a16:creationId xmlns:a16="http://schemas.microsoft.com/office/drawing/2014/main" id="{A2EE0016-9EEC-4CA2-86F0-E4DD15DA5B56}"/>
                  </a:ext>
                </a:extLst>
              </p:cNvPr>
              <p:cNvSpPr/>
              <p:nvPr/>
            </p:nvSpPr>
            <p:spPr>
              <a:xfrm>
                <a:off x="3599815" y="3756342"/>
                <a:ext cx="9525" cy="171450"/>
              </a:xfrm>
              <a:custGeom>
                <a:avLst/>
                <a:gdLst>
                  <a:gd name="connsiteX0" fmla="*/ 0 w 0"/>
                  <a:gd name="connsiteY0" fmla="*/ 0 h 171450"/>
                  <a:gd name="connsiteX1" fmla="*/ 0 w 0"/>
                  <a:gd name="connsiteY1" fmla="*/ 171450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171450">
                    <a:moveTo>
                      <a:pt x="0" y="0"/>
                    </a:moveTo>
                    <a:lnTo>
                      <a:pt x="0" y="171450"/>
                    </a:lnTo>
                  </a:path>
                </a:pathLst>
              </a:custGeom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48" name="Forma Livre: Forma 47">
                <a:extLst>
                  <a:ext uri="{FF2B5EF4-FFF2-40B4-BE49-F238E27FC236}">
                    <a16:creationId xmlns:a16="http://schemas.microsoft.com/office/drawing/2014/main" id="{FA61818A-674E-40E6-B70B-1CFE4AADC9AD}"/>
                  </a:ext>
                </a:extLst>
              </p:cNvPr>
              <p:cNvSpPr/>
              <p:nvPr/>
            </p:nvSpPr>
            <p:spPr>
              <a:xfrm>
                <a:off x="3780790" y="3651567"/>
                <a:ext cx="219075" cy="200025"/>
              </a:xfrm>
              <a:custGeom>
                <a:avLst/>
                <a:gdLst>
                  <a:gd name="connsiteX0" fmla="*/ 0 w 219075"/>
                  <a:gd name="connsiteY0" fmla="*/ 133350 h 200025"/>
                  <a:gd name="connsiteX1" fmla="*/ 0 w 219075"/>
                  <a:gd name="connsiteY1" fmla="*/ 180975 h 200025"/>
                  <a:gd name="connsiteX2" fmla="*/ 219075 w 219075"/>
                  <a:gd name="connsiteY2" fmla="*/ 171450 h 200025"/>
                  <a:gd name="connsiteX3" fmla="*/ 136588 w 219075"/>
                  <a:gd name="connsiteY3" fmla="*/ 100774 h 200025"/>
                  <a:gd name="connsiteX4" fmla="*/ 200025 w 219075"/>
                  <a:gd name="connsiteY4" fmla="*/ 0 h 200025"/>
                  <a:gd name="connsiteX5" fmla="*/ 57150 w 219075"/>
                  <a:gd name="connsiteY5" fmla="*/ 10001 h 200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19075" h="200025">
                    <a:moveTo>
                      <a:pt x="0" y="133350"/>
                    </a:moveTo>
                    <a:cubicBezTo>
                      <a:pt x="0" y="133350"/>
                      <a:pt x="0" y="168593"/>
                      <a:pt x="0" y="180975"/>
                    </a:cubicBezTo>
                    <a:cubicBezTo>
                      <a:pt x="24574" y="216313"/>
                      <a:pt x="167449" y="201644"/>
                      <a:pt x="219075" y="171450"/>
                    </a:cubicBezTo>
                    <a:cubicBezTo>
                      <a:pt x="178594" y="142113"/>
                      <a:pt x="136588" y="100774"/>
                      <a:pt x="136588" y="100774"/>
                    </a:cubicBezTo>
                    <a:cubicBezTo>
                      <a:pt x="136588" y="100774"/>
                      <a:pt x="185738" y="41053"/>
                      <a:pt x="200025" y="0"/>
                    </a:cubicBezTo>
                    <a:cubicBezTo>
                      <a:pt x="161163" y="11049"/>
                      <a:pt x="101441" y="12763"/>
                      <a:pt x="57150" y="10001"/>
                    </a:cubicBezTo>
                  </a:path>
                </a:pathLst>
              </a:custGeom>
              <a:noFill/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49" name="Forma Livre: Forma 48">
                <a:extLst>
                  <a:ext uri="{FF2B5EF4-FFF2-40B4-BE49-F238E27FC236}">
                    <a16:creationId xmlns:a16="http://schemas.microsoft.com/office/drawing/2014/main" id="{CD789EAA-BC81-45E2-9EEC-ABB325E78CA1}"/>
                  </a:ext>
                </a:extLst>
              </p:cNvPr>
              <p:cNvSpPr/>
              <p:nvPr/>
            </p:nvSpPr>
            <p:spPr>
              <a:xfrm>
                <a:off x="3780600" y="3632517"/>
                <a:ext cx="57150" cy="200025"/>
              </a:xfrm>
              <a:custGeom>
                <a:avLst/>
                <a:gdLst>
                  <a:gd name="connsiteX0" fmla="*/ 57531 w 57150"/>
                  <a:gd name="connsiteY0" fmla="*/ 0 h 200025"/>
                  <a:gd name="connsiteX1" fmla="*/ 57340 w 57150"/>
                  <a:gd name="connsiteY1" fmla="*/ 142875 h 200025"/>
                  <a:gd name="connsiteX2" fmla="*/ 57340 w 57150"/>
                  <a:gd name="connsiteY2" fmla="*/ 152400 h 200025"/>
                  <a:gd name="connsiteX3" fmla="*/ 9525 w 57150"/>
                  <a:gd name="connsiteY3" fmla="*/ 200025 h 200025"/>
                  <a:gd name="connsiteX4" fmla="*/ 190 w 57150"/>
                  <a:gd name="connsiteY4" fmla="*/ 190500 h 200025"/>
                  <a:gd name="connsiteX5" fmla="*/ 0 w 57150"/>
                  <a:gd name="connsiteY5" fmla="*/ 152400 h 200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7150" h="200025">
                    <a:moveTo>
                      <a:pt x="57531" y="0"/>
                    </a:moveTo>
                    <a:lnTo>
                      <a:pt x="57340" y="142875"/>
                    </a:lnTo>
                    <a:lnTo>
                      <a:pt x="57340" y="152400"/>
                    </a:lnTo>
                    <a:lnTo>
                      <a:pt x="9525" y="200025"/>
                    </a:lnTo>
                    <a:lnTo>
                      <a:pt x="190" y="190500"/>
                    </a:lnTo>
                    <a:lnTo>
                      <a:pt x="0" y="152400"/>
                    </a:lnTo>
                  </a:path>
                </a:pathLst>
              </a:custGeom>
              <a:noFill/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50" name="Forma Livre: Forma 49">
                <a:extLst>
                  <a:ext uri="{FF2B5EF4-FFF2-40B4-BE49-F238E27FC236}">
                    <a16:creationId xmlns:a16="http://schemas.microsoft.com/office/drawing/2014/main" id="{A7D53C77-9278-41E6-B8DD-1F4001CEE26F}"/>
                  </a:ext>
                </a:extLst>
              </p:cNvPr>
              <p:cNvSpPr/>
              <p:nvPr/>
            </p:nvSpPr>
            <p:spPr>
              <a:xfrm>
                <a:off x="3599815" y="3565850"/>
                <a:ext cx="238125" cy="200025"/>
              </a:xfrm>
              <a:custGeom>
                <a:avLst/>
                <a:gdLst>
                  <a:gd name="connsiteX0" fmla="*/ 238125 w 238125"/>
                  <a:gd name="connsiteY0" fmla="*/ 28662 h 200025"/>
                  <a:gd name="connsiteX1" fmla="*/ 0 w 238125"/>
                  <a:gd name="connsiteY1" fmla="*/ 26757 h 200025"/>
                  <a:gd name="connsiteX2" fmla="*/ 0 w 238125"/>
                  <a:gd name="connsiteY2" fmla="*/ 209542 h 200025"/>
                  <a:gd name="connsiteX3" fmla="*/ 227743 w 238125"/>
                  <a:gd name="connsiteY3" fmla="*/ 209542 h 200025"/>
                  <a:gd name="connsiteX4" fmla="*/ 238125 w 238125"/>
                  <a:gd name="connsiteY4" fmla="*/ 209542 h 200025"/>
                  <a:gd name="connsiteX5" fmla="*/ 238125 w 238125"/>
                  <a:gd name="connsiteY5" fmla="*/ 28662 h 200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8125" h="200025">
                    <a:moveTo>
                      <a:pt x="238125" y="28662"/>
                    </a:moveTo>
                    <a:cubicBezTo>
                      <a:pt x="191262" y="-7819"/>
                      <a:pt x="37338" y="-10581"/>
                      <a:pt x="0" y="26757"/>
                    </a:cubicBezTo>
                    <a:cubicBezTo>
                      <a:pt x="0" y="72763"/>
                      <a:pt x="0" y="157154"/>
                      <a:pt x="0" y="209542"/>
                    </a:cubicBezTo>
                    <a:cubicBezTo>
                      <a:pt x="52578" y="186682"/>
                      <a:pt x="155448" y="178776"/>
                      <a:pt x="227743" y="209542"/>
                    </a:cubicBezTo>
                    <a:lnTo>
                      <a:pt x="238125" y="209542"/>
                    </a:lnTo>
                    <a:lnTo>
                      <a:pt x="238125" y="28662"/>
                    </a:lnTo>
                    <a:close/>
                  </a:path>
                </a:pathLst>
              </a:custGeom>
              <a:noFill/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51" name="Forma Livre: Forma 50">
                <a:extLst>
                  <a:ext uri="{FF2B5EF4-FFF2-40B4-BE49-F238E27FC236}">
                    <a16:creationId xmlns:a16="http://schemas.microsoft.com/office/drawing/2014/main" id="{74AB8733-BB4D-44B9-8D76-BFA20EB8DF91}"/>
                  </a:ext>
                </a:extLst>
              </p:cNvPr>
              <p:cNvSpPr/>
              <p:nvPr/>
            </p:nvSpPr>
            <p:spPr>
              <a:xfrm>
                <a:off x="3599815" y="3527742"/>
                <a:ext cx="57150" cy="66675"/>
              </a:xfrm>
              <a:custGeom>
                <a:avLst/>
                <a:gdLst>
                  <a:gd name="connsiteX0" fmla="*/ 0 w 57150"/>
                  <a:gd name="connsiteY0" fmla="*/ 66675 h 66675"/>
                  <a:gd name="connsiteX1" fmla="*/ 0 w 57150"/>
                  <a:gd name="connsiteY1" fmla="*/ 28575 h 66675"/>
                  <a:gd name="connsiteX2" fmla="*/ 28575 w 57150"/>
                  <a:gd name="connsiteY2" fmla="*/ 0 h 66675"/>
                  <a:gd name="connsiteX3" fmla="*/ 57150 w 57150"/>
                  <a:gd name="connsiteY3" fmla="*/ 28575 h 66675"/>
                  <a:gd name="connsiteX4" fmla="*/ 57150 w 57150"/>
                  <a:gd name="connsiteY4" fmla="*/ 3810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150" h="66675">
                    <a:moveTo>
                      <a:pt x="0" y="66675"/>
                    </a:moveTo>
                    <a:lnTo>
                      <a:pt x="0" y="28575"/>
                    </a:lnTo>
                    <a:cubicBezTo>
                      <a:pt x="0" y="12763"/>
                      <a:pt x="12763" y="0"/>
                      <a:pt x="28575" y="0"/>
                    </a:cubicBezTo>
                    <a:cubicBezTo>
                      <a:pt x="44387" y="0"/>
                      <a:pt x="57150" y="12763"/>
                      <a:pt x="57150" y="28575"/>
                    </a:cubicBezTo>
                    <a:lnTo>
                      <a:pt x="57150" y="38100"/>
                    </a:lnTo>
                  </a:path>
                </a:pathLst>
              </a:custGeom>
              <a:noFill/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</p:grpSp>
        <p:grpSp>
          <p:nvGrpSpPr>
            <p:cNvPr id="52" name="Agrupar 51">
              <a:extLst>
                <a:ext uri="{FF2B5EF4-FFF2-40B4-BE49-F238E27FC236}">
                  <a16:creationId xmlns:a16="http://schemas.microsoft.com/office/drawing/2014/main" id="{EF578C97-AC1B-4BC8-A945-B690D9B3F3D3}"/>
                </a:ext>
              </a:extLst>
            </p:cNvPr>
            <p:cNvGrpSpPr/>
            <p:nvPr/>
          </p:nvGrpSpPr>
          <p:grpSpPr>
            <a:xfrm>
              <a:off x="6776422" y="2050887"/>
              <a:ext cx="400050" cy="400050"/>
              <a:chOff x="7771032" y="1279890"/>
              <a:chExt cx="400050" cy="400050"/>
            </a:xfrm>
          </p:grpSpPr>
          <p:sp>
            <p:nvSpPr>
              <p:cNvPr id="53" name="Forma Livre: Forma 52">
                <a:extLst>
                  <a:ext uri="{FF2B5EF4-FFF2-40B4-BE49-F238E27FC236}">
                    <a16:creationId xmlns:a16="http://schemas.microsoft.com/office/drawing/2014/main" id="{7421DAC3-0101-4A38-A8E1-4DDACE0682BD}"/>
                  </a:ext>
                </a:extLst>
              </p:cNvPr>
              <p:cNvSpPr/>
              <p:nvPr/>
            </p:nvSpPr>
            <p:spPr>
              <a:xfrm>
                <a:off x="7894857" y="1403715"/>
                <a:ext cx="152400" cy="152400"/>
              </a:xfrm>
              <a:custGeom>
                <a:avLst/>
                <a:gdLst>
                  <a:gd name="connsiteX0" fmla="*/ 152400 w 152400"/>
                  <a:gd name="connsiteY0" fmla="*/ 76200 h 152400"/>
                  <a:gd name="connsiteX1" fmla="*/ 76200 w 152400"/>
                  <a:gd name="connsiteY1" fmla="*/ 152400 h 152400"/>
                  <a:gd name="connsiteX2" fmla="*/ 0 w 152400"/>
                  <a:gd name="connsiteY2" fmla="*/ 76200 h 152400"/>
                  <a:gd name="connsiteX3" fmla="*/ 76200 w 152400"/>
                  <a:gd name="connsiteY3" fmla="*/ 0 h 152400"/>
                  <a:gd name="connsiteX4" fmla="*/ 152400 w 152400"/>
                  <a:gd name="connsiteY4" fmla="*/ 762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400" h="152400">
                    <a:moveTo>
                      <a:pt x="152400" y="76200"/>
                    </a:moveTo>
                    <a:cubicBezTo>
                      <a:pt x="152400" y="118284"/>
                      <a:pt x="118284" y="152400"/>
                      <a:pt x="76200" y="152400"/>
                    </a:cubicBezTo>
                    <a:cubicBezTo>
                      <a:pt x="34116" y="152400"/>
                      <a:pt x="0" y="118284"/>
                      <a:pt x="0" y="76200"/>
                    </a:cubicBezTo>
                    <a:cubicBezTo>
                      <a:pt x="0" y="34116"/>
                      <a:pt x="34116" y="0"/>
                      <a:pt x="76200" y="0"/>
                    </a:cubicBezTo>
                    <a:cubicBezTo>
                      <a:pt x="118284" y="0"/>
                      <a:pt x="152400" y="34116"/>
                      <a:pt x="152400" y="76200"/>
                    </a:cubicBezTo>
                    <a:close/>
                  </a:path>
                </a:pathLst>
              </a:custGeom>
              <a:noFill/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54" name="Forma Livre: Forma 53">
                <a:extLst>
                  <a:ext uri="{FF2B5EF4-FFF2-40B4-BE49-F238E27FC236}">
                    <a16:creationId xmlns:a16="http://schemas.microsoft.com/office/drawing/2014/main" id="{0BBF8BB8-19F6-40CE-AEDC-BEEAE2D18389}"/>
                  </a:ext>
                </a:extLst>
              </p:cNvPr>
              <p:cNvSpPr/>
              <p:nvPr/>
            </p:nvSpPr>
            <p:spPr>
              <a:xfrm>
                <a:off x="7942482" y="1279890"/>
                <a:ext cx="57150" cy="57150"/>
              </a:xfrm>
              <a:custGeom>
                <a:avLst/>
                <a:gdLst>
                  <a:gd name="connsiteX0" fmla="*/ 57150 w 57150"/>
                  <a:gd name="connsiteY0" fmla="*/ 28575 h 57150"/>
                  <a:gd name="connsiteX1" fmla="*/ 28575 w 57150"/>
                  <a:gd name="connsiteY1" fmla="*/ 57150 h 57150"/>
                  <a:gd name="connsiteX2" fmla="*/ 0 w 57150"/>
                  <a:gd name="connsiteY2" fmla="*/ 28575 h 57150"/>
                  <a:gd name="connsiteX3" fmla="*/ 28575 w 57150"/>
                  <a:gd name="connsiteY3" fmla="*/ 0 h 57150"/>
                  <a:gd name="connsiteX4" fmla="*/ 57150 w 57150"/>
                  <a:gd name="connsiteY4" fmla="*/ 28575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150" h="57150">
                    <a:moveTo>
                      <a:pt x="57150" y="28575"/>
                    </a:moveTo>
                    <a:cubicBezTo>
                      <a:pt x="57150" y="44357"/>
                      <a:pt x="44357" y="57150"/>
                      <a:pt x="28575" y="57150"/>
                    </a:cubicBezTo>
                    <a:cubicBezTo>
                      <a:pt x="12793" y="57150"/>
                      <a:pt x="0" y="44357"/>
                      <a:pt x="0" y="28575"/>
                    </a:cubicBezTo>
                    <a:cubicBezTo>
                      <a:pt x="0" y="12793"/>
                      <a:pt x="12793" y="0"/>
                      <a:pt x="28575" y="0"/>
                    </a:cubicBezTo>
                    <a:cubicBezTo>
                      <a:pt x="44357" y="0"/>
                      <a:pt x="57150" y="12793"/>
                      <a:pt x="57150" y="28575"/>
                    </a:cubicBezTo>
                    <a:close/>
                  </a:path>
                </a:pathLst>
              </a:custGeom>
              <a:noFill/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55" name="Forma Livre: Forma 54">
                <a:extLst>
                  <a:ext uri="{FF2B5EF4-FFF2-40B4-BE49-F238E27FC236}">
                    <a16:creationId xmlns:a16="http://schemas.microsoft.com/office/drawing/2014/main" id="{BE5D2174-8031-4319-B4F0-A4964D5C69DB}"/>
                  </a:ext>
                </a:extLst>
              </p:cNvPr>
              <p:cNvSpPr/>
              <p:nvPr/>
            </p:nvSpPr>
            <p:spPr>
              <a:xfrm>
                <a:off x="7942482" y="1622790"/>
                <a:ext cx="57150" cy="57150"/>
              </a:xfrm>
              <a:custGeom>
                <a:avLst/>
                <a:gdLst>
                  <a:gd name="connsiteX0" fmla="*/ 57150 w 57150"/>
                  <a:gd name="connsiteY0" fmla="*/ 28575 h 57150"/>
                  <a:gd name="connsiteX1" fmla="*/ 28575 w 57150"/>
                  <a:gd name="connsiteY1" fmla="*/ 57150 h 57150"/>
                  <a:gd name="connsiteX2" fmla="*/ 0 w 57150"/>
                  <a:gd name="connsiteY2" fmla="*/ 28575 h 57150"/>
                  <a:gd name="connsiteX3" fmla="*/ 28575 w 57150"/>
                  <a:gd name="connsiteY3" fmla="*/ 0 h 57150"/>
                  <a:gd name="connsiteX4" fmla="*/ 57150 w 57150"/>
                  <a:gd name="connsiteY4" fmla="*/ 28575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150" h="57150">
                    <a:moveTo>
                      <a:pt x="57150" y="28575"/>
                    </a:moveTo>
                    <a:cubicBezTo>
                      <a:pt x="57150" y="44357"/>
                      <a:pt x="44357" y="57150"/>
                      <a:pt x="28575" y="57150"/>
                    </a:cubicBezTo>
                    <a:cubicBezTo>
                      <a:pt x="12793" y="57150"/>
                      <a:pt x="0" y="44357"/>
                      <a:pt x="0" y="28575"/>
                    </a:cubicBezTo>
                    <a:cubicBezTo>
                      <a:pt x="0" y="12793"/>
                      <a:pt x="12793" y="0"/>
                      <a:pt x="28575" y="0"/>
                    </a:cubicBezTo>
                    <a:cubicBezTo>
                      <a:pt x="44357" y="0"/>
                      <a:pt x="57150" y="12793"/>
                      <a:pt x="57150" y="28575"/>
                    </a:cubicBezTo>
                    <a:close/>
                  </a:path>
                </a:pathLst>
              </a:custGeom>
              <a:noFill/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56" name="Forma Livre: Forma 55">
                <a:extLst>
                  <a:ext uri="{FF2B5EF4-FFF2-40B4-BE49-F238E27FC236}">
                    <a16:creationId xmlns:a16="http://schemas.microsoft.com/office/drawing/2014/main" id="{29D65423-799B-41D6-94E1-0E4FB9CAF541}"/>
                  </a:ext>
                </a:extLst>
              </p:cNvPr>
              <p:cNvSpPr/>
              <p:nvPr/>
            </p:nvSpPr>
            <p:spPr>
              <a:xfrm>
                <a:off x="8094882" y="1308465"/>
                <a:ext cx="57150" cy="57150"/>
              </a:xfrm>
              <a:custGeom>
                <a:avLst/>
                <a:gdLst>
                  <a:gd name="connsiteX0" fmla="*/ 57150 w 57150"/>
                  <a:gd name="connsiteY0" fmla="*/ 28575 h 57150"/>
                  <a:gd name="connsiteX1" fmla="*/ 28575 w 57150"/>
                  <a:gd name="connsiteY1" fmla="*/ 57150 h 57150"/>
                  <a:gd name="connsiteX2" fmla="*/ 0 w 57150"/>
                  <a:gd name="connsiteY2" fmla="*/ 28575 h 57150"/>
                  <a:gd name="connsiteX3" fmla="*/ 28575 w 57150"/>
                  <a:gd name="connsiteY3" fmla="*/ 0 h 57150"/>
                  <a:gd name="connsiteX4" fmla="*/ 57150 w 57150"/>
                  <a:gd name="connsiteY4" fmla="*/ 28575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150" h="57150">
                    <a:moveTo>
                      <a:pt x="57150" y="28575"/>
                    </a:moveTo>
                    <a:cubicBezTo>
                      <a:pt x="57150" y="44387"/>
                      <a:pt x="44387" y="57150"/>
                      <a:pt x="28575" y="57150"/>
                    </a:cubicBezTo>
                    <a:cubicBezTo>
                      <a:pt x="12763" y="57150"/>
                      <a:pt x="0" y="44387"/>
                      <a:pt x="0" y="28575"/>
                    </a:cubicBezTo>
                    <a:cubicBezTo>
                      <a:pt x="0" y="12764"/>
                      <a:pt x="12763" y="0"/>
                      <a:pt x="28575" y="0"/>
                    </a:cubicBezTo>
                    <a:cubicBezTo>
                      <a:pt x="44387" y="0"/>
                      <a:pt x="57150" y="12764"/>
                      <a:pt x="57150" y="28575"/>
                    </a:cubicBezTo>
                    <a:close/>
                  </a:path>
                </a:pathLst>
              </a:custGeom>
              <a:noFill/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57" name="Forma Livre: Forma 56">
                <a:extLst>
                  <a:ext uri="{FF2B5EF4-FFF2-40B4-BE49-F238E27FC236}">
                    <a16:creationId xmlns:a16="http://schemas.microsoft.com/office/drawing/2014/main" id="{68F8E1E6-0DA8-489D-A2C1-51143DBE88BD}"/>
                  </a:ext>
                </a:extLst>
              </p:cNvPr>
              <p:cNvSpPr/>
              <p:nvPr/>
            </p:nvSpPr>
            <p:spPr>
              <a:xfrm>
                <a:off x="8113932" y="1451340"/>
                <a:ext cx="57150" cy="57150"/>
              </a:xfrm>
              <a:custGeom>
                <a:avLst/>
                <a:gdLst>
                  <a:gd name="connsiteX0" fmla="*/ 57150 w 57150"/>
                  <a:gd name="connsiteY0" fmla="*/ 28575 h 57150"/>
                  <a:gd name="connsiteX1" fmla="*/ 28575 w 57150"/>
                  <a:gd name="connsiteY1" fmla="*/ 57150 h 57150"/>
                  <a:gd name="connsiteX2" fmla="*/ 0 w 57150"/>
                  <a:gd name="connsiteY2" fmla="*/ 28575 h 57150"/>
                  <a:gd name="connsiteX3" fmla="*/ 28575 w 57150"/>
                  <a:gd name="connsiteY3" fmla="*/ 0 h 57150"/>
                  <a:gd name="connsiteX4" fmla="*/ 57150 w 57150"/>
                  <a:gd name="connsiteY4" fmla="*/ 28575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150" h="57150">
                    <a:moveTo>
                      <a:pt x="57150" y="28575"/>
                    </a:moveTo>
                    <a:cubicBezTo>
                      <a:pt x="57150" y="44387"/>
                      <a:pt x="44387" y="57150"/>
                      <a:pt x="28575" y="57150"/>
                    </a:cubicBezTo>
                    <a:cubicBezTo>
                      <a:pt x="12763" y="57150"/>
                      <a:pt x="0" y="44387"/>
                      <a:pt x="0" y="28575"/>
                    </a:cubicBezTo>
                    <a:cubicBezTo>
                      <a:pt x="0" y="12764"/>
                      <a:pt x="12763" y="0"/>
                      <a:pt x="28575" y="0"/>
                    </a:cubicBezTo>
                    <a:cubicBezTo>
                      <a:pt x="44387" y="0"/>
                      <a:pt x="57150" y="12764"/>
                      <a:pt x="57150" y="28575"/>
                    </a:cubicBezTo>
                    <a:close/>
                  </a:path>
                </a:pathLst>
              </a:custGeom>
              <a:noFill/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59" name="Forma Livre: Forma 58">
                <a:extLst>
                  <a:ext uri="{FF2B5EF4-FFF2-40B4-BE49-F238E27FC236}">
                    <a16:creationId xmlns:a16="http://schemas.microsoft.com/office/drawing/2014/main" id="{76609BE1-5A2E-4806-91FC-33DB79184ED3}"/>
                  </a:ext>
                </a:extLst>
              </p:cNvPr>
              <p:cNvSpPr/>
              <p:nvPr/>
            </p:nvSpPr>
            <p:spPr>
              <a:xfrm>
                <a:off x="7771032" y="1451340"/>
                <a:ext cx="57150" cy="57150"/>
              </a:xfrm>
              <a:custGeom>
                <a:avLst/>
                <a:gdLst>
                  <a:gd name="connsiteX0" fmla="*/ 57150 w 57150"/>
                  <a:gd name="connsiteY0" fmla="*/ 28575 h 57150"/>
                  <a:gd name="connsiteX1" fmla="*/ 28575 w 57150"/>
                  <a:gd name="connsiteY1" fmla="*/ 57150 h 57150"/>
                  <a:gd name="connsiteX2" fmla="*/ 0 w 57150"/>
                  <a:gd name="connsiteY2" fmla="*/ 28575 h 57150"/>
                  <a:gd name="connsiteX3" fmla="*/ 28575 w 57150"/>
                  <a:gd name="connsiteY3" fmla="*/ 0 h 57150"/>
                  <a:gd name="connsiteX4" fmla="*/ 57150 w 57150"/>
                  <a:gd name="connsiteY4" fmla="*/ 28575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150" h="57150">
                    <a:moveTo>
                      <a:pt x="57150" y="28575"/>
                    </a:moveTo>
                    <a:cubicBezTo>
                      <a:pt x="57150" y="44387"/>
                      <a:pt x="44387" y="57150"/>
                      <a:pt x="28575" y="57150"/>
                    </a:cubicBezTo>
                    <a:cubicBezTo>
                      <a:pt x="12763" y="57150"/>
                      <a:pt x="0" y="44387"/>
                      <a:pt x="0" y="28575"/>
                    </a:cubicBezTo>
                    <a:cubicBezTo>
                      <a:pt x="0" y="12764"/>
                      <a:pt x="12763" y="0"/>
                      <a:pt x="28575" y="0"/>
                    </a:cubicBezTo>
                    <a:cubicBezTo>
                      <a:pt x="44387" y="0"/>
                      <a:pt x="57150" y="12764"/>
                      <a:pt x="57150" y="28575"/>
                    </a:cubicBezTo>
                    <a:close/>
                  </a:path>
                </a:pathLst>
              </a:custGeom>
              <a:noFill/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60" name="Forma Livre: Forma 59">
                <a:extLst>
                  <a:ext uri="{FF2B5EF4-FFF2-40B4-BE49-F238E27FC236}">
                    <a16:creationId xmlns:a16="http://schemas.microsoft.com/office/drawing/2014/main" id="{9B721739-E686-4617-BA6C-1FC33A40AEE5}"/>
                  </a:ext>
                </a:extLst>
              </p:cNvPr>
              <p:cNvSpPr/>
              <p:nvPr/>
            </p:nvSpPr>
            <p:spPr>
              <a:xfrm>
                <a:off x="7790082" y="1308465"/>
                <a:ext cx="57150" cy="57150"/>
              </a:xfrm>
              <a:custGeom>
                <a:avLst/>
                <a:gdLst>
                  <a:gd name="connsiteX0" fmla="*/ 57150 w 57150"/>
                  <a:gd name="connsiteY0" fmla="*/ 28575 h 57150"/>
                  <a:gd name="connsiteX1" fmla="*/ 28575 w 57150"/>
                  <a:gd name="connsiteY1" fmla="*/ 57150 h 57150"/>
                  <a:gd name="connsiteX2" fmla="*/ 0 w 57150"/>
                  <a:gd name="connsiteY2" fmla="*/ 28575 h 57150"/>
                  <a:gd name="connsiteX3" fmla="*/ 28575 w 57150"/>
                  <a:gd name="connsiteY3" fmla="*/ 0 h 57150"/>
                  <a:gd name="connsiteX4" fmla="*/ 57150 w 57150"/>
                  <a:gd name="connsiteY4" fmla="*/ 28575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150" h="57150">
                    <a:moveTo>
                      <a:pt x="57150" y="28575"/>
                    </a:moveTo>
                    <a:cubicBezTo>
                      <a:pt x="57150" y="44387"/>
                      <a:pt x="44387" y="57150"/>
                      <a:pt x="28575" y="57150"/>
                    </a:cubicBezTo>
                    <a:cubicBezTo>
                      <a:pt x="12763" y="57150"/>
                      <a:pt x="0" y="44387"/>
                      <a:pt x="0" y="28575"/>
                    </a:cubicBezTo>
                    <a:cubicBezTo>
                      <a:pt x="0" y="12764"/>
                      <a:pt x="12763" y="0"/>
                      <a:pt x="28575" y="0"/>
                    </a:cubicBezTo>
                    <a:cubicBezTo>
                      <a:pt x="44387" y="0"/>
                      <a:pt x="57150" y="12764"/>
                      <a:pt x="57150" y="28575"/>
                    </a:cubicBezTo>
                    <a:close/>
                  </a:path>
                </a:pathLst>
              </a:custGeom>
              <a:noFill/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61" name="Forma Livre: Forma 60">
                <a:extLst>
                  <a:ext uri="{FF2B5EF4-FFF2-40B4-BE49-F238E27FC236}">
                    <a16:creationId xmlns:a16="http://schemas.microsoft.com/office/drawing/2014/main" id="{A9A82A44-18EE-4F03-BA84-172C8E1F5361}"/>
                  </a:ext>
                </a:extLst>
              </p:cNvPr>
              <p:cNvSpPr/>
              <p:nvPr/>
            </p:nvSpPr>
            <p:spPr>
              <a:xfrm>
                <a:off x="8094882" y="1594215"/>
                <a:ext cx="57150" cy="57150"/>
              </a:xfrm>
              <a:custGeom>
                <a:avLst/>
                <a:gdLst>
                  <a:gd name="connsiteX0" fmla="*/ 57150 w 57150"/>
                  <a:gd name="connsiteY0" fmla="*/ 28575 h 57150"/>
                  <a:gd name="connsiteX1" fmla="*/ 28575 w 57150"/>
                  <a:gd name="connsiteY1" fmla="*/ 57150 h 57150"/>
                  <a:gd name="connsiteX2" fmla="*/ 0 w 57150"/>
                  <a:gd name="connsiteY2" fmla="*/ 28575 h 57150"/>
                  <a:gd name="connsiteX3" fmla="*/ 28575 w 57150"/>
                  <a:gd name="connsiteY3" fmla="*/ 0 h 57150"/>
                  <a:gd name="connsiteX4" fmla="*/ 57150 w 57150"/>
                  <a:gd name="connsiteY4" fmla="*/ 28575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150" h="57150">
                    <a:moveTo>
                      <a:pt x="57150" y="28575"/>
                    </a:moveTo>
                    <a:cubicBezTo>
                      <a:pt x="57150" y="44387"/>
                      <a:pt x="44387" y="57150"/>
                      <a:pt x="28575" y="57150"/>
                    </a:cubicBezTo>
                    <a:cubicBezTo>
                      <a:pt x="12763" y="57150"/>
                      <a:pt x="0" y="44387"/>
                      <a:pt x="0" y="28575"/>
                    </a:cubicBezTo>
                    <a:cubicBezTo>
                      <a:pt x="0" y="12764"/>
                      <a:pt x="12763" y="0"/>
                      <a:pt x="28575" y="0"/>
                    </a:cubicBezTo>
                    <a:cubicBezTo>
                      <a:pt x="44387" y="0"/>
                      <a:pt x="57150" y="12764"/>
                      <a:pt x="57150" y="28575"/>
                    </a:cubicBezTo>
                    <a:close/>
                  </a:path>
                </a:pathLst>
              </a:custGeom>
              <a:noFill/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64" name="Forma Livre: Forma 63">
                <a:extLst>
                  <a:ext uri="{FF2B5EF4-FFF2-40B4-BE49-F238E27FC236}">
                    <a16:creationId xmlns:a16="http://schemas.microsoft.com/office/drawing/2014/main" id="{E127BA9A-31BE-4F85-A616-10CE233D00A2}"/>
                  </a:ext>
                </a:extLst>
              </p:cNvPr>
              <p:cNvSpPr/>
              <p:nvPr/>
            </p:nvSpPr>
            <p:spPr>
              <a:xfrm>
                <a:off x="7790082" y="1594215"/>
                <a:ext cx="57150" cy="57150"/>
              </a:xfrm>
              <a:custGeom>
                <a:avLst/>
                <a:gdLst>
                  <a:gd name="connsiteX0" fmla="*/ 57150 w 57150"/>
                  <a:gd name="connsiteY0" fmla="*/ 28575 h 57150"/>
                  <a:gd name="connsiteX1" fmla="*/ 28575 w 57150"/>
                  <a:gd name="connsiteY1" fmla="*/ 57150 h 57150"/>
                  <a:gd name="connsiteX2" fmla="*/ 0 w 57150"/>
                  <a:gd name="connsiteY2" fmla="*/ 28575 h 57150"/>
                  <a:gd name="connsiteX3" fmla="*/ 28575 w 57150"/>
                  <a:gd name="connsiteY3" fmla="*/ 0 h 57150"/>
                  <a:gd name="connsiteX4" fmla="*/ 57150 w 57150"/>
                  <a:gd name="connsiteY4" fmla="*/ 28575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150" h="57150">
                    <a:moveTo>
                      <a:pt x="57150" y="28575"/>
                    </a:moveTo>
                    <a:cubicBezTo>
                      <a:pt x="57150" y="44387"/>
                      <a:pt x="44387" y="57150"/>
                      <a:pt x="28575" y="57150"/>
                    </a:cubicBezTo>
                    <a:cubicBezTo>
                      <a:pt x="12763" y="57150"/>
                      <a:pt x="0" y="44387"/>
                      <a:pt x="0" y="28575"/>
                    </a:cubicBezTo>
                    <a:cubicBezTo>
                      <a:pt x="0" y="12764"/>
                      <a:pt x="12763" y="0"/>
                      <a:pt x="28575" y="0"/>
                    </a:cubicBezTo>
                    <a:cubicBezTo>
                      <a:pt x="44387" y="0"/>
                      <a:pt x="57150" y="12764"/>
                      <a:pt x="57150" y="28575"/>
                    </a:cubicBezTo>
                    <a:close/>
                  </a:path>
                </a:pathLst>
              </a:custGeom>
              <a:noFill/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65" name="Forma Livre: Forma 64">
                <a:extLst>
                  <a:ext uri="{FF2B5EF4-FFF2-40B4-BE49-F238E27FC236}">
                    <a16:creationId xmlns:a16="http://schemas.microsoft.com/office/drawing/2014/main" id="{046C00C1-A6F3-4C78-8547-9182D35109B8}"/>
                  </a:ext>
                </a:extLst>
              </p:cNvPr>
              <p:cNvSpPr/>
              <p:nvPr/>
            </p:nvSpPr>
            <p:spPr>
              <a:xfrm>
                <a:off x="7971057" y="1337040"/>
                <a:ext cx="9525" cy="47625"/>
              </a:xfrm>
              <a:custGeom>
                <a:avLst/>
                <a:gdLst>
                  <a:gd name="connsiteX0" fmla="*/ 0 w 0"/>
                  <a:gd name="connsiteY0" fmla="*/ 0 h 47625"/>
                  <a:gd name="connsiteX1" fmla="*/ 0 w 0"/>
                  <a:gd name="connsiteY1" fmla="*/ 476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47625">
                    <a:moveTo>
                      <a:pt x="0" y="0"/>
                    </a:moveTo>
                    <a:lnTo>
                      <a:pt x="0" y="47625"/>
                    </a:lnTo>
                  </a:path>
                </a:pathLst>
              </a:custGeom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66" name="Forma Livre: Forma 65">
                <a:extLst>
                  <a:ext uri="{FF2B5EF4-FFF2-40B4-BE49-F238E27FC236}">
                    <a16:creationId xmlns:a16="http://schemas.microsoft.com/office/drawing/2014/main" id="{D1344ECA-0841-4919-A978-D8546D0C1EAB}"/>
                  </a:ext>
                </a:extLst>
              </p:cNvPr>
              <p:cNvSpPr/>
              <p:nvPr/>
            </p:nvSpPr>
            <p:spPr>
              <a:xfrm>
                <a:off x="7971057" y="1575165"/>
                <a:ext cx="9525" cy="47625"/>
              </a:xfrm>
              <a:custGeom>
                <a:avLst/>
                <a:gdLst>
                  <a:gd name="connsiteX0" fmla="*/ 0 w 0"/>
                  <a:gd name="connsiteY0" fmla="*/ 0 h 47625"/>
                  <a:gd name="connsiteX1" fmla="*/ 0 w 0"/>
                  <a:gd name="connsiteY1" fmla="*/ 476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47625">
                    <a:moveTo>
                      <a:pt x="0" y="0"/>
                    </a:moveTo>
                    <a:lnTo>
                      <a:pt x="0" y="47625"/>
                    </a:lnTo>
                  </a:path>
                </a:pathLst>
              </a:custGeom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67" name="Forma Livre: Forma 66">
                <a:extLst>
                  <a:ext uri="{FF2B5EF4-FFF2-40B4-BE49-F238E27FC236}">
                    <a16:creationId xmlns:a16="http://schemas.microsoft.com/office/drawing/2014/main" id="{72AE4B4F-F4AB-4CF4-A54C-5118DEA3AB8F}"/>
                  </a:ext>
                </a:extLst>
              </p:cNvPr>
              <p:cNvSpPr/>
              <p:nvPr/>
            </p:nvSpPr>
            <p:spPr>
              <a:xfrm>
                <a:off x="7837707" y="1356090"/>
                <a:ext cx="57150" cy="57150"/>
              </a:xfrm>
              <a:custGeom>
                <a:avLst/>
                <a:gdLst>
                  <a:gd name="connsiteX0" fmla="*/ 0 w 57150"/>
                  <a:gd name="connsiteY0" fmla="*/ 0 h 57150"/>
                  <a:gd name="connsiteX1" fmla="*/ 57150 w 57150"/>
                  <a:gd name="connsiteY1" fmla="*/ 57150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7150" h="57150">
                    <a:moveTo>
                      <a:pt x="0" y="0"/>
                    </a:moveTo>
                    <a:lnTo>
                      <a:pt x="57150" y="57150"/>
                    </a:lnTo>
                  </a:path>
                </a:pathLst>
              </a:custGeom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68" name="Forma Livre: Forma 67">
                <a:extLst>
                  <a:ext uri="{FF2B5EF4-FFF2-40B4-BE49-F238E27FC236}">
                    <a16:creationId xmlns:a16="http://schemas.microsoft.com/office/drawing/2014/main" id="{7230E75B-503F-47F8-A62E-F0210309CB10}"/>
                  </a:ext>
                </a:extLst>
              </p:cNvPr>
              <p:cNvSpPr/>
              <p:nvPr/>
            </p:nvSpPr>
            <p:spPr>
              <a:xfrm>
                <a:off x="8047257" y="1356090"/>
                <a:ext cx="57150" cy="57150"/>
              </a:xfrm>
              <a:custGeom>
                <a:avLst/>
                <a:gdLst>
                  <a:gd name="connsiteX0" fmla="*/ 57150 w 57150"/>
                  <a:gd name="connsiteY0" fmla="*/ 0 h 57150"/>
                  <a:gd name="connsiteX1" fmla="*/ 0 w 57150"/>
                  <a:gd name="connsiteY1" fmla="*/ 57150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7150" h="57150">
                    <a:moveTo>
                      <a:pt x="57150" y="0"/>
                    </a:moveTo>
                    <a:lnTo>
                      <a:pt x="0" y="57150"/>
                    </a:lnTo>
                  </a:path>
                </a:pathLst>
              </a:custGeom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69" name="Forma Livre: Forma 68">
                <a:extLst>
                  <a:ext uri="{FF2B5EF4-FFF2-40B4-BE49-F238E27FC236}">
                    <a16:creationId xmlns:a16="http://schemas.microsoft.com/office/drawing/2014/main" id="{F4CDDBFB-0F64-418A-87A9-E757BA564255}"/>
                  </a:ext>
                </a:extLst>
              </p:cNvPr>
              <p:cNvSpPr/>
              <p:nvPr/>
            </p:nvSpPr>
            <p:spPr>
              <a:xfrm>
                <a:off x="7837707" y="1546590"/>
                <a:ext cx="57150" cy="57150"/>
              </a:xfrm>
              <a:custGeom>
                <a:avLst/>
                <a:gdLst>
                  <a:gd name="connsiteX0" fmla="*/ 0 w 57150"/>
                  <a:gd name="connsiteY0" fmla="*/ 57150 h 57150"/>
                  <a:gd name="connsiteX1" fmla="*/ 57150 w 57150"/>
                  <a:gd name="connsiteY1" fmla="*/ 0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7150" h="57150">
                    <a:moveTo>
                      <a:pt x="0" y="57150"/>
                    </a:moveTo>
                    <a:lnTo>
                      <a:pt x="57150" y="0"/>
                    </a:lnTo>
                  </a:path>
                </a:pathLst>
              </a:custGeom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70" name="Forma Livre: Forma 69">
                <a:extLst>
                  <a:ext uri="{FF2B5EF4-FFF2-40B4-BE49-F238E27FC236}">
                    <a16:creationId xmlns:a16="http://schemas.microsoft.com/office/drawing/2014/main" id="{FDC6C038-ECB4-4687-B374-212D6AE8B668}"/>
                  </a:ext>
                </a:extLst>
              </p:cNvPr>
              <p:cNvSpPr/>
              <p:nvPr/>
            </p:nvSpPr>
            <p:spPr>
              <a:xfrm>
                <a:off x="8047257" y="1546590"/>
                <a:ext cx="57150" cy="57150"/>
              </a:xfrm>
              <a:custGeom>
                <a:avLst/>
                <a:gdLst>
                  <a:gd name="connsiteX0" fmla="*/ 57150 w 57150"/>
                  <a:gd name="connsiteY0" fmla="*/ 57150 h 57150"/>
                  <a:gd name="connsiteX1" fmla="*/ 0 w 57150"/>
                  <a:gd name="connsiteY1" fmla="*/ 0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7150" h="57150">
                    <a:moveTo>
                      <a:pt x="57150" y="57150"/>
                    </a:moveTo>
                    <a:lnTo>
                      <a:pt x="0" y="0"/>
                    </a:lnTo>
                  </a:path>
                </a:pathLst>
              </a:custGeom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71" name="Forma Livre: Forma 70">
                <a:extLst>
                  <a:ext uri="{FF2B5EF4-FFF2-40B4-BE49-F238E27FC236}">
                    <a16:creationId xmlns:a16="http://schemas.microsoft.com/office/drawing/2014/main" id="{E7FF656E-FF3D-4B6F-8C98-EFBF096C2171}"/>
                  </a:ext>
                </a:extLst>
              </p:cNvPr>
              <p:cNvSpPr/>
              <p:nvPr/>
            </p:nvSpPr>
            <p:spPr>
              <a:xfrm>
                <a:off x="7828182" y="1479915"/>
                <a:ext cx="47625" cy="9525"/>
              </a:xfrm>
              <a:custGeom>
                <a:avLst/>
                <a:gdLst>
                  <a:gd name="connsiteX0" fmla="*/ 0 w 47625"/>
                  <a:gd name="connsiteY0" fmla="*/ 0 h 0"/>
                  <a:gd name="connsiteX1" fmla="*/ 47625 w 476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5">
                    <a:moveTo>
                      <a:pt x="0" y="0"/>
                    </a:moveTo>
                    <a:lnTo>
                      <a:pt x="47625" y="0"/>
                    </a:lnTo>
                  </a:path>
                </a:pathLst>
              </a:custGeom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72" name="Forma Livre: Forma 71">
                <a:extLst>
                  <a:ext uri="{FF2B5EF4-FFF2-40B4-BE49-F238E27FC236}">
                    <a16:creationId xmlns:a16="http://schemas.microsoft.com/office/drawing/2014/main" id="{43E98797-DFF3-4AE5-81E1-62B81B409D8A}"/>
                  </a:ext>
                </a:extLst>
              </p:cNvPr>
              <p:cNvSpPr/>
              <p:nvPr/>
            </p:nvSpPr>
            <p:spPr>
              <a:xfrm>
                <a:off x="8066307" y="1479915"/>
                <a:ext cx="47625" cy="9525"/>
              </a:xfrm>
              <a:custGeom>
                <a:avLst/>
                <a:gdLst>
                  <a:gd name="connsiteX0" fmla="*/ 0 w 47625"/>
                  <a:gd name="connsiteY0" fmla="*/ 0 h 0"/>
                  <a:gd name="connsiteX1" fmla="*/ 47625 w 476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5">
                    <a:moveTo>
                      <a:pt x="0" y="0"/>
                    </a:moveTo>
                    <a:lnTo>
                      <a:pt x="47625" y="0"/>
                    </a:lnTo>
                  </a:path>
                </a:pathLst>
              </a:custGeom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</p:grpSp>
        <p:grpSp>
          <p:nvGrpSpPr>
            <p:cNvPr id="73" name="Agrupar 72">
              <a:extLst>
                <a:ext uri="{FF2B5EF4-FFF2-40B4-BE49-F238E27FC236}">
                  <a16:creationId xmlns:a16="http://schemas.microsoft.com/office/drawing/2014/main" id="{C63AE833-6DDD-4175-B066-69675208C93B}"/>
                </a:ext>
              </a:extLst>
            </p:cNvPr>
            <p:cNvGrpSpPr/>
            <p:nvPr/>
          </p:nvGrpSpPr>
          <p:grpSpPr>
            <a:xfrm>
              <a:off x="9077087" y="2082334"/>
              <a:ext cx="510753" cy="337157"/>
              <a:chOff x="3618966" y="1315680"/>
              <a:chExt cx="422110" cy="278642"/>
            </a:xfrm>
          </p:grpSpPr>
          <p:sp>
            <p:nvSpPr>
              <p:cNvPr id="74" name="Forma Livre: Forma 73">
                <a:extLst>
                  <a:ext uri="{FF2B5EF4-FFF2-40B4-BE49-F238E27FC236}">
                    <a16:creationId xmlns:a16="http://schemas.microsoft.com/office/drawing/2014/main" id="{905E2808-E076-470B-9399-455028D54CD6}"/>
                  </a:ext>
                </a:extLst>
              </p:cNvPr>
              <p:cNvSpPr/>
              <p:nvPr/>
            </p:nvSpPr>
            <p:spPr>
              <a:xfrm>
                <a:off x="3618966" y="1356197"/>
                <a:ext cx="257175" cy="238125"/>
              </a:xfrm>
              <a:custGeom>
                <a:avLst/>
                <a:gdLst>
                  <a:gd name="connsiteX0" fmla="*/ 135312 w 257175"/>
                  <a:gd name="connsiteY0" fmla="*/ 3798 h 238125"/>
                  <a:gd name="connsiteX1" fmla="*/ 171126 w 257175"/>
                  <a:gd name="connsiteY1" fmla="*/ 82379 h 238125"/>
                  <a:gd name="connsiteX2" fmla="*/ 253231 w 257175"/>
                  <a:gd name="connsiteY2" fmla="*/ 89714 h 238125"/>
                  <a:gd name="connsiteX3" fmla="*/ 257137 w 257175"/>
                  <a:gd name="connsiteY3" fmla="*/ 100572 h 238125"/>
                  <a:gd name="connsiteX4" fmla="*/ 196843 w 257175"/>
                  <a:gd name="connsiteY4" fmla="*/ 160389 h 238125"/>
                  <a:gd name="connsiteX5" fmla="*/ 211988 w 257175"/>
                  <a:gd name="connsiteY5" fmla="*/ 238399 h 238125"/>
                  <a:gd name="connsiteX6" fmla="*/ 202844 w 257175"/>
                  <a:gd name="connsiteY6" fmla="*/ 245257 h 238125"/>
                  <a:gd name="connsiteX7" fmla="*/ 129501 w 257175"/>
                  <a:gd name="connsiteY7" fmla="*/ 208395 h 238125"/>
                  <a:gd name="connsiteX8" fmla="*/ 56159 w 257175"/>
                  <a:gd name="connsiteY8" fmla="*/ 244971 h 238125"/>
                  <a:gd name="connsiteX9" fmla="*/ 47110 w 257175"/>
                  <a:gd name="connsiteY9" fmla="*/ 238018 h 238125"/>
                  <a:gd name="connsiteX10" fmla="*/ 62255 w 257175"/>
                  <a:gd name="connsiteY10" fmla="*/ 160389 h 238125"/>
                  <a:gd name="connsiteX11" fmla="*/ 1867 w 257175"/>
                  <a:gd name="connsiteY11" fmla="*/ 100477 h 238125"/>
                  <a:gd name="connsiteX12" fmla="*/ 5772 w 257175"/>
                  <a:gd name="connsiteY12" fmla="*/ 89618 h 238125"/>
                  <a:gd name="connsiteX13" fmla="*/ 87877 w 257175"/>
                  <a:gd name="connsiteY13" fmla="*/ 82284 h 238125"/>
                  <a:gd name="connsiteX14" fmla="*/ 123691 w 257175"/>
                  <a:gd name="connsiteY14" fmla="*/ 3703 h 238125"/>
                  <a:gd name="connsiteX15" fmla="*/ 135312 w 257175"/>
                  <a:gd name="connsiteY15" fmla="*/ 3798 h 238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57175" h="238125">
                    <a:moveTo>
                      <a:pt x="135312" y="3798"/>
                    </a:moveTo>
                    <a:lnTo>
                      <a:pt x="171126" y="82379"/>
                    </a:lnTo>
                    <a:lnTo>
                      <a:pt x="253231" y="89714"/>
                    </a:lnTo>
                    <a:cubicBezTo>
                      <a:pt x="258661" y="90190"/>
                      <a:pt x="260946" y="96762"/>
                      <a:pt x="257137" y="100572"/>
                    </a:cubicBezTo>
                    <a:lnTo>
                      <a:pt x="196843" y="160389"/>
                    </a:lnTo>
                    <a:lnTo>
                      <a:pt x="211988" y="238399"/>
                    </a:lnTo>
                    <a:cubicBezTo>
                      <a:pt x="213036" y="243542"/>
                      <a:pt x="207606" y="247638"/>
                      <a:pt x="202844" y="245257"/>
                    </a:cubicBezTo>
                    <a:lnTo>
                      <a:pt x="129501" y="208395"/>
                    </a:lnTo>
                    <a:lnTo>
                      <a:pt x="56159" y="244971"/>
                    </a:lnTo>
                    <a:cubicBezTo>
                      <a:pt x="51396" y="247352"/>
                      <a:pt x="46063" y="243257"/>
                      <a:pt x="47110" y="238018"/>
                    </a:cubicBezTo>
                    <a:lnTo>
                      <a:pt x="62255" y="160389"/>
                    </a:lnTo>
                    <a:lnTo>
                      <a:pt x="1867" y="100477"/>
                    </a:lnTo>
                    <a:cubicBezTo>
                      <a:pt x="-1944" y="96667"/>
                      <a:pt x="438" y="90095"/>
                      <a:pt x="5772" y="89618"/>
                    </a:cubicBezTo>
                    <a:lnTo>
                      <a:pt x="87877" y="82284"/>
                    </a:lnTo>
                    <a:lnTo>
                      <a:pt x="123691" y="3703"/>
                    </a:lnTo>
                    <a:cubicBezTo>
                      <a:pt x="125977" y="-1250"/>
                      <a:pt x="133026" y="-1250"/>
                      <a:pt x="135312" y="3798"/>
                    </a:cubicBezTo>
                    <a:close/>
                  </a:path>
                </a:pathLst>
              </a:custGeom>
              <a:noFill/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75" name="Forma Livre: Forma 74">
                <a:extLst>
                  <a:ext uri="{FF2B5EF4-FFF2-40B4-BE49-F238E27FC236}">
                    <a16:creationId xmlns:a16="http://schemas.microsoft.com/office/drawing/2014/main" id="{4E703497-2582-4A1A-99CF-0CBCB9D8D5A3}"/>
                  </a:ext>
                </a:extLst>
              </p:cNvPr>
              <p:cNvSpPr/>
              <p:nvPr/>
            </p:nvSpPr>
            <p:spPr>
              <a:xfrm>
                <a:off x="3819715" y="1342064"/>
                <a:ext cx="133350" cy="200025"/>
              </a:xfrm>
              <a:custGeom>
                <a:avLst/>
                <a:gdLst>
                  <a:gd name="connsiteX0" fmla="*/ 0 w 133350"/>
                  <a:gd name="connsiteY0" fmla="*/ 68223 h 200025"/>
                  <a:gd name="connsiteX1" fmla="*/ 29718 w 133350"/>
                  <a:gd name="connsiteY1" fmla="*/ 3072 h 200025"/>
                  <a:gd name="connsiteX2" fmla="*/ 39338 w 133350"/>
                  <a:gd name="connsiteY2" fmla="*/ 3072 h 200025"/>
                  <a:gd name="connsiteX3" fmla="*/ 69056 w 133350"/>
                  <a:gd name="connsiteY3" fmla="*/ 68223 h 200025"/>
                  <a:gd name="connsiteX4" fmla="*/ 137065 w 133350"/>
                  <a:gd name="connsiteY4" fmla="*/ 74319 h 200025"/>
                  <a:gd name="connsiteX5" fmla="*/ 140303 w 133350"/>
                  <a:gd name="connsiteY5" fmla="*/ 83272 h 200025"/>
                  <a:gd name="connsiteX6" fmla="*/ 90297 w 133350"/>
                  <a:gd name="connsiteY6" fmla="*/ 132802 h 200025"/>
                  <a:gd name="connsiteX7" fmla="*/ 102775 w 133350"/>
                  <a:gd name="connsiteY7" fmla="*/ 197382 h 200025"/>
                  <a:gd name="connsiteX8" fmla="*/ 95250 w 133350"/>
                  <a:gd name="connsiteY8" fmla="*/ 203097 h 200025"/>
                  <a:gd name="connsiteX9" fmla="*/ 34480 w 133350"/>
                  <a:gd name="connsiteY9" fmla="*/ 172617 h 200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3350" h="200025">
                    <a:moveTo>
                      <a:pt x="0" y="68223"/>
                    </a:moveTo>
                    <a:lnTo>
                      <a:pt x="29718" y="3072"/>
                    </a:lnTo>
                    <a:cubicBezTo>
                      <a:pt x="31623" y="-1024"/>
                      <a:pt x="37433" y="-1024"/>
                      <a:pt x="39338" y="3072"/>
                    </a:cubicBezTo>
                    <a:lnTo>
                      <a:pt x="69056" y="68223"/>
                    </a:lnTo>
                    <a:lnTo>
                      <a:pt x="137065" y="74319"/>
                    </a:lnTo>
                    <a:cubicBezTo>
                      <a:pt x="141542" y="74700"/>
                      <a:pt x="143446" y="80129"/>
                      <a:pt x="140303" y="83272"/>
                    </a:cubicBezTo>
                    <a:lnTo>
                      <a:pt x="90297" y="132802"/>
                    </a:lnTo>
                    <a:lnTo>
                      <a:pt x="102775" y="197382"/>
                    </a:lnTo>
                    <a:cubicBezTo>
                      <a:pt x="103632" y="201668"/>
                      <a:pt x="99155" y="205097"/>
                      <a:pt x="95250" y="203097"/>
                    </a:cubicBezTo>
                    <a:lnTo>
                      <a:pt x="34480" y="172617"/>
                    </a:lnTo>
                  </a:path>
                </a:pathLst>
              </a:custGeom>
              <a:noFill/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76" name="Forma Livre: Forma 75">
                <a:extLst>
                  <a:ext uri="{FF2B5EF4-FFF2-40B4-BE49-F238E27FC236}">
                    <a16:creationId xmlns:a16="http://schemas.microsoft.com/office/drawing/2014/main" id="{ADB00147-70A7-4C0B-A51C-0CB3B32954A8}"/>
                  </a:ext>
                </a:extLst>
              </p:cNvPr>
              <p:cNvSpPr/>
              <p:nvPr/>
            </p:nvSpPr>
            <p:spPr>
              <a:xfrm>
                <a:off x="3907726" y="1315680"/>
                <a:ext cx="133350" cy="200025"/>
              </a:xfrm>
              <a:custGeom>
                <a:avLst/>
                <a:gdLst>
                  <a:gd name="connsiteX0" fmla="*/ 0 w 133350"/>
                  <a:gd name="connsiteY0" fmla="*/ 68223 h 200025"/>
                  <a:gd name="connsiteX1" fmla="*/ 29718 w 133350"/>
                  <a:gd name="connsiteY1" fmla="*/ 3072 h 200025"/>
                  <a:gd name="connsiteX2" fmla="*/ 39338 w 133350"/>
                  <a:gd name="connsiteY2" fmla="*/ 3072 h 200025"/>
                  <a:gd name="connsiteX3" fmla="*/ 69056 w 133350"/>
                  <a:gd name="connsiteY3" fmla="*/ 68223 h 200025"/>
                  <a:gd name="connsiteX4" fmla="*/ 137065 w 133350"/>
                  <a:gd name="connsiteY4" fmla="*/ 74319 h 200025"/>
                  <a:gd name="connsiteX5" fmla="*/ 140303 w 133350"/>
                  <a:gd name="connsiteY5" fmla="*/ 83272 h 200025"/>
                  <a:gd name="connsiteX6" fmla="*/ 90297 w 133350"/>
                  <a:gd name="connsiteY6" fmla="*/ 132802 h 200025"/>
                  <a:gd name="connsiteX7" fmla="*/ 102775 w 133350"/>
                  <a:gd name="connsiteY7" fmla="*/ 197382 h 200025"/>
                  <a:gd name="connsiteX8" fmla="*/ 95250 w 133350"/>
                  <a:gd name="connsiteY8" fmla="*/ 203097 h 200025"/>
                  <a:gd name="connsiteX9" fmla="*/ 34480 w 133350"/>
                  <a:gd name="connsiteY9" fmla="*/ 172617 h 200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3350" h="200025">
                    <a:moveTo>
                      <a:pt x="0" y="68223"/>
                    </a:moveTo>
                    <a:lnTo>
                      <a:pt x="29718" y="3072"/>
                    </a:lnTo>
                    <a:cubicBezTo>
                      <a:pt x="31623" y="-1024"/>
                      <a:pt x="37433" y="-1024"/>
                      <a:pt x="39338" y="3072"/>
                    </a:cubicBezTo>
                    <a:lnTo>
                      <a:pt x="69056" y="68223"/>
                    </a:lnTo>
                    <a:lnTo>
                      <a:pt x="137065" y="74319"/>
                    </a:lnTo>
                    <a:cubicBezTo>
                      <a:pt x="141541" y="74700"/>
                      <a:pt x="143446" y="80129"/>
                      <a:pt x="140303" y="83272"/>
                    </a:cubicBezTo>
                    <a:lnTo>
                      <a:pt x="90297" y="132802"/>
                    </a:lnTo>
                    <a:lnTo>
                      <a:pt x="102775" y="197382"/>
                    </a:lnTo>
                    <a:cubicBezTo>
                      <a:pt x="103632" y="201668"/>
                      <a:pt x="99155" y="205097"/>
                      <a:pt x="95250" y="203097"/>
                    </a:cubicBezTo>
                    <a:lnTo>
                      <a:pt x="34480" y="172617"/>
                    </a:lnTo>
                  </a:path>
                </a:pathLst>
              </a:custGeom>
              <a:noFill/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</p:grpSp>
        <p:grpSp>
          <p:nvGrpSpPr>
            <p:cNvPr id="78" name="Agrupar 77">
              <a:extLst>
                <a:ext uri="{FF2B5EF4-FFF2-40B4-BE49-F238E27FC236}">
                  <a16:creationId xmlns:a16="http://schemas.microsoft.com/office/drawing/2014/main" id="{29F55D80-6460-44D4-AC5E-CA3B3153AC54}"/>
                </a:ext>
              </a:extLst>
            </p:cNvPr>
            <p:cNvGrpSpPr/>
            <p:nvPr/>
          </p:nvGrpSpPr>
          <p:grpSpPr>
            <a:xfrm>
              <a:off x="4285989" y="4257301"/>
              <a:ext cx="419100" cy="419100"/>
              <a:chOff x="1318200" y="3512864"/>
              <a:chExt cx="419100" cy="419100"/>
            </a:xfrm>
          </p:grpSpPr>
          <p:sp>
            <p:nvSpPr>
              <p:cNvPr id="79" name="Forma Livre: Forma 78">
                <a:extLst>
                  <a:ext uri="{FF2B5EF4-FFF2-40B4-BE49-F238E27FC236}">
                    <a16:creationId xmlns:a16="http://schemas.microsoft.com/office/drawing/2014/main" id="{685BF23E-351F-43A6-8A3E-E776F0FC3650}"/>
                  </a:ext>
                </a:extLst>
              </p:cNvPr>
              <p:cNvSpPr/>
              <p:nvPr/>
            </p:nvSpPr>
            <p:spPr>
              <a:xfrm>
                <a:off x="1356300" y="3522389"/>
                <a:ext cx="133350" cy="161925"/>
              </a:xfrm>
              <a:custGeom>
                <a:avLst/>
                <a:gdLst>
                  <a:gd name="connsiteX0" fmla="*/ 0 w 133350"/>
                  <a:gd name="connsiteY0" fmla="*/ 76200 h 161925"/>
                  <a:gd name="connsiteX1" fmla="*/ 57150 w 133350"/>
                  <a:gd name="connsiteY1" fmla="*/ 133350 h 161925"/>
                  <a:gd name="connsiteX2" fmla="*/ 28575 w 133350"/>
                  <a:gd name="connsiteY2" fmla="*/ 161925 h 161925"/>
                  <a:gd name="connsiteX3" fmla="*/ 133350 w 133350"/>
                  <a:gd name="connsiteY3" fmla="*/ 161925 h 161925"/>
                  <a:gd name="connsiteX4" fmla="*/ 133350 w 133350"/>
                  <a:gd name="connsiteY4" fmla="*/ 57150 h 161925"/>
                  <a:gd name="connsiteX5" fmla="*/ 104775 w 133350"/>
                  <a:gd name="connsiteY5" fmla="*/ 85725 h 161925"/>
                  <a:gd name="connsiteX6" fmla="*/ 19050 w 133350"/>
                  <a:gd name="connsiteY6" fmla="*/ 0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3350" h="161925">
                    <a:moveTo>
                      <a:pt x="0" y="76200"/>
                    </a:moveTo>
                    <a:lnTo>
                      <a:pt x="57150" y="133350"/>
                    </a:lnTo>
                    <a:lnTo>
                      <a:pt x="28575" y="161925"/>
                    </a:lnTo>
                    <a:lnTo>
                      <a:pt x="133350" y="161925"/>
                    </a:lnTo>
                    <a:lnTo>
                      <a:pt x="133350" y="57150"/>
                    </a:lnTo>
                    <a:lnTo>
                      <a:pt x="104775" y="85725"/>
                    </a:lnTo>
                    <a:lnTo>
                      <a:pt x="19050" y="0"/>
                    </a:lnTo>
                  </a:path>
                </a:pathLst>
              </a:custGeom>
              <a:noFill/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80" name="Forma Livre: Forma 79">
                <a:extLst>
                  <a:ext uri="{FF2B5EF4-FFF2-40B4-BE49-F238E27FC236}">
                    <a16:creationId xmlns:a16="http://schemas.microsoft.com/office/drawing/2014/main" id="{F62B70E0-01D7-4DF5-B67D-23793A73C7E6}"/>
                  </a:ext>
                </a:extLst>
              </p:cNvPr>
              <p:cNvSpPr/>
              <p:nvPr/>
            </p:nvSpPr>
            <p:spPr>
              <a:xfrm>
                <a:off x="1318200" y="3512864"/>
                <a:ext cx="95250" cy="95250"/>
              </a:xfrm>
              <a:custGeom>
                <a:avLst/>
                <a:gdLst>
                  <a:gd name="connsiteX0" fmla="*/ 95250 w 95250"/>
                  <a:gd name="connsiteY0" fmla="*/ 95250 h 95250"/>
                  <a:gd name="connsiteX1" fmla="*/ 0 w 95250"/>
                  <a:gd name="connsiteY1" fmla="*/ 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0" h="95250">
                    <a:moveTo>
                      <a:pt x="95250" y="95250"/>
                    </a:moveTo>
                    <a:lnTo>
                      <a:pt x="0" y="0"/>
                    </a:lnTo>
                  </a:path>
                </a:pathLst>
              </a:custGeom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81" name="Forma Livre: Forma 80">
                <a:extLst>
                  <a:ext uri="{FF2B5EF4-FFF2-40B4-BE49-F238E27FC236}">
                    <a16:creationId xmlns:a16="http://schemas.microsoft.com/office/drawing/2014/main" id="{808F7080-7DBE-4306-8174-A1CE853F5C2D}"/>
                  </a:ext>
                </a:extLst>
              </p:cNvPr>
              <p:cNvSpPr/>
              <p:nvPr/>
            </p:nvSpPr>
            <p:spPr>
              <a:xfrm>
                <a:off x="1565850" y="3550964"/>
                <a:ext cx="161925" cy="133350"/>
              </a:xfrm>
              <a:custGeom>
                <a:avLst/>
                <a:gdLst>
                  <a:gd name="connsiteX0" fmla="*/ 171450 w 161925"/>
                  <a:gd name="connsiteY0" fmla="*/ 9525 h 133350"/>
                  <a:gd name="connsiteX1" fmla="*/ 76200 w 161925"/>
                  <a:gd name="connsiteY1" fmla="*/ 104775 h 133350"/>
                  <a:gd name="connsiteX2" fmla="*/ 104775 w 161925"/>
                  <a:gd name="connsiteY2" fmla="*/ 133350 h 133350"/>
                  <a:gd name="connsiteX3" fmla="*/ 0 w 161925"/>
                  <a:gd name="connsiteY3" fmla="*/ 133350 h 133350"/>
                  <a:gd name="connsiteX4" fmla="*/ 0 w 161925"/>
                  <a:gd name="connsiteY4" fmla="*/ 28575 h 133350"/>
                  <a:gd name="connsiteX5" fmla="*/ 28575 w 161925"/>
                  <a:gd name="connsiteY5" fmla="*/ 57150 h 133350"/>
                  <a:gd name="connsiteX6" fmla="*/ 85725 w 161925"/>
                  <a:gd name="connsiteY6" fmla="*/ 0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1925" h="133350">
                    <a:moveTo>
                      <a:pt x="171450" y="9525"/>
                    </a:moveTo>
                    <a:lnTo>
                      <a:pt x="76200" y="104775"/>
                    </a:lnTo>
                    <a:lnTo>
                      <a:pt x="104775" y="133350"/>
                    </a:lnTo>
                    <a:lnTo>
                      <a:pt x="0" y="133350"/>
                    </a:lnTo>
                    <a:lnTo>
                      <a:pt x="0" y="28575"/>
                    </a:lnTo>
                    <a:lnTo>
                      <a:pt x="28575" y="57150"/>
                    </a:lnTo>
                    <a:lnTo>
                      <a:pt x="85725" y="0"/>
                    </a:lnTo>
                  </a:path>
                </a:pathLst>
              </a:custGeom>
              <a:noFill/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82" name="Forma Livre: Forma 81">
                <a:extLst>
                  <a:ext uri="{FF2B5EF4-FFF2-40B4-BE49-F238E27FC236}">
                    <a16:creationId xmlns:a16="http://schemas.microsoft.com/office/drawing/2014/main" id="{8E9FC5F9-FF02-4755-BAC8-004CDC20644F}"/>
                  </a:ext>
                </a:extLst>
              </p:cNvPr>
              <p:cNvSpPr/>
              <p:nvPr/>
            </p:nvSpPr>
            <p:spPr>
              <a:xfrm>
                <a:off x="1642050" y="3512864"/>
                <a:ext cx="95250" cy="95250"/>
              </a:xfrm>
              <a:custGeom>
                <a:avLst/>
                <a:gdLst>
                  <a:gd name="connsiteX0" fmla="*/ 0 w 95250"/>
                  <a:gd name="connsiteY0" fmla="*/ 95250 h 95250"/>
                  <a:gd name="connsiteX1" fmla="*/ 95250 w 95250"/>
                  <a:gd name="connsiteY1" fmla="*/ 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0" h="95250">
                    <a:moveTo>
                      <a:pt x="0" y="95250"/>
                    </a:moveTo>
                    <a:lnTo>
                      <a:pt x="95250" y="0"/>
                    </a:lnTo>
                  </a:path>
                </a:pathLst>
              </a:custGeom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83" name="Forma Livre: Forma 82">
                <a:extLst>
                  <a:ext uri="{FF2B5EF4-FFF2-40B4-BE49-F238E27FC236}">
                    <a16:creationId xmlns:a16="http://schemas.microsoft.com/office/drawing/2014/main" id="{B25F2DD4-F4A7-42FF-9774-A8642D413B16}"/>
                  </a:ext>
                </a:extLst>
              </p:cNvPr>
              <p:cNvSpPr/>
              <p:nvPr/>
            </p:nvSpPr>
            <p:spPr>
              <a:xfrm>
                <a:off x="1327725" y="3760514"/>
                <a:ext cx="161925" cy="123825"/>
              </a:xfrm>
              <a:custGeom>
                <a:avLst/>
                <a:gdLst>
                  <a:gd name="connsiteX0" fmla="*/ 0 w 161925"/>
                  <a:gd name="connsiteY0" fmla="*/ 114300 h 123825"/>
                  <a:gd name="connsiteX1" fmla="*/ 85725 w 161925"/>
                  <a:gd name="connsiteY1" fmla="*/ 28575 h 123825"/>
                  <a:gd name="connsiteX2" fmla="*/ 57150 w 161925"/>
                  <a:gd name="connsiteY2" fmla="*/ 0 h 123825"/>
                  <a:gd name="connsiteX3" fmla="*/ 161925 w 161925"/>
                  <a:gd name="connsiteY3" fmla="*/ 0 h 123825"/>
                  <a:gd name="connsiteX4" fmla="*/ 161925 w 161925"/>
                  <a:gd name="connsiteY4" fmla="*/ 104775 h 123825"/>
                  <a:gd name="connsiteX5" fmla="*/ 133350 w 161925"/>
                  <a:gd name="connsiteY5" fmla="*/ 76200 h 123825"/>
                  <a:gd name="connsiteX6" fmla="*/ 85725 w 161925"/>
                  <a:gd name="connsiteY6" fmla="*/ 123825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1925" h="123825">
                    <a:moveTo>
                      <a:pt x="0" y="114300"/>
                    </a:moveTo>
                    <a:lnTo>
                      <a:pt x="85725" y="28575"/>
                    </a:lnTo>
                    <a:lnTo>
                      <a:pt x="57150" y="0"/>
                    </a:lnTo>
                    <a:lnTo>
                      <a:pt x="161925" y="0"/>
                    </a:lnTo>
                    <a:lnTo>
                      <a:pt x="161925" y="104775"/>
                    </a:lnTo>
                    <a:lnTo>
                      <a:pt x="133350" y="76200"/>
                    </a:lnTo>
                    <a:lnTo>
                      <a:pt x="85725" y="123825"/>
                    </a:lnTo>
                  </a:path>
                </a:pathLst>
              </a:custGeom>
              <a:noFill/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84" name="Forma Livre: Forma 83">
                <a:extLst>
                  <a:ext uri="{FF2B5EF4-FFF2-40B4-BE49-F238E27FC236}">
                    <a16:creationId xmlns:a16="http://schemas.microsoft.com/office/drawing/2014/main" id="{B3A4EF6A-8DCD-495F-ACDC-B00F36560FB7}"/>
                  </a:ext>
                </a:extLst>
              </p:cNvPr>
              <p:cNvSpPr/>
              <p:nvPr/>
            </p:nvSpPr>
            <p:spPr>
              <a:xfrm>
                <a:off x="1318200" y="3836714"/>
                <a:ext cx="95250" cy="95250"/>
              </a:xfrm>
              <a:custGeom>
                <a:avLst/>
                <a:gdLst>
                  <a:gd name="connsiteX0" fmla="*/ 95250 w 95250"/>
                  <a:gd name="connsiteY0" fmla="*/ 0 h 95250"/>
                  <a:gd name="connsiteX1" fmla="*/ 0 w 95250"/>
                  <a:gd name="connsiteY1" fmla="*/ 9525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0" h="95250">
                    <a:moveTo>
                      <a:pt x="95250" y="0"/>
                    </a:moveTo>
                    <a:lnTo>
                      <a:pt x="0" y="95250"/>
                    </a:lnTo>
                  </a:path>
                </a:pathLst>
              </a:custGeom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85" name="Forma Livre: Forma 84">
                <a:extLst>
                  <a:ext uri="{FF2B5EF4-FFF2-40B4-BE49-F238E27FC236}">
                    <a16:creationId xmlns:a16="http://schemas.microsoft.com/office/drawing/2014/main" id="{7417EAAD-E41F-4A8F-AD3F-AF42DCB891F1}"/>
                  </a:ext>
                </a:extLst>
              </p:cNvPr>
              <p:cNvSpPr/>
              <p:nvPr/>
            </p:nvSpPr>
            <p:spPr>
              <a:xfrm>
                <a:off x="1565850" y="3760514"/>
                <a:ext cx="114300" cy="161925"/>
              </a:xfrm>
              <a:custGeom>
                <a:avLst/>
                <a:gdLst>
                  <a:gd name="connsiteX0" fmla="*/ 123825 w 114300"/>
                  <a:gd name="connsiteY0" fmla="*/ 76200 h 161925"/>
                  <a:gd name="connsiteX1" fmla="*/ 76200 w 114300"/>
                  <a:gd name="connsiteY1" fmla="*/ 28575 h 161925"/>
                  <a:gd name="connsiteX2" fmla="*/ 104775 w 114300"/>
                  <a:gd name="connsiteY2" fmla="*/ 0 h 161925"/>
                  <a:gd name="connsiteX3" fmla="*/ 0 w 114300"/>
                  <a:gd name="connsiteY3" fmla="*/ 0 h 161925"/>
                  <a:gd name="connsiteX4" fmla="*/ 0 w 114300"/>
                  <a:gd name="connsiteY4" fmla="*/ 104775 h 161925"/>
                  <a:gd name="connsiteX5" fmla="*/ 28575 w 114300"/>
                  <a:gd name="connsiteY5" fmla="*/ 76200 h 161925"/>
                  <a:gd name="connsiteX6" fmla="*/ 114300 w 114300"/>
                  <a:gd name="connsiteY6" fmla="*/ 161925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4300" h="161925">
                    <a:moveTo>
                      <a:pt x="123825" y="76200"/>
                    </a:moveTo>
                    <a:lnTo>
                      <a:pt x="76200" y="28575"/>
                    </a:lnTo>
                    <a:lnTo>
                      <a:pt x="104775" y="0"/>
                    </a:lnTo>
                    <a:lnTo>
                      <a:pt x="0" y="0"/>
                    </a:lnTo>
                    <a:lnTo>
                      <a:pt x="0" y="104775"/>
                    </a:lnTo>
                    <a:lnTo>
                      <a:pt x="28575" y="76200"/>
                    </a:lnTo>
                    <a:lnTo>
                      <a:pt x="114300" y="161925"/>
                    </a:lnTo>
                  </a:path>
                </a:pathLst>
              </a:custGeom>
              <a:noFill/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86" name="Forma Livre: Forma 85">
                <a:extLst>
                  <a:ext uri="{FF2B5EF4-FFF2-40B4-BE49-F238E27FC236}">
                    <a16:creationId xmlns:a16="http://schemas.microsoft.com/office/drawing/2014/main" id="{E8DB94EA-CC25-4DC8-881D-F05998F692EF}"/>
                  </a:ext>
                </a:extLst>
              </p:cNvPr>
              <p:cNvSpPr/>
              <p:nvPr/>
            </p:nvSpPr>
            <p:spPr>
              <a:xfrm>
                <a:off x="1642050" y="3836714"/>
                <a:ext cx="95250" cy="95250"/>
              </a:xfrm>
              <a:custGeom>
                <a:avLst/>
                <a:gdLst>
                  <a:gd name="connsiteX0" fmla="*/ 0 w 95250"/>
                  <a:gd name="connsiteY0" fmla="*/ 0 h 95250"/>
                  <a:gd name="connsiteX1" fmla="*/ 95250 w 95250"/>
                  <a:gd name="connsiteY1" fmla="*/ 9525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0" h="95250">
                    <a:moveTo>
                      <a:pt x="0" y="0"/>
                    </a:moveTo>
                    <a:lnTo>
                      <a:pt x="95250" y="95250"/>
                    </a:lnTo>
                  </a:path>
                </a:pathLst>
              </a:custGeom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87" name="Forma Livre: Forma 86">
                <a:extLst>
                  <a:ext uri="{FF2B5EF4-FFF2-40B4-BE49-F238E27FC236}">
                    <a16:creationId xmlns:a16="http://schemas.microsoft.com/office/drawing/2014/main" id="{EFC5DB92-3438-42AA-ADDA-38F6C44B694B}"/>
                  </a:ext>
                </a:extLst>
              </p:cNvPr>
              <p:cNvSpPr/>
              <p:nvPr/>
            </p:nvSpPr>
            <p:spPr>
              <a:xfrm>
                <a:off x="1318200" y="3722414"/>
                <a:ext cx="95250" cy="9525"/>
              </a:xfrm>
              <a:custGeom>
                <a:avLst/>
                <a:gdLst>
                  <a:gd name="connsiteX0" fmla="*/ 95250 w 95250"/>
                  <a:gd name="connsiteY0" fmla="*/ 0 h 0"/>
                  <a:gd name="connsiteX1" fmla="*/ 0 w 95250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0">
                    <a:moveTo>
                      <a:pt x="95250" y="0"/>
                    </a:moveTo>
                    <a:lnTo>
                      <a:pt x="0" y="0"/>
                    </a:lnTo>
                  </a:path>
                </a:pathLst>
              </a:custGeom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88" name="Forma Livre: Forma 87">
                <a:extLst>
                  <a:ext uri="{FF2B5EF4-FFF2-40B4-BE49-F238E27FC236}">
                    <a16:creationId xmlns:a16="http://schemas.microsoft.com/office/drawing/2014/main" id="{ABF3507D-1D04-40AF-BE15-C840221C5B26}"/>
                  </a:ext>
                </a:extLst>
              </p:cNvPr>
              <p:cNvSpPr/>
              <p:nvPr/>
            </p:nvSpPr>
            <p:spPr>
              <a:xfrm>
                <a:off x="1642050" y="3722414"/>
                <a:ext cx="95250" cy="9525"/>
              </a:xfrm>
              <a:custGeom>
                <a:avLst/>
                <a:gdLst>
                  <a:gd name="connsiteX0" fmla="*/ 95250 w 95250"/>
                  <a:gd name="connsiteY0" fmla="*/ 0 h 0"/>
                  <a:gd name="connsiteX1" fmla="*/ 0 w 95250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0">
                    <a:moveTo>
                      <a:pt x="95250" y="0"/>
                    </a:moveTo>
                    <a:lnTo>
                      <a:pt x="0" y="0"/>
                    </a:lnTo>
                  </a:path>
                </a:pathLst>
              </a:custGeom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89" name="Forma Livre: Forma 88">
                <a:extLst>
                  <a:ext uri="{FF2B5EF4-FFF2-40B4-BE49-F238E27FC236}">
                    <a16:creationId xmlns:a16="http://schemas.microsoft.com/office/drawing/2014/main" id="{A4372A1C-7701-4E99-9CEF-8BAD66F1B863}"/>
                  </a:ext>
                </a:extLst>
              </p:cNvPr>
              <p:cNvSpPr/>
              <p:nvPr/>
            </p:nvSpPr>
            <p:spPr>
              <a:xfrm>
                <a:off x="1480125" y="3722414"/>
                <a:ext cx="95250" cy="9525"/>
              </a:xfrm>
              <a:custGeom>
                <a:avLst/>
                <a:gdLst>
                  <a:gd name="connsiteX0" fmla="*/ 95250 w 95250"/>
                  <a:gd name="connsiteY0" fmla="*/ 0 h 0"/>
                  <a:gd name="connsiteX1" fmla="*/ 0 w 95250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0">
                    <a:moveTo>
                      <a:pt x="95250" y="0"/>
                    </a:moveTo>
                    <a:lnTo>
                      <a:pt x="0" y="0"/>
                    </a:lnTo>
                  </a:path>
                </a:pathLst>
              </a:custGeom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90" name="Forma Livre: Forma 89">
                <a:extLst>
                  <a:ext uri="{FF2B5EF4-FFF2-40B4-BE49-F238E27FC236}">
                    <a16:creationId xmlns:a16="http://schemas.microsoft.com/office/drawing/2014/main" id="{AC80E4B1-39D2-4455-80E8-8415574860B9}"/>
                  </a:ext>
                </a:extLst>
              </p:cNvPr>
              <p:cNvSpPr/>
              <p:nvPr/>
            </p:nvSpPr>
            <p:spPr>
              <a:xfrm>
                <a:off x="1527750" y="3674789"/>
                <a:ext cx="9525" cy="95250"/>
              </a:xfrm>
              <a:custGeom>
                <a:avLst/>
                <a:gdLst>
                  <a:gd name="connsiteX0" fmla="*/ 0 w 0"/>
                  <a:gd name="connsiteY0" fmla="*/ 95250 h 95250"/>
                  <a:gd name="connsiteX1" fmla="*/ 0 w 0"/>
                  <a:gd name="connsiteY1" fmla="*/ 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95250">
                    <a:moveTo>
                      <a:pt x="0" y="95250"/>
                    </a:moveTo>
                    <a:lnTo>
                      <a:pt x="0" y="0"/>
                    </a:lnTo>
                  </a:path>
                </a:pathLst>
              </a:custGeom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91" name="Forma Livre: Forma 90">
                <a:extLst>
                  <a:ext uri="{FF2B5EF4-FFF2-40B4-BE49-F238E27FC236}">
                    <a16:creationId xmlns:a16="http://schemas.microsoft.com/office/drawing/2014/main" id="{80759A4C-293F-4507-85A0-596776BDEA8B}"/>
                  </a:ext>
                </a:extLst>
              </p:cNvPr>
              <p:cNvSpPr/>
              <p:nvPr/>
            </p:nvSpPr>
            <p:spPr>
              <a:xfrm>
                <a:off x="1527750" y="3512864"/>
                <a:ext cx="9525" cy="95250"/>
              </a:xfrm>
              <a:custGeom>
                <a:avLst/>
                <a:gdLst>
                  <a:gd name="connsiteX0" fmla="*/ 0 w 0"/>
                  <a:gd name="connsiteY0" fmla="*/ 95250 h 95250"/>
                  <a:gd name="connsiteX1" fmla="*/ 0 w 0"/>
                  <a:gd name="connsiteY1" fmla="*/ 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95250">
                    <a:moveTo>
                      <a:pt x="0" y="95250"/>
                    </a:moveTo>
                    <a:lnTo>
                      <a:pt x="0" y="0"/>
                    </a:lnTo>
                  </a:path>
                </a:pathLst>
              </a:custGeom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92" name="Forma Livre: Forma 91">
                <a:extLst>
                  <a:ext uri="{FF2B5EF4-FFF2-40B4-BE49-F238E27FC236}">
                    <a16:creationId xmlns:a16="http://schemas.microsoft.com/office/drawing/2014/main" id="{FF6026DA-471C-4D2B-B1B4-3501507F434A}"/>
                  </a:ext>
                </a:extLst>
              </p:cNvPr>
              <p:cNvSpPr/>
              <p:nvPr/>
            </p:nvSpPr>
            <p:spPr>
              <a:xfrm>
                <a:off x="1527750" y="3836714"/>
                <a:ext cx="9525" cy="95250"/>
              </a:xfrm>
              <a:custGeom>
                <a:avLst/>
                <a:gdLst>
                  <a:gd name="connsiteX0" fmla="*/ 0 w 0"/>
                  <a:gd name="connsiteY0" fmla="*/ 95250 h 95250"/>
                  <a:gd name="connsiteX1" fmla="*/ 0 w 0"/>
                  <a:gd name="connsiteY1" fmla="*/ 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95250">
                    <a:moveTo>
                      <a:pt x="0" y="95250"/>
                    </a:moveTo>
                    <a:lnTo>
                      <a:pt x="0" y="0"/>
                    </a:lnTo>
                  </a:path>
                </a:pathLst>
              </a:custGeom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</p:grpSp>
        <p:grpSp>
          <p:nvGrpSpPr>
            <p:cNvPr id="93" name="Agrupar 92">
              <a:extLst>
                <a:ext uri="{FF2B5EF4-FFF2-40B4-BE49-F238E27FC236}">
                  <a16:creationId xmlns:a16="http://schemas.microsoft.com/office/drawing/2014/main" id="{0ED9B8C5-0929-41DC-9233-ACFFDC3B2441}"/>
                </a:ext>
              </a:extLst>
            </p:cNvPr>
            <p:cNvGrpSpPr/>
            <p:nvPr/>
          </p:nvGrpSpPr>
          <p:grpSpPr>
            <a:xfrm>
              <a:off x="6733531" y="4262064"/>
              <a:ext cx="438150" cy="409575"/>
              <a:chOff x="10054246" y="2013310"/>
              <a:chExt cx="438150" cy="409575"/>
            </a:xfrm>
          </p:grpSpPr>
          <p:sp>
            <p:nvSpPr>
              <p:cNvPr id="94" name="Forma Livre: Forma 93">
                <a:extLst>
                  <a:ext uri="{FF2B5EF4-FFF2-40B4-BE49-F238E27FC236}">
                    <a16:creationId xmlns:a16="http://schemas.microsoft.com/office/drawing/2014/main" id="{D28B2A85-FEFE-4722-BF38-4A630D12A93B}"/>
                  </a:ext>
                </a:extLst>
              </p:cNvPr>
              <p:cNvSpPr/>
              <p:nvPr/>
            </p:nvSpPr>
            <p:spPr>
              <a:xfrm>
                <a:off x="10339996" y="2337160"/>
                <a:ext cx="66675" cy="9525"/>
              </a:xfrm>
              <a:custGeom>
                <a:avLst/>
                <a:gdLst>
                  <a:gd name="connsiteX0" fmla="*/ 66675 w 66675"/>
                  <a:gd name="connsiteY0" fmla="*/ 0 h 0"/>
                  <a:gd name="connsiteX1" fmla="*/ 0 w 6667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6675">
                    <a:moveTo>
                      <a:pt x="66675" y="0"/>
                    </a:moveTo>
                    <a:lnTo>
                      <a:pt x="0" y="0"/>
                    </a:lnTo>
                  </a:path>
                </a:pathLst>
              </a:custGeom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95" name="Forma Livre: Forma 94">
                <a:extLst>
                  <a:ext uri="{FF2B5EF4-FFF2-40B4-BE49-F238E27FC236}">
                    <a16:creationId xmlns:a16="http://schemas.microsoft.com/office/drawing/2014/main" id="{EF2F4531-533A-4244-B78D-EC14328AE04E}"/>
                  </a:ext>
                </a:extLst>
              </p:cNvPr>
              <p:cNvSpPr/>
              <p:nvPr/>
            </p:nvSpPr>
            <p:spPr>
              <a:xfrm>
                <a:off x="10111396" y="2079985"/>
                <a:ext cx="238125" cy="295275"/>
              </a:xfrm>
              <a:custGeom>
                <a:avLst/>
                <a:gdLst>
                  <a:gd name="connsiteX0" fmla="*/ 238125 w 238125"/>
                  <a:gd name="connsiteY0" fmla="*/ 0 h 295275"/>
                  <a:gd name="connsiteX1" fmla="*/ 28575 w 238125"/>
                  <a:gd name="connsiteY1" fmla="*/ 0 h 295275"/>
                  <a:gd name="connsiteX2" fmla="*/ 0 w 238125"/>
                  <a:gd name="connsiteY2" fmla="*/ 28575 h 295275"/>
                  <a:gd name="connsiteX3" fmla="*/ 0 w 238125"/>
                  <a:gd name="connsiteY3" fmla="*/ 295275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8125" h="295275">
                    <a:moveTo>
                      <a:pt x="238125" y="0"/>
                    </a:moveTo>
                    <a:lnTo>
                      <a:pt x="28575" y="0"/>
                    </a:lnTo>
                    <a:cubicBezTo>
                      <a:pt x="12763" y="0"/>
                      <a:pt x="0" y="12763"/>
                      <a:pt x="0" y="28575"/>
                    </a:cubicBezTo>
                    <a:lnTo>
                      <a:pt x="0" y="295275"/>
                    </a:lnTo>
                  </a:path>
                </a:pathLst>
              </a:custGeom>
              <a:noFill/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96" name="Forma Livre: Forma 95">
                <a:extLst>
                  <a:ext uri="{FF2B5EF4-FFF2-40B4-BE49-F238E27FC236}">
                    <a16:creationId xmlns:a16="http://schemas.microsoft.com/office/drawing/2014/main" id="{306443D0-4F4D-4FBD-BC35-FA181D7EBADC}"/>
                  </a:ext>
                </a:extLst>
              </p:cNvPr>
              <p:cNvSpPr/>
              <p:nvPr/>
            </p:nvSpPr>
            <p:spPr>
              <a:xfrm>
                <a:off x="10225696" y="2013310"/>
                <a:ext cx="238125" cy="47625"/>
              </a:xfrm>
              <a:custGeom>
                <a:avLst/>
                <a:gdLst>
                  <a:gd name="connsiteX0" fmla="*/ 238125 w 238125"/>
                  <a:gd name="connsiteY0" fmla="*/ 0 h 47625"/>
                  <a:gd name="connsiteX1" fmla="*/ 28575 w 238125"/>
                  <a:gd name="connsiteY1" fmla="*/ 0 h 47625"/>
                  <a:gd name="connsiteX2" fmla="*/ 0 w 238125"/>
                  <a:gd name="connsiteY2" fmla="*/ 28575 h 47625"/>
                  <a:gd name="connsiteX3" fmla="*/ 0 w 238125"/>
                  <a:gd name="connsiteY3" fmla="*/ 476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8125" h="47625">
                    <a:moveTo>
                      <a:pt x="238125" y="0"/>
                    </a:moveTo>
                    <a:lnTo>
                      <a:pt x="28575" y="0"/>
                    </a:lnTo>
                    <a:cubicBezTo>
                      <a:pt x="12763" y="0"/>
                      <a:pt x="0" y="12763"/>
                      <a:pt x="0" y="28575"/>
                    </a:cubicBezTo>
                    <a:lnTo>
                      <a:pt x="0" y="47625"/>
                    </a:lnTo>
                  </a:path>
                </a:pathLst>
              </a:custGeom>
              <a:noFill/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97" name="Forma Livre: Forma 96">
                <a:extLst>
                  <a:ext uri="{FF2B5EF4-FFF2-40B4-BE49-F238E27FC236}">
                    <a16:creationId xmlns:a16="http://schemas.microsoft.com/office/drawing/2014/main" id="{EB10A169-A597-4F0D-85AE-519DEE9A1B21}"/>
                  </a:ext>
                </a:extLst>
              </p:cNvPr>
              <p:cNvSpPr/>
              <p:nvPr/>
            </p:nvSpPr>
            <p:spPr>
              <a:xfrm>
                <a:off x="10282846" y="2013310"/>
                <a:ext cx="209550" cy="409575"/>
              </a:xfrm>
              <a:custGeom>
                <a:avLst/>
                <a:gdLst>
                  <a:gd name="connsiteX0" fmla="*/ 0 w 209550"/>
                  <a:gd name="connsiteY0" fmla="*/ 409575 h 409575"/>
                  <a:gd name="connsiteX1" fmla="*/ 38100 w 209550"/>
                  <a:gd name="connsiteY1" fmla="*/ 371475 h 409575"/>
                  <a:gd name="connsiteX2" fmla="*/ 38100 w 209550"/>
                  <a:gd name="connsiteY2" fmla="*/ 95250 h 409575"/>
                  <a:gd name="connsiteX3" fmla="*/ 66675 w 209550"/>
                  <a:gd name="connsiteY3" fmla="*/ 66675 h 409575"/>
                  <a:gd name="connsiteX4" fmla="*/ 95250 w 209550"/>
                  <a:gd name="connsiteY4" fmla="*/ 95250 h 409575"/>
                  <a:gd name="connsiteX5" fmla="*/ 95250 w 209550"/>
                  <a:gd name="connsiteY5" fmla="*/ 295275 h 409575"/>
                  <a:gd name="connsiteX6" fmla="*/ 123825 w 209550"/>
                  <a:gd name="connsiteY6" fmla="*/ 323850 h 409575"/>
                  <a:gd name="connsiteX7" fmla="*/ 152400 w 209550"/>
                  <a:gd name="connsiteY7" fmla="*/ 295275 h 409575"/>
                  <a:gd name="connsiteX8" fmla="*/ 152400 w 209550"/>
                  <a:gd name="connsiteY8" fmla="*/ 28575 h 409575"/>
                  <a:gd name="connsiteX9" fmla="*/ 180975 w 209550"/>
                  <a:gd name="connsiteY9" fmla="*/ 0 h 409575"/>
                  <a:gd name="connsiteX10" fmla="*/ 209550 w 209550"/>
                  <a:gd name="connsiteY10" fmla="*/ 28575 h 409575"/>
                  <a:gd name="connsiteX11" fmla="*/ 209550 w 209550"/>
                  <a:gd name="connsiteY11" fmla="*/ 57150 h 409575"/>
                  <a:gd name="connsiteX12" fmla="*/ 171450 w 209550"/>
                  <a:gd name="connsiteY12" fmla="*/ 57150 h 409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9550" h="409575">
                    <a:moveTo>
                      <a:pt x="0" y="409575"/>
                    </a:moveTo>
                    <a:cubicBezTo>
                      <a:pt x="21050" y="409575"/>
                      <a:pt x="38100" y="392525"/>
                      <a:pt x="38100" y="371475"/>
                    </a:cubicBezTo>
                    <a:lnTo>
                      <a:pt x="38100" y="95250"/>
                    </a:lnTo>
                    <a:cubicBezTo>
                      <a:pt x="38100" y="79438"/>
                      <a:pt x="50863" y="66675"/>
                      <a:pt x="66675" y="66675"/>
                    </a:cubicBezTo>
                    <a:cubicBezTo>
                      <a:pt x="82487" y="66675"/>
                      <a:pt x="95250" y="79438"/>
                      <a:pt x="95250" y="95250"/>
                    </a:cubicBezTo>
                    <a:lnTo>
                      <a:pt x="95250" y="295275"/>
                    </a:lnTo>
                    <a:cubicBezTo>
                      <a:pt x="95250" y="311087"/>
                      <a:pt x="108013" y="323850"/>
                      <a:pt x="123825" y="323850"/>
                    </a:cubicBezTo>
                    <a:cubicBezTo>
                      <a:pt x="139637" y="323850"/>
                      <a:pt x="152400" y="311087"/>
                      <a:pt x="152400" y="295275"/>
                    </a:cubicBezTo>
                    <a:lnTo>
                      <a:pt x="152400" y="28575"/>
                    </a:lnTo>
                    <a:cubicBezTo>
                      <a:pt x="152400" y="12763"/>
                      <a:pt x="165163" y="0"/>
                      <a:pt x="180975" y="0"/>
                    </a:cubicBezTo>
                    <a:cubicBezTo>
                      <a:pt x="196787" y="0"/>
                      <a:pt x="209550" y="12763"/>
                      <a:pt x="209550" y="28575"/>
                    </a:cubicBezTo>
                    <a:lnTo>
                      <a:pt x="209550" y="57150"/>
                    </a:lnTo>
                    <a:lnTo>
                      <a:pt x="171450" y="57150"/>
                    </a:lnTo>
                  </a:path>
                </a:pathLst>
              </a:custGeom>
              <a:noFill/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98" name="Forma Livre: Forma 97">
                <a:extLst>
                  <a:ext uri="{FF2B5EF4-FFF2-40B4-BE49-F238E27FC236}">
                    <a16:creationId xmlns:a16="http://schemas.microsoft.com/office/drawing/2014/main" id="{B389DD02-B163-401D-8E1B-441442387C97}"/>
                  </a:ext>
                </a:extLst>
              </p:cNvPr>
              <p:cNvSpPr/>
              <p:nvPr/>
            </p:nvSpPr>
            <p:spPr>
              <a:xfrm>
                <a:off x="10054246" y="2375260"/>
                <a:ext cx="228600" cy="47625"/>
              </a:xfrm>
              <a:custGeom>
                <a:avLst/>
                <a:gdLst>
                  <a:gd name="connsiteX0" fmla="*/ 190500 w 228600"/>
                  <a:gd name="connsiteY0" fmla="*/ 9525 h 47625"/>
                  <a:gd name="connsiteX1" fmla="*/ 190500 w 228600"/>
                  <a:gd name="connsiteY1" fmla="*/ 0 h 47625"/>
                  <a:gd name="connsiteX2" fmla="*/ 0 w 228600"/>
                  <a:gd name="connsiteY2" fmla="*/ 0 h 47625"/>
                  <a:gd name="connsiteX3" fmla="*/ 0 w 228600"/>
                  <a:gd name="connsiteY3" fmla="*/ 9525 h 47625"/>
                  <a:gd name="connsiteX4" fmla="*/ 38100 w 228600"/>
                  <a:gd name="connsiteY4" fmla="*/ 47625 h 47625"/>
                  <a:gd name="connsiteX5" fmla="*/ 228600 w 228600"/>
                  <a:gd name="connsiteY5" fmla="*/ 47625 h 47625"/>
                  <a:gd name="connsiteX6" fmla="*/ 190500 w 228600"/>
                  <a:gd name="connsiteY6" fmla="*/ 95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8600" h="47625">
                    <a:moveTo>
                      <a:pt x="190500" y="9525"/>
                    </a:moveTo>
                    <a:lnTo>
                      <a:pt x="190500" y="0"/>
                    </a:lnTo>
                    <a:lnTo>
                      <a:pt x="0" y="0"/>
                    </a:lnTo>
                    <a:lnTo>
                      <a:pt x="0" y="9525"/>
                    </a:lnTo>
                    <a:cubicBezTo>
                      <a:pt x="0" y="30575"/>
                      <a:pt x="17050" y="47625"/>
                      <a:pt x="38100" y="47625"/>
                    </a:cubicBezTo>
                    <a:lnTo>
                      <a:pt x="228600" y="47625"/>
                    </a:lnTo>
                    <a:cubicBezTo>
                      <a:pt x="207550" y="47625"/>
                      <a:pt x="190500" y="30575"/>
                      <a:pt x="190500" y="9525"/>
                    </a:cubicBezTo>
                    <a:close/>
                  </a:path>
                </a:pathLst>
              </a:custGeom>
              <a:noFill/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</p:grpSp>
        <p:grpSp>
          <p:nvGrpSpPr>
            <p:cNvPr id="99" name="Agrupar 98">
              <a:extLst>
                <a:ext uri="{FF2B5EF4-FFF2-40B4-BE49-F238E27FC236}">
                  <a16:creationId xmlns:a16="http://schemas.microsoft.com/office/drawing/2014/main" id="{7E01BC2F-5E81-4698-98ED-73F66CDB4718}"/>
                </a:ext>
              </a:extLst>
            </p:cNvPr>
            <p:cNvGrpSpPr/>
            <p:nvPr/>
          </p:nvGrpSpPr>
          <p:grpSpPr>
            <a:xfrm>
              <a:off x="9094361" y="4271589"/>
              <a:ext cx="400050" cy="390525"/>
              <a:chOff x="3640045" y="1244376"/>
              <a:chExt cx="400050" cy="390525"/>
            </a:xfrm>
          </p:grpSpPr>
          <p:sp>
            <p:nvSpPr>
              <p:cNvPr id="100" name="Forma Livre: Forma 99">
                <a:extLst>
                  <a:ext uri="{FF2B5EF4-FFF2-40B4-BE49-F238E27FC236}">
                    <a16:creationId xmlns:a16="http://schemas.microsoft.com/office/drawing/2014/main" id="{5CA3B208-8B19-4913-91B8-F7D263B60FC0}"/>
                  </a:ext>
                </a:extLst>
              </p:cNvPr>
              <p:cNvSpPr/>
              <p:nvPr/>
            </p:nvSpPr>
            <p:spPr>
              <a:xfrm>
                <a:off x="3697195" y="1272951"/>
                <a:ext cx="342900" cy="285750"/>
              </a:xfrm>
              <a:custGeom>
                <a:avLst/>
                <a:gdLst>
                  <a:gd name="connsiteX0" fmla="*/ 0 w 342900"/>
                  <a:gd name="connsiteY0" fmla="*/ 133350 h 285750"/>
                  <a:gd name="connsiteX1" fmla="*/ 0 w 342900"/>
                  <a:gd name="connsiteY1" fmla="*/ 28575 h 285750"/>
                  <a:gd name="connsiteX2" fmla="*/ 28575 w 342900"/>
                  <a:gd name="connsiteY2" fmla="*/ 0 h 285750"/>
                  <a:gd name="connsiteX3" fmla="*/ 314325 w 342900"/>
                  <a:gd name="connsiteY3" fmla="*/ 0 h 285750"/>
                  <a:gd name="connsiteX4" fmla="*/ 342900 w 342900"/>
                  <a:gd name="connsiteY4" fmla="*/ 28575 h 285750"/>
                  <a:gd name="connsiteX5" fmla="*/ 342900 w 342900"/>
                  <a:gd name="connsiteY5" fmla="*/ 266700 h 285750"/>
                  <a:gd name="connsiteX6" fmla="*/ 314325 w 342900"/>
                  <a:gd name="connsiteY6" fmla="*/ 295275 h 285750"/>
                  <a:gd name="connsiteX7" fmla="*/ 171450 w 342900"/>
                  <a:gd name="connsiteY7" fmla="*/ 295275 h 285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2900" h="285750">
                    <a:moveTo>
                      <a:pt x="0" y="133350"/>
                    </a:moveTo>
                    <a:lnTo>
                      <a:pt x="0" y="28575"/>
                    </a:lnTo>
                    <a:cubicBezTo>
                      <a:pt x="0" y="12764"/>
                      <a:pt x="12763" y="0"/>
                      <a:pt x="28575" y="0"/>
                    </a:cubicBezTo>
                    <a:lnTo>
                      <a:pt x="314325" y="0"/>
                    </a:lnTo>
                    <a:cubicBezTo>
                      <a:pt x="330137" y="0"/>
                      <a:pt x="342900" y="12764"/>
                      <a:pt x="342900" y="28575"/>
                    </a:cubicBezTo>
                    <a:lnTo>
                      <a:pt x="342900" y="266700"/>
                    </a:lnTo>
                    <a:cubicBezTo>
                      <a:pt x="342900" y="282512"/>
                      <a:pt x="330137" y="295275"/>
                      <a:pt x="314325" y="295275"/>
                    </a:cubicBezTo>
                    <a:lnTo>
                      <a:pt x="171450" y="295275"/>
                    </a:lnTo>
                  </a:path>
                </a:pathLst>
              </a:custGeom>
              <a:noFill/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101" name="Forma Livre: Forma 100">
                <a:extLst>
                  <a:ext uri="{FF2B5EF4-FFF2-40B4-BE49-F238E27FC236}">
                    <a16:creationId xmlns:a16="http://schemas.microsoft.com/office/drawing/2014/main" id="{B581348D-6812-4238-A0B7-B381D6ADEEDF}"/>
                  </a:ext>
                </a:extLst>
              </p:cNvPr>
              <p:cNvSpPr/>
              <p:nvPr/>
            </p:nvSpPr>
            <p:spPr>
              <a:xfrm>
                <a:off x="3697195" y="1272951"/>
                <a:ext cx="342900" cy="66675"/>
              </a:xfrm>
              <a:custGeom>
                <a:avLst/>
                <a:gdLst>
                  <a:gd name="connsiteX0" fmla="*/ 342900 w 342900"/>
                  <a:gd name="connsiteY0" fmla="*/ 66675 h 66675"/>
                  <a:gd name="connsiteX1" fmla="*/ 0 w 342900"/>
                  <a:gd name="connsiteY1" fmla="*/ 66675 h 66675"/>
                  <a:gd name="connsiteX2" fmla="*/ 0 w 342900"/>
                  <a:gd name="connsiteY2" fmla="*/ 19050 h 66675"/>
                  <a:gd name="connsiteX3" fmla="*/ 19050 w 342900"/>
                  <a:gd name="connsiteY3" fmla="*/ 0 h 66675"/>
                  <a:gd name="connsiteX4" fmla="*/ 323850 w 342900"/>
                  <a:gd name="connsiteY4" fmla="*/ 0 h 66675"/>
                  <a:gd name="connsiteX5" fmla="*/ 342900 w 342900"/>
                  <a:gd name="connsiteY5" fmla="*/ 19050 h 66675"/>
                  <a:gd name="connsiteX6" fmla="*/ 342900 w 342900"/>
                  <a:gd name="connsiteY6" fmla="*/ 6667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42900" h="66675">
                    <a:moveTo>
                      <a:pt x="342900" y="66675"/>
                    </a:moveTo>
                    <a:lnTo>
                      <a:pt x="0" y="66675"/>
                    </a:lnTo>
                    <a:lnTo>
                      <a:pt x="0" y="19050"/>
                    </a:lnTo>
                    <a:cubicBezTo>
                      <a:pt x="0" y="8573"/>
                      <a:pt x="8572" y="0"/>
                      <a:pt x="19050" y="0"/>
                    </a:cubicBezTo>
                    <a:lnTo>
                      <a:pt x="323850" y="0"/>
                    </a:lnTo>
                    <a:cubicBezTo>
                      <a:pt x="334328" y="0"/>
                      <a:pt x="342900" y="8573"/>
                      <a:pt x="342900" y="19050"/>
                    </a:cubicBezTo>
                    <a:lnTo>
                      <a:pt x="342900" y="66675"/>
                    </a:lnTo>
                    <a:close/>
                  </a:path>
                </a:pathLst>
              </a:custGeom>
              <a:noFill/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102" name="Forma Livre: Forma 101">
                <a:extLst>
                  <a:ext uri="{FF2B5EF4-FFF2-40B4-BE49-F238E27FC236}">
                    <a16:creationId xmlns:a16="http://schemas.microsoft.com/office/drawing/2014/main" id="{00A5F41E-D2E9-4A53-8674-B17CA34E4F69}"/>
                  </a:ext>
                </a:extLst>
              </p:cNvPr>
              <p:cNvSpPr/>
              <p:nvPr/>
            </p:nvSpPr>
            <p:spPr>
              <a:xfrm>
                <a:off x="3754345" y="1244376"/>
                <a:ext cx="9525" cy="57150"/>
              </a:xfrm>
              <a:custGeom>
                <a:avLst/>
                <a:gdLst>
                  <a:gd name="connsiteX0" fmla="*/ 0 w 0"/>
                  <a:gd name="connsiteY0" fmla="*/ 0 h 57150"/>
                  <a:gd name="connsiteX1" fmla="*/ 0 w 0"/>
                  <a:gd name="connsiteY1" fmla="*/ 57150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57150">
                    <a:moveTo>
                      <a:pt x="0" y="0"/>
                    </a:moveTo>
                    <a:lnTo>
                      <a:pt x="0" y="57150"/>
                    </a:lnTo>
                  </a:path>
                </a:pathLst>
              </a:custGeom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103" name="Forma Livre: Forma 102">
                <a:extLst>
                  <a:ext uri="{FF2B5EF4-FFF2-40B4-BE49-F238E27FC236}">
                    <a16:creationId xmlns:a16="http://schemas.microsoft.com/office/drawing/2014/main" id="{9CDF718D-EDE1-4707-8451-280A238FFBE3}"/>
                  </a:ext>
                </a:extLst>
              </p:cNvPr>
              <p:cNvSpPr/>
              <p:nvPr/>
            </p:nvSpPr>
            <p:spPr>
              <a:xfrm>
                <a:off x="3811495" y="1244376"/>
                <a:ext cx="9525" cy="57150"/>
              </a:xfrm>
              <a:custGeom>
                <a:avLst/>
                <a:gdLst>
                  <a:gd name="connsiteX0" fmla="*/ 0 w 0"/>
                  <a:gd name="connsiteY0" fmla="*/ 0 h 57150"/>
                  <a:gd name="connsiteX1" fmla="*/ 0 w 0"/>
                  <a:gd name="connsiteY1" fmla="*/ 57150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57150">
                    <a:moveTo>
                      <a:pt x="0" y="0"/>
                    </a:moveTo>
                    <a:lnTo>
                      <a:pt x="0" y="57150"/>
                    </a:lnTo>
                  </a:path>
                </a:pathLst>
              </a:custGeom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104" name="Forma Livre: Forma 103">
                <a:extLst>
                  <a:ext uri="{FF2B5EF4-FFF2-40B4-BE49-F238E27FC236}">
                    <a16:creationId xmlns:a16="http://schemas.microsoft.com/office/drawing/2014/main" id="{931CD11B-5CAE-434E-808A-6B922BBCC29C}"/>
                  </a:ext>
                </a:extLst>
              </p:cNvPr>
              <p:cNvSpPr/>
              <p:nvPr/>
            </p:nvSpPr>
            <p:spPr>
              <a:xfrm>
                <a:off x="3868645" y="1244376"/>
                <a:ext cx="9525" cy="57150"/>
              </a:xfrm>
              <a:custGeom>
                <a:avLst/>
                <a:gdLst>
                  <a:gd name="connsiteX0" fmla="*/ 0 w 0"/>
                  <a:gd name="connsiteY0" fmla="*/ 0 h 57150"/>
                  <a:gd name="connsiteX1" fmla="*/ 0 w 0"/>
                  <a:gd name="connsiteY1" fmla="*/ 57150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57150">
                    <a:moveTo>
                      <a:pt x="0" y="0"/>
                    </a:moveTo>
                    <a:lnTo>
                      <a:pt x="0" y="57150"/>
                    </a:lnTo>
                  </a:path>
                </a:pathLst>
              </a:custGeom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105" name="Forma Livre: Forma 104">
                <a:extLst>
                  <a:ext uri="{FF2B5EF4-FFF2-40B4-BE49-F238E27FC236}">
                    <a16:creationId xmlns:a16="http://schemas.microsoft.com/office/drawing/2014/main" id="{573696DE-096F-4059-BE91-84B276D6506A}"/>
                  </a:ext>
                </a:extLst>
              </p:cNvPr>
              <p:cNvSpPr/>
              <p:nvPr/>
            </p:nvSpPr>
            <p:spPr>
              <a:xfrm>
                <a:off x="3925795" y="1244376"/>
                <a:ext cx="9525" cy="57150"/>
              </a:xfrm>
              <a:custGeom>
                <a:avLst/>
                <a:gdLst>
                  <a:gd name="connsiteX0" fmla="*/ 0 w 0"/>
                  <a:gd name="connsiteY0" fmla="*/ 0 h 57150"/>
                  <a:gd name="connsiteX1" fmla="*/ 0 w 0"/>
                  <a:gd name="connsiteY1" fmla="*/ 57150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57150">
                    <a:moveTo>
                      <a:pt x="0" y="0"/>
                    </a:moveTo>
                    <a:lnTo>
                      <a:pt x="0" y="57150"/>
                    </a:lnTo>
                  </a:path>
                </a:pathLst>
              </a:custGeom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106" name="Forma Livre: Forma 105">
                <a:extLst>
                  <a:ext uri="{FF2B5EF4-FFF2-40B4-BE49-F238E27FC236}">
                    <a16:creationId xmlns:a16="http://schemas.microsoft.com/office/drawing/2014/main" id="{E629765C-D482-4F2D-86C1-8322ED13CDAB}"/>
                  </a:ext>
                </a:extLst>
              </p:cNvPr>
              <p:cNvSpPr/>
              <p:nvPr/>
            </p:nvSpPr>
            <p:spPr>
              <a:xfrm>
                <a:off x="3982945" y="1244376"/>
                <a:ext cx="9525" cy="57150"/>
              </a:xfrm>
              <a:custGeom>
                <a:avLst/>
                <a:gdLst>
                  <a:gd name="connsiteX0" fmla="*/ 0 w 0"/>
                  <a:gd name="connsiteY0" fmla="*/ 0 h 57150"/>
                  <a:gd name="connsiteX1" fmla="*/ 0 w 0"/>
                  <a:gd name="connsiteY1" fmla="*/ 57150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57150">
                    <a:moveTo>
                      <a:pt x="0" y="0"/>
                    </a:moveTo>
                    <a:lnTo>
                      <a:pt x="0" y="57150"/>
                    </a:lnTo>
                  </a:path>
                </a:pathLst>
              </a:custGeom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107" name="Forma Livre: Forma 106">
                <a:extLst>
                  <a:ext uri="{FF2B5EF4-FFF2-40B4-BE49-F238E27FC236}">
                    <a16:creationId xmlns:a16="http://schemas.microsoft.com/office/drawing/2014/main" id="{D7DACDBB-F4A0-4702-9D53-090EDBF918E1}"/>
                  </a:ext>
                </a:extLst>
              </p:cNvPr>
              <p:cNvSpPr/>
              <p:nvPr/>
            </p:nvSpPr>
            <p:spPr>
              <a:xfrm>
                <a:off x="3640045" y="1425351"/>
                <a:ext cx="209550" cy="209550"/>
              </a:xfrm>
              <a:custGeom>
                <a:avLst/>
                <a:gdLst>
                  <a:gd name="connsiteX0" fmla="*/ 209550 w 209550"/>
                  <a:gd name="connsiteY0" fmla="*/ 104775 h 209550"/>
                  <a:gd name="connsiteX1" fmla="*/ 104775 w 209550"/>
                  <a:gd name="connsiteY1" fmla="*/ 209550 h 209550"/>
                  <a:gd name="connsiteX2" fmla="*/ 0 w 209550"/>
                  <a:gd name="connsiteY2" fmla="*/ 104775 h 209550"/>
                  <a:gd name="connsiteX3" fmla="*/ 104775 w 209550"/>
                  <a:gd name="connsiteY3" fmla="*/ 0 h 209550"/>
                  <a:gd name="connsiteX4" fmla="*/ 209550 w 209550"/>
                  <a:gd name="connsiteY4" fmla="*/ 104775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9550" h="209550">
                    <a:moveTo>
                      <a:pt x="209550" y="104775"/>
                    </a:moveTo>
                    <a:cubicBezTo>
                      <a:pt x="209550" y="162641"/>
                      <a:pt x="162641" y="209550"/>
                      <a:pt x="104775" y="209550"/>
                    </a:cubicBezTo>
                    <a:cubicBezTo>
                      <a:pt x="46909" y="209550"/>
                      <a:pt x="0" y="162641"/>
                      <a:pt x="0" y="104775"/>
                    </a:cubicBezTo>
                    <a:cubicBezTo>
                      <a:pt x="0" y="46909"/>
                      <a:pt x="46909" y="0"/>
                      <a:pt x="104775" y="0"/>
                    </a:cubicBezTo>
                    <a:cubicBezTo>
                      <a:pt x="162641" y="0"/>
                      <a:pt x="209550" y="46909"/>
                      <a:pt x="209550" y="104775"/>
                    </a:cubicBezTo>
                    <a:close/>
                  </a:path>
                </a:pathLst>
              </a:custGeom>
              <a:noFill/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  <p:sp>
            <p:nvSpPr>
              <p:cNvPr id="108" name="Forma Livre: Forma 107">
                <a:extLst>
                  <a:ext uri="{FF2B5EF4-FFF2-40B4-BE49-F238E27FC236}">
                    <a16:creationId xmlns:a16="http://schemas.microsoft.com/office/drawing/2014/main" id="{AB33113F-A3BD-4FBD-B6F3-1E78A81BFA8C}"/>
                  </a:ext>
                </a:extLst>
              </p:cNvPr>
              <p:cNvSpPr/>
              <p:nvPr/>
            </p:nvSpPr>
            <p:spPr>
              <a:xfrm>
                <a:off x="3744820" y="1463451"/>
                <a:ext cx="57150" cy="66675"/>
              </a:xfrm>
              <a:custGeom>
                <a:avLst/>
                <a:gdLst>
                  <a:gd name="connsiteX0" fmla="*/ 0 w 57150"/>
                  <a:gd name="connsiteY0" fmla="*/ 0 h 66675"/>
                  <a:gd name="connsiteX1" fmla="*/ 0 w 57150"/>
                  <a:gd name="connsiteY1" fmla="*/ 66675 h 66675"/>
                  <a:gd name="connsiteX2" fmla="*/ 57150 w 57150"/>
                  <a:gd name="connsiteY2" fmla="*/ 6667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7150" h="66675">
                    <a:moveTo>
                      <a:pt x="0" y="0"/>
                    </a:moveTo>
                    <a:lnTo>
                      <a:pt x="0" y="66675"/>
                    </a:lnTo>
                    <a:lnTo>
                      <a:pt x="57150" y="66675"/>
                    </a:lnTo>
                  </a:path>
                </a:pathLst>
              </a:custGeom>
              <a:noFill/>
              <a:ln w="19050" cap="rnd">
                <a:solidFill>
                  <a:srgbClr val="FF78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endParaRPr>
              </a:p>
            </p:txBody>
          </p:sp>
        </p:grpSp>
      </p:grpSp>
      <p:grpSp>
        <p:nvGrpSpPr>
          <p:cNvPr id="109" name="Agrupar 108">
            <a:extLst>
              <a:ext uri="{FF2B5EF4-FFF2-40B4-BE49-F238E27FC236}">
                <a16:creationId xmlns:a16="http://schemas.microsoft.com/office/drawing/2014/main" id="{8E2AA193-2BFD-4ED8-A106-C6684329F0F9}"/>
              </a:ext>
            </a:extLst>
          </p:cNvPr>
          <p:cNvGrpSpPr/>
          <p:nvPr/>
        </p:nvGrpSpPr>
        <p:grpSpPr>
          <a:xfrm>
            <a:off x="0" y="6370320"/>
            <a:ext cx="11993879" cy="433452"/>
            <a:chOff x="0" y="6370320"/>
            <a:chExt cx="11993879" cy="433452"/>
          </a:xfrm>
        </p:grpSpPr>
        <p:pic>
          <p:nvPicPr>
            <p:cNvPr id="110" name="Imagem 109">
              <a:extLst>
                <a:ext uri="{FF2B5EF4-FFF2-40B4-BE49-F238E27FC236}">
                  <a16:creationId xmlns:a16="http://schemas.microsoft.com/office/drawing/2014/main" id="{CA6C4616-2172-467D-8E8C-EE1BB2A7DFA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682757" y="6370320"/>
              <a:ext cx="311122" cy="311122"/>
            </a:xfrm>
            <a:prstGeom prst="rect">
              <a:avLst/>
            </a:prstGeom>
          </p:spPr>
        </p:pic>
        <p:sp>
          <p:nvSpPr>
            <p:cNvPr id="111" name="MSIPCMContentMarking" descr="{&quot;HashCode&quot;:1316756096,&quot;Placement&quot;:&quot;Footer&quot;}">
              <a:extLst>
                <a:ext uri="{FF2B5EF4-FFF2-40B4-BE49-F238E27FC236}">
                  <a16:creationId xmlns:a16="http://schemas.microsoft.com/office/drawing/2014/main" id="{AD9440E8-BE8D-4439-B862-6990629D0BEF}"/>
                </a:ext>
              </a:extLst>
            </p:cNvPr>
            <p:cNvSpPr txBox="1"/>
            <p:nvPr/>
          </p:nvSpPr>
          <p:spPr>
            <a:xfrm>
              <a:off x="0" y="6649884"/>
              <a:ext cx="1406068" cy="15388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1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Text" panose="020B0503020204020203" pitchFamily="34" charset="0"/>
                  <a:ea typeface="+mn-ea"/>
                  <a:cs typeface="Itau Text" panose="020B0503020204020203" pitchFamily="34" charset="0"/>
                </a:rPr>
                <a:t>Corporativo | Interno</a:t>
              </a:r>
            </a:p>
          </p:txBody>
        </p:sp>
        <p:sp>
          <p:nvSpPr>
            <p:cNvPr id="112" name="CaixaDeTexto 111">
              <a:extLst>
                <a:ext uri="{FF2B5EF4-FFF2-40B4-BE49-F238E27FC236}">
                  <a16:creationId xmlns:a16="http://schemas.microsoft.com/office/drawing/2014/main" id="{4749F795-331E-479A-9725-4E90558D034D}"/>
                </a:ext>
              </a:extLst>
            </p:cNvPr>
            <p:cNvSpPr txBox="1"/>
            <p:nvPr/>
          </p:nvSpPr>
          <p:spPr>
            <a:xfrm>
              <a:off x="11062491" y="6438616"/>
              <a:ext cx="502626" cy="230832"/>
            </a:xfrm>
            <a:prstGeom prst="rect">
              <a:avLst/>
            </a:prstGeom>
          </p:spPr>
          <p:txBody>
            <a:bodyPr vert="horz" wrap="square" lIns="68580" tIns="34290" rIns="68580" bIns="34290" numCol="1" anchor="ctr" anchorCtr="0" compatLnSpc="1">
              <a:prstTxWarp prst="textNoShape">
                <a:avLst/>
              </a:prstTxWarp>
            </a:bodyPr>
            <a:lstStyle>
              <a:defPPr>
                <a:defRPr lang="pt-BR"/>
              </a:defPPr>
              <a:lvl1pPr algn="r">
                <a:defRPr sz="900" b="1">
                  <a:solidFill>
                    <a:srgbClr val="606163"/>
                  </a:solidFill>
                </a:defRPr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9B9BAEC2-C893-4510-BAEC-A634F6DBFF95}" type="slidenum">
                <a:rPr kumimoji="0" lang="en-US" altLang="pt-BR" sz="1000" b="0" i="0" u="none" strike="noStrike" kern="120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Text" panose="020B0503020204020203" pitchFamily="34" charset="0"/>
                  <a:ea typeface="+mn-ea"/>
                  <a:cs typeface="Itau Text" panose="020B0503020204020203" pitchFamily="34" charset="0"/>
                </a:rPr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43</a:t>
              </a:fld>
              <a:endParaRPr kumimoji="0" lang="en-US" altLang="pt-BR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Text" panose="020B0503020204020203" pitchFamily="34" charset="0"/>
                <a:ea typeface="+mn-ea"/>
                <a:cs typeface="Itau Text" panose="020B0503020204020203" pitchFamily="34" charset="0"/>
              </a:endParaRPr>
            </a:p>
          </p:txBody>
        </p:sp>
      </p:grpSp>
      <p:sp>
        <p:nvSpPr>
          <p:cNvPr id="11" name="Retângulo 10">
            <a:extLst>
              <a:ext uri="{FF2B5EF4-FFF2-40B4-BE49-F238E27FC236}">
                <a16:creationId xmlns:a16="http://schemas.microsoft.com/office/drawing/2014/main" id="{1A55AD58-C353-F40D-D764-2B277E6C46D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1261390" y="6394753"/>
            <a:ext cx="311122" cy="299128"/>
          </a:xfrm>
          <a:prstGeom prst="rect">
            <a:avLst/>
          </a:prstGeom>
          <a:solidFill>
            <a:srgbClr val="FF7900"/>
          </a:solidFill>
          <a:ln>
            <a:solidFill>
              <a:srgbClr val="FF79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tângulo 11">
            <a:extLst>
              <a:ext uri="{FF2B5EF4-FFF2-40B4-BE49-F238E27FC236}">
                <a16:creationId xmlns:a16="http://schemas.microsoft.com/office/drawing/2014/main" id="{0AD689FD-0A62-EE05-3563-6F014B599A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1675362" y="6375081"/>
            <a:ext cx="311122" cy="299128"/>
          </a:xfrm>
          <a:prstGeom prst="rect">
            <a:avLst/>
          </a:prstGeom>
          <a:solidFill>
            <a:srgbClr val="FF7900"/>
          </a:solidFill>
          <a:ln>
            <a:solidFill>
              <a:srgbClr val="FF79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8767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 descr="Uma imagem contendo Interface gráfica do usuário&#10;&#10;Descrição gerada automaticamente">
            <a:extLst>
              <a:ext uri="{FF2B5EF4-FFF2-40B4-BE49-F238E27FC236}">
                <a16:creationId xmlns:a16="http://schemas.microsoft.com/office/drawing/2014/main" id="{96CEB947-EDE3-F177-F11A-D1F9645FEBA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577"/>
          <a:stretch/>
        </p:blipFill>
        <p:spPr>
          <a:xfrm>
            <a:off x="341522" y="190053"/>
            <a:ext cx="8001703" cy="6470735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ACF721F5-7D3A-3EF3-EAD0-D04C449A740A}"/>
              </a:ext>
            </a:extLst>
          </p:cNvPr>
          <p:cNvSpPr txBox="1"/>
          <p:nvPr/>
        </p:nvSpPr>
        <p:spPr>
          <a:xfrm>
            <a:off x="8506079" y="190054"/>
            <a:ext cx="3327958" cy="1188000"/>
          </a:xfrm>
          <a:prstGeom prst="rect">
            <a:avLst/>
          </a:prstGeom>
          <a:solidFill>
            <a:srgbClr val="007A47">
              <a:alpha val="14902"/>
            </a:srgbClr>
          </a:solidFill>
          <a:ln>
            <a:solidFill>
              <a:srgbClr val="007A47"/>
            </a:solidFill>
          </a:ln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Entrevistas</a:t>
            </a:r>
            <a:b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Pesquisa Quantitativa</a:t>
            </a:r>
            <a:b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Desk </a:t>
            </a: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Research</a:t>
            </a:r>
            <a:b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Benchmarking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DB65A16-2816-A5D4-3456-6759FC18715E}"/>
              </a:ext>
            </a:extLst>
          </p:cNvPr>
          <p:cNvSpPr txBox="1"/>
          <p:nvPr/>
        </p:nvSpPr>
        <p:spPr>
          <a:xfrm>
            <a:off x="8506080" y="1510738"/>
            <a:ext cx="3327958" cy="1188000"/>
          </a:xfrm>
          <a:prstGeom prst="rect">
            <a:avLst/>
          </a:prstGeom>
          <a:solidFill>
            <a:srgbClr val="106EB0">
              <a:alpha val="25098"/>
            </a:srgbClr>
          </a:solidFill>
          <a:ln>
            <a:solidFill>
              <a:srgbClr val="106EB0"/>
            </a:solidFill>
          </a:ln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Fluxo do usuário</a:t>
            </a:r>
            <a:b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Análise de Tarefas</a:t>
            </a:r>
            <a:b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Jornada do usuário</a:t>
            </a:r>
            <a:b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Personas e cenários</a:t>
            </a:r>
            <a:b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Matriz de priorização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C592AE10-4740-AE3B-67D8-FE631C884A8B}"/>
              </a:ext>
            </a:extLst>
          </p:cNvPr>
          <p:cNvSpPr txBox="1"/>
          <p:nvPr/>
        </p:nvSpPr>
        <p:spPr>
          <a:xfrm>
            <a:off x="8506079" y="2831422"/>
            <a:ext cx="3327958" cy="1188000"/>
          </a:xfrm>
          <a:prstGeom prst="rect">
            <a:avLst/>
          </a:prstGeom>
          <a:solidFill>
            <a:srgbClr val="106EB0">
              <a:alpha val="25098"/>
            </a:srgbClr>
          </a:solidFill>
          <a:ln>
            <a:solidFill>
              <a:srgbClr val="106EB0"/>
            </a:solidFill>
          </a:ln>
        </p:spPr>
        <p:txBody>
          <a:bodyPr wrap="square" anchor="ctr">
            <a:spAutoFit/>
          </a:bodyPr>
          <a:lstStyle>
            <a:defPPr>
              <a:defRPr lang="pt-BR"/>
            </a:defPPr>
            <a:lvl1pPr>
              <a:defRPr sz="1600">
                <a:effectLst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Mindmap</a:t>
            </a:r>
            <a:b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Geração de hipóteses</a:t>
            </a:r>
            <a:b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Card </a:t>
            </a: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Sorting</a:t>
            </a:r>
            <a:b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Brainstorming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C75A8A0A-F690-4DED-9C78-4852F2A98FB9}"/>
              </a:ext>
            </a:extLst>
          </p:cNvPr>
          <p:cNvSpPr txBox="1"/>
          <p:nvPr/>
        </p:nvSpPr>
        <p:spPr>
          <a:xfrm>
            <a:off x="8506079" y="4152106"/>
            <a:ext cx="3327958" cy="1188000"/>
          </a:xfrm>
          <a:prstGeom prst="rect">
            <a:avLst/>
          </a:prstGeom>
          <a:solidFill>
            <a:srgbClr val="781B8E">
              <a:alpha val="25098"/>
            </a:srgbClr>
          </a:solidFill>
          <a:ln>
            <a:solidFill>
              <a:srgbClr val="781B8E"/>
            </a:solidFill>
          </a:ln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Wireframe</a:t>
            </a:r>
            <a:b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Sitemap</a:t>
            </a:r>
            <a:b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User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flow</a:t>
            </a:r>
            <a:b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Análise heurística</a:t>
            </a:r>
            <a:b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Protótipos de baixa e alta </a:t>
            </a: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fideli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.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5A63F5F1-EBB0-942D-0EF5-CAE01E8F59FC}"/>
              </a:ext>
            </a:extLst>
          </p:cNvPr>
          <p:cNvSpPr txBox="1"/>
          <p:nvPr/>
        </p:nvSpPr>
        <p:spPr>
          <a:xfrm>
            <a:off x="8506079" y="5472789"/>
            <a:ext cx="3327958" cy="1188000"/>
          </a:xfrm>
          <a:prstGeom prst="rect">
            <a:avLst/>
          </a:prstGeom>
          <a:solidFill>
            <a:srgbClr val="F1AE2F">
              <a:alpha val="30196"/>
            </a:srgbClr>
          </a:solidFill>
          <a:ln>
            <a:solidFill>
              <a:srgbClr val="F1AE2F"/>
            </a:solidFill>
          </a:ln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Protótipo navegável</a:t>
            </a:r>
            <a:b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Interações</a:t>
            </a:r>
            <a:b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Teste de usabilidade</a:t>
            </a:r>
            <a:b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Teste A/B</a:t>
            </a:r>
            <a:b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Experimentos</a:t>
            </a:r>
          </a:p>
        </p:txBody>
      </p:sp>
    </p:spTree>
    <p:extLst>
      <p:ext uri="{BB962C8B-B14F-4D97-AF65-F5344CB8AC3E}">
        <p14:creationId xmlns:p14="http://schemas.microsoft.com/office/powerpoint/2010/main" val="63436536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073744D-DFC9-C44C-9455-CECD37CAD34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-15875" y="0"/>
            <a:ext cx="12207875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356F10A-0603-4D45-AB80-FEFB6D3AF5AD}"/>
              </a:ext>
            </a:extLst>
          </p:cNvPr>
          <p:cNvSpPr/>
          <p:nvPr/>
        </p:nvSpPr>
        <p:spPr>
          <a:xfrm>
            <a:off x="-31752" y="-111126"/>
            <a:ext cx="12231689" cy="6969126"/>
          </a:xfrm>
          <a:prstGeom prst="rect">
            <a:avLst/>
          </a:prstGeom>
          <a:gradFill>
            <a:gsLst>
              <a:gs pos="100000">
                <a:schemeClr val="accent2">
                  <a:lumMod val="60000"/>
                  <a:lumOff val="40000"/>
                  <a:alpha val="78000"/>
                </a:schemeClr>
              </a:gs>
              <a:gs pos="38000">
                <a:srgbClr val="957F8A">
                  <a:alpha val="90761"/>
                </a:srgbClr>
              </a:gs>
              <a:gs pos="12000">
                <a:schemeClr val="tx2">
                  <a:alpha val="77002"/>
                </a:scheme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srgbClr val="FEFFF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32E412EC-ABF0-495D-B8B1-7F42EC155BF5}"/>
              </a:ext>
            </a:extLst>
          </p:cNvPr>
          <p:cNvSpPr/>
          <p:nvPr/>
        </p:nvSpPr>
        <p:spPr>
          <a:xfrm>
            <a:off x="3502920" y="6008564"/>
            <a:ext cx="342900" cy="342900"/>
          </a:xfrm>
          <a:prstGeom prst="ellipse">
            <a:avLst/>
          </a:prstGeom>
          <a:solidFill>
            <a:schemeClr val="bg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FEFFF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D9285B7E-D443-46C5-9F96-9096071D5C5B}"/>
              </a:ext>
            </a:extLst>
          </p:cNvPr>
          <p:cNvSpPr>
            <a:spLocks/>
          </p:cNvSpPr>
          <p:nvPr/>
        </p:nvSpPr>
        <p:spPr bwMode="auto">
          <a:xfrm>
            <a:off x="-23813" y="-111126"/>
            <a:ext cx="12207875" cy="6650038"/>
          </a:xfrm>
          <a:custGeom>
            <a:avLst/>
            <a:gdLst>
              <a:gd name="T0" fmla="*/ 0 w 2912"/>
              <a:gd name="T1" fmla="*/ 604 h 1848"/>
              <a:gd name="T2" fmla="*/ 0 w 2912"/>
              <a:gd name="T3" fmla="*/ 0 h 1848"/>
              <a:gd name="T4" fmla="*/ 2912 w 2912"/>
              <a:gd name="T5" fmla="*/ 0 h 1848"/>
              <a:gd name="T6" fmla="*/ 2912 w 2912"/>
              <a:gd name="T7" fmla="*/ 1732 h 1848"/>
              <a:gd name="T8" fmla="*/ 2012 w 2912"/>
              <a:gd name="T9" fmla="*/ 1456 h 1848"/>
              <a:gd name="T10" fmla="*/ 904 w 2912"/>
              <a:gd name="T11" fmla="*/ 1812 h 1848"/>
              <a:gd name="T12" fmla="*/ 508 w 2912"/>
              <a:gd name="T13" fmla="*/ 1052 h 1848"/>
              <a:gd name="T14" fmla="*/ 0 w 2912"/>
              <a:gd name="T15" fmla="*/ 604 h 1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912" h="1848">
                <a:moveTo>
                  <a:pt x="0" y="604"/>
                </a:moveTo>
                <a:cubicBezTo>
                  <a:pt x="0" y="0"/>
                  <a:pt x="0" y="0"/>
                  <a:pt x="0" y="0"/>
                </a:cubicBezTo>
                <a:cubicBezTo>
                  <a:pt x="2912" y="0"/>
                  <a:pt x="2912" y="0"/>
                  <a:pt x="2912" y="0"/>
                </a:cubicBezTo>
                <a:cubicBezTo>
                  <a:pt x="2912" y="1732"/>
                  <a:pt x="2912" y="1732"/>
                  <a:pt x="2912" y="1732"/>
                </a:cubicBezTo>
                <a:cubicBezTo>
                  <a:pt x="2912" y="1732"/>
                  <a:pt x="2568" y="1240"/>
                  <a:pt x="2012" y="1456"/>
                </a:cubicBezTo>
                <a:cubicBezTo>
                  <a:pt x="1456" y="1672"/>
                  <a:pt x="1376" y="1848"/>
                  <a:pt x="904" y="1812"/>
                </a:cubicBezTo>
                <a:cubicBezTo>
                  <a:pt x="432" y="1776"/>
                  <a:pt x="512" y="1128"/>
                  <a:pt x="508" y="1052"/>
                </a:cubicBezTo>
                <a:cubicBezTo>
                  <a:pt x="504" y="976"/>
                  <a:pt x="520" y="528"/>
                  <a:pt x="0" y="604"/>
                </a:cubicBezTo>
                <a:close/>
              </a:path>
            </a:pathLst>
          </a:custGeom>
          <a:solidFill>
            <a:schemeClr val="bg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FEFFF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1256D3EB-B067-407B-960B-3A4CE68DA001}"/>
              </a:ext>
            </a:extLst>
          </p:cNvPr>
          <p:cNvSpPr/>
          <p:nvPr/>
        </p:nvSpPr>
        <p:spPr>
          <a:xfrm>
            <a:off x="9791700" y="723900"/>
            <a:ext cx="647700" cy="647700"/>
          </a:xfrm>
          <a:prstGeom prst="ellipse">
            <a:avLst/>
          </a:prstGeom>
          <a:solidFill>
            <a:schemeClr val="bg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FEFFF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EBB4F145-C7EB-4A15-BFDD-346314DF7519}"/>
              </a:ext>
            </a:extLst>
          </p:cNvPr>
          <p:cNvSpPr/>
          <p:nvPr/>
        </p:nvSpPr>
        <p:spPr>
          <a:xfrm>
            <a:off x="6962775" y="5429250"/>
            <a:ext cx="257175" cy="257175"/>
          </a:xfrm>
          <a:prstGeom prst="ellipse">
            <a:avLst/>
          </a:prstGeom>
          <a:solidFill>
            <a:schemeClr val="bg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FEFFF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0036258-D7A2-4859-B1FD-30F656A49393}"/>
              </a:ext>
            </a:extLst>
          </p:cNvPr>
          <p:cNvSpPr/>
          <p:nvPr/>
        </p:nvSpPr>
        <p:spPr>
          <a:xfrm>
            <a:off x="11215687" y="2888622"/>
            <a:ext cx="257175" cy="257175"/>
          </a:xfrm>
          <a:prstGeom prst="ellipse">
            <a:avLst/>
          </a:prstGeom>
          <a:solidFill>
            <a:schemeClr val="bg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FEFFF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C1EEDD9-084B-4990-A2A6-2569F426D901}"/>
              </a:ext>
            </a:extLst>
          </p:cNvPr>
          <p:cNvSpPr/>
          <p:nvPr/>
        </p:nvSpPr>
        <p:spPr>
          <a:xfrm>
            <a:off x="-257175" y="3924300"/>
            <a:ext cx="1219200" cy="1219200"/>
          </a:xfrm>
          <a:prstGeom prst="ellipse">
            <a:avLst/>
          </a:prstGeom>
          <a:solidFill>
            <a:schemeClr val="bg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FEFFF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1D4ECF1-73C0-4B6A-88D8-AD738FE3AB51}"/>
              </a:ext>
            </a:extLst>
          </p:cNvPr>
          <p:cNvSpPr/>
          <p:nvPr/>
        </p:nvSpPr>
        <p:spPr>
          <a:xfrm>
            <a:off x="2019300" y="4065484"/>
            <a:ext cx="257175" cy="257175"/>
          </a:xfrm>
          <a:prstGeom prst="ellipse">
            <a:avLst/>
          </a:prstGeom>
          <a:solidFill>
            <a:schemeClr val="bg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FEFFF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pic>
        <p:nvPicPr>
          <p:cNvPr id="20" name="Imagem 19">
            <a:extLst>
              <a:ext uri="{FF2B5EF4-FFF2-40B4-BE49-F238E27FC236}">
                <a16:creationId xmlns:a16="http://schemas.microsoft.com/office/drawing/2014/main" id="{CA8F8F6B-A1CD-8947-BF22-368AFB3C5F5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15687" y="6077126"/>
            <a:ext cx="671422" cy="581437"/>
          </a:xfrm>
          <a:prstGeom prst="rect">
            <a:avLst/>
          </a:prstGeom>
        </p:spPr>
      </p:pic>
      <p:sp>
        <p:nvSpPr>
          <p:cNvPr id="19" name="Rectangle: Rounded Corners 5">
            <a:extLst>
              <a:ext uri="{FF2B5EF4-FFF2-40B4-BE49-F238E27FC236}">
                <a16:creationId xmlns:a16="http://schemas.microsoft.com/office/drawing/2014/main" id="{FD736746-298B-D242-B935-7957252A79CE}"/>
              </a:ext>
            </a:extLst>
          </p:cNvPr>
          <p:cNvSpPr/>
          <p:nvPr/>
        </p:nvSpPr>
        <p:spPr>
          <a:xfrm>
            <a:off x="719138" y="913540"/>
            <a:ext cx="11028362" cy="5095024"/>
          </a:xfrm>
          <a:prstGeom prst="roundRect">
            <a:avLst>
              <a:gd name="adj" fmla="val 7292"/>
            </a:avLst>
          </a:prstGeom>
          <a:solidFill>
            <a:schemeClr val="bg2"/>
          </a:solidFill>
          <a:ln>
            <a:noFill/>
          </a:ln>
          <a:effectLst>
            <a:outerShdw blurRad="495300" dist="257441" dir="3000000" sx="97000" sy="97000" algn="ctr" rotWithShape="0">
              <a:prstClr val="black">
                <a:alpha val="1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2400" b="0" i="0" u="none" strike="noStrike" kern="1200" cap="none" spc="0" normalizeH="0" baseline="0" noProof="0">
              <a:ln>
                <a:noFill/>
              </a:ln>
              <a:solidFill>
                <a:srgbClr val="FEFFF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13" name="Google Shape;211;p11">
            <a:extLst>
              <a:ext uri="{FF2B5EF4-FFF2-40B4-BE49-F238E27FC236}">
                <a16:creationId xmlns:a16="http://schemas.microsoft.com/office/drawing/2014/main" id="{768D6E79-FD85-732E-5323-959BB6C3E59E}"/>
              </a:ext>
            </a:extLst>
          </p:cNvPr>
          <p:cNvSpPr txBox="1"/>
          <p:nvPr/>
        </p:nvSpPr>
        <p:spPr>
          <a:xfrm>
            <a:off x="908454" y="1360480"/>
            <a:ext cx="4146686" cy="4068770"/>
          </a:xfrm>
          <a:prstGeom prst="rect">
            <a:avLst/>
          </a:prstGeom>
        </p:spPr>
        <p:txBody>
          <a:bodyPr spcFirstLastPara="1" vert="horz" lIns="91440" tIns="45720" rIns="91440" bIns="45720" rtlCol="0" anchor="b" anchorCtr="0">
            <a:normAutofit fontScale="77500" lnSpcReduction="20000"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ts val="2400"/>
              <a:buFontTx/>
              <a:buNone/>
              <a:tabLst/>
              <a:defRPr/>
            </a:pPr>
            <a:r>
              <a:rPr kumimoji="0" lang="en-US" sz="4000" b="0" i="1" u="none" strike="noStrike" kern="120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Montserrat-BoldItalic"/>
                <a:ea typeface="+mn-ea"/>
                <a:cs typeface="+mn-cs"/>
                <a:sym typeface="Poppins"/>
              </a:rPr>
              <a:t>E </a:t>
            </a:r>
            <a:r>
              <a:rPr kumimoji="0" lang="en-US" sz="4000" b="0" i="1" u="none" strike="noStrike" kern="120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Montserrat-BoldItalic"/>
                <a:ea typeface="+mn-ea"/>
                <a:cs typeface="+mn-cs"/>
                <a:sym typeface="Poppins"/>
              </a:rPr>
              <a:t>tudo</a:t>
            </a:r>
            <a:r>
              <a:rPr kumimoji="0" lang="en-US" sz="4000" b="0" i="1" u="none" strike="noStrike" kern="120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Montserrat-BoldItalic"/>
                <a:ea typeface="+mn-ea"/>
                <a:cs typeface="+mn-cs"/>
                <a:sym typeface="Poppins"/>
              </a:rPr>
              <a:t> </a:t>
            </a:r>
            <a:r>
              <a:rPr kumimoji="0" lang="en-US" sz="4000" b="0" i="1" u="none" strike="noStrike" kern="120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Montserrat-BoldItalic"/>
                <a:ea typeface="+mn-ea"/>
                <a:cs typeface="+mn-cs"/>
                <a:sym typeface="Poppins"/>
              </a:rPr>
              <a:t>isso</a:t>
            </a:r>
            <a:r>
              <a:rPr kumimoji="0" lang="en-US" sz="4000" b="0" i="1" u="none" strike="noStrike" kern="120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Montserrat-BoldItalic"/>
                <a:ea typeface="+mn-ea"/>
                <a:cs typeface="+mn-cs"/>
                <a:sym typeface="Poppins"/>
              </a:rPr>
              <a:t> se </a:t>
            </a:r>
            <a:r>
              <a:rPr kumimoji="0" lang="en-US" sz="4000" b="0" i="1" u="none" strike="noStrike" kern="120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Montserrat-BoldItalic"/>
                <a:ea typeface="+mn-ea"/>
                <a:cs typeface="+mn-cs"/>
                <a:sym typeface="Poppins"/>
              </a:rPr>
              <a:t>conecta</a:t>
            </a:r>
            <a:r>
              <a:rPr kumimoji="0" lang="en-US" sz="4000" b="0" i="1" u="none" strike="noStrike" kern="120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Montserrat-BoldItalic"/>
                <a:ea typeface="+mn-ea"/>
                <a:cs typeface="+mn-cs"/>
                <a:sym typeface="Poppins"/>
              </a:rPr>
              <a:t> no </a:t>
            </a:r>
            <a:r>
              <a:rPr kumimoji="0" lang="en-US" sz="4000" b="0" i="1" u="none" strike="noStrike" kern="120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Montserrat-BoldItalic"/>
                <a:ea typeface="+mn-ea"/>
                <a:cs typeface="+mn-cs"/>
                <a:sym typeface="Poppins"/>
              </a:rPr>
              <a:t>nosso</a:t>
            </a:r>
            <a:r>
              <a:rPr kumimoji="0" lang="en-US" sz="4000" b="0" i="1" u="none" strike="noStrike" kern="120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Montserrat-BoldItalic"/>
                <a:ea typeface="+mn-ea"/>
                <a:cs typeface="+mn-cs"/>
                <a:sym typeface="Poppins"/>
              </a:rPr>
              <a:t> </a:t>
            </a:r>
            <a:r>
              <a:rPr kumimoji="0" lang="en-US" sz="4000" b="0" i="1" u="none" strike="noStrike" kern="120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Montserrat-BoldItalic"/>
                <a:ea typeface="+mn-ea"/>
                <a:cs typeface="+mn-cs"/>
                <a:sym typeface="Poppins"/>
              </a:rPr>
              <a:t>programa</a:t>
            </a:r>
            <a:r>
              <a:rPr kumimoji="0" lang="en-US" sz="4000" b="0" i="1" u="none" strike="noStrike" kern="120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Montserrat-BoldItalic"/>
                <a:ea typeface="+mn-ea"/>
                <a:cs typeface="+mn-cs"/>
                <a:sym typeface="Poppins"/>
              </a:rPr>
              <a:t> de </a:t>
            </a:r>
            <a:r>
              <a:rPr kumimoji="0" lang="en-US" sz="4000" b="0" i="1" u="none" strike="noStrike" kern="120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Montserrat-BoldItalic"/>
                <a:ea typeface="+mn-ea"/>
                <a:cs typeface="+mn-cs"/>
                <a:sym typeface="Poppins"/>
              </a:rPr>
              <a:t>transformação</a:t>
            </a:r>
            <a:r>
              <a:rPr kumimoji="0" lang="en-US" sz="4000" b="0" i="1" u="none" strike="noStrike" kern="120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Montserrat-BoldItalic"/>
                <a:ea typeface="+mn-ea"/>
                <a:cs typeface="+mn-cs"/>
                <a:sym typeface="Poppins"/>
              </a:rPr>
              <a:t> e </a:t>
            </a:r>
            <a:r>
              <a:rPr kumimoji="0" lang="en-US" sz="4000" b="0" i="1" u="none" strike="noStrike" kern="1200" cap="none" spc="0" normalizeH="0" baseline="0" noProof="0" dirty="0" err="1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Montserrat-BoldItalic"/>
                <a:ea typeface="+mn-ea"/>
                <a:cs typeface="+mn-cs"/>
                <a:sym typeface="Poppins"/>
              </a:rPr>
              <a:t>melhoria</a:t>
            </a:r>
            <a:r>
              <a:rPr kumimoji="0" lang="en-US" sz="4000" b="0" i="1" u="none" strike="noStrike" kern="1200" cap="none" spc="0" normalizeH="0" baseline="0" noProof="0" dirty="0">
                <a:ln>
                  <a:noFill/>
                </a:ln>
                <a:solidFill>
                  <a:srgbClr val="FF6200"/>
                </a:solidFill>
                <a:effectLst/>
                <a:uLnTx/>
                <a:uFillTx/>
                <a:latin typeface="Montserrat-BoldItalic"/>
                <a:ea typeface="+mn-ea"/>
                <a:cs typeface="+mn-cs"/>
                <a:sym typeface="Poppins"/>
              </a:rPr>
              <a:t> continua…</a:t>
            </a:r>
            <a:endParaRPr kumimoji="0" lang="en-US" sz="4000" b="0" i="1" u="none" strike="noStrike" kern="1200" cap="none" spc="0" normalizeH="0" baseline="0" noProof="0" dirty="0">
              <a:ln>
                <a:noFill/>
              </a:ln>
              <a:solidFill>
                <a:srgbClr val="FF6200"/>
              </a:solidFill>
              <a:effectLst/>
              <a:uLnTx/>
              <a:uFillTx/>
              <a:latin typeface="Montserrat-BoldItalic"/>
              <a:ea typeface="+mn-ea"/>
              <a:cs typeface="+mn-cs"/>
              <a:sym typeface="Calibri"/>
            </a:endParaRP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6B07A71D-8BF1-4449-4292-8AA1B411CC4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40513" y="1634818"/>
            <a:ext cx="6768778" cy="3794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657514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181;p7">
            <a:extLst>
              <a:ext uri="{FF2B5EF4-FFF2-40B4-BE49-F238E27FC236}">
                <a16:creationId xmlns:a16="http://schemas.microsoft.com/office/drawing/2014/main" id="{9F6B5F56-6FF5-222E-2A21-8D2B5B20092F}"/>
              </a:ext>
            </a:extLst>
          </p:cNvPr>
          <p:cNvSpPr txBox="1"/>
          <p:nvPr/>
        </p:nvSpPr>
        <p:spPr>
          <a:xfrm>
            <a:off x="482600" y="310634"/>
            <a:ext cx="6096000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rgbClr val="8F53FF"/>
                </a:solidFill>
                <a:latin typeface="Poppins"/>
                <a:ea typeface="Poppins"/>
                <a:cs typeface="Poppins"/>
                <a:sym typeface="Poppins"/>
              </a:rPr>
              <a:t>Gestão em ciclos ágeis...</a:t>
            </a:r>
            <a:endParaRPr sz="24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107" name="Conector reto 106">
            <a:extLst>
              <a:ext uri="{FF2B5EF4-FFF2-40B4-BE49-F238E27FC236}">
                <a16:creationId xmlns:a16="http://schemas.microsoft.com/office/drawing/2014/main" id="{97316A59-49F3-4E55-865E-FE123D1ECE5A}"/>
              </a:ext>
            </a:extLst>
          </p:cNvPr>
          <p:cNvCxnSpPr>
            <a:cxnSpLocks/>
          </p:cNvCxnSpPr>
          <p:nvPr/>
        </p:nvCxnSpPr>
        <p:spPr>
          <a:xfrm flipV="1">
            <a:off x="4006581" y="3588413"/>
            <a:ext cx="120495" cy="180000"/>
          </a:xfrm>
          <a:prstGeom prst="line">
            <a:avLst/>
          </a:prstGeom>
          <a:ln w="38100">
            <a:solidFill>
              <a:srgbClr val="70AD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Conector reto 108">
            <a:extLst>
              <a:ext uri="{FF2B5EF4-FFF2-40B4-BE49-F238E27FC236}">
                <a16:creationId xmlns:a16="http://schemas.microsoft.com/office/drawing/2014/main" id="{5CCCF924-CAA4-4631-9CBC-61752D6AA3C0}"/>
              </a:ext>
            </a:extLst>
          </p:cNvPr>
          <p:cNvCxnSpPr>
            <a:cxnSpLocks/>
          </p:cNvCxnSpPr>
          <p:nvPr/>
        </p:nvCxnSpPr>
        <p:spPr>
          <a:xfrm flipH="1">
            <a:off x="4013096" y="3761508"/>
            <a:ext cx="0" cy="180000"/>
          </a:xfrm>
          <a:prstGeom prst="line">
            <a:avLst/>
          </a:prstGeom>
          <a:noFill/>
          <a:ln w="38100" cap="flat" cmpd="sng" algn="ctr">
            <a:solidFill>
              <a:srgbClr val="70AD47"/>
            </a:solidFill>
            <a:prstDash val="solid"/>
            <a:miter lim="800000"/>
          </a:ln>
          <a:effectLst/>
        </p:spPr>
      </p:cxnSp>
      <p:sp>
        <p:nvSpPr>
          <p:cNvPr id="127" name="Triângulo isósceles 126">
            <a:extLst>
              <a:ext uri="{FF2B5EF4-FFF2-40B4-BE49-F238E27FC236}">
                <a16:creationId xmlns:a16="http://schemas.microsoft.com/office/drawing/2014/main" id="{29DC1923-F4B8-41BA-B88D-E70BAD543A27}"/>
              </a:ext>
            </a:extLst>
          </p:cNvPr>
          <p:cNvSpPr/>
          <p:nvPr/>
        </p:nvSpPr>
        <p:spPr>
          <a:xfrm flipV="1">
            <a:off x="3926033" y="3856202"/>
            <a:ext cx="180000" cy="108000"/>
          </a:xfrm>
          <a:prstGeom prst="triangle">
            <a:avLst/>
          </a:prstGeom>
          <a:solidFill>
            <a:srgbClr val="70AD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8" name="Conector reto 127">
            <a:extLst>
              <a:ext uri="{FF2B5EF4-FFF2-40B4-BE49-F238E27FC236}">
                <a16:creationId xmlns:a16="http://schemas.microsoft.com/office/drawing/2014/main" id="{C00BCA9B-A330-46CA-9C82-7179A998ABB4}"/>
              </a:ext>
            </a:extLst>
          </p:cNvPr>
          <p:cNvCxnSpPr>
            <a:cxnSpLocks/>
          </p:cNvCxnSpPr>
          <p:nvPr/>
        </p:nvCxnSpPr>
        <p:spPr>
          <a:xfrm flipV="1">
            <a:off x="4911137" y="3588413"/>
            <a:ext cx="120495" cy="180000"/>
          </a:xfrm>
          <a:prstGeom prst="line">
            <a:avLst/>
          </a:prstGeom>
          <a:ln w="38100">
            <a:solidFill>
              <a:srgbClr val="70AD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Conector reto 136">
            <a:extLst>
              <a:ext uri="{FF2B5EF4-FFF2-40B4-BE49-F238E27FC236}">
                <a16:creationId xmlns:a16="http://schemas.microsoft.com/office/drawing/2014/main" id="{2332AC64-5EC5-44E0-837B-B465A6B4C5CD}"/>
              </a:ext>
            </a:extLst>
          </p:cNvPr>
          <p:cNvCxnSpPr>
            <a:cxnSpLocks/>
          </p:cNvCxnSpPr>
          <p:nvPr/>
        </p:nvCxnSpPr>
        <p:spPr>
          <a:xfrm flipH="1">
            <a:off x="4917652" y="3761508"/>
            <a:ext cx="0" cy="180000"/>
          </a:xfrm>
          <a:prstGeom prst="line">
            <a:avLst/>
          </a:prstGeom>
          <a:noFill/>
          <a:ln w="38100" cap="flat" cmpd="sng" algn="ctr">
            <a:solidFill>
              <a:srgbClr val="70AD47"/>
            </a:solidFill>
            <a:prstDash val="solid"/>
            <a:miter lim="800000"/>
          </a:ln>
          <a:effectLst/>
        </p:spPr>
      </p:cxnSp>
      <p:sp>
        <p:nvSpPr>
          <p:cNvPr id="138" name="Triângulo isósceles 137">
            <a:extLst>
              <a:ext uri="{FF2B5EF4-FFF2-40B4-BE49-F238E27FC236}">
                <a16:creationId xmlns:a16="http://schemas.microsoft.com/office/drawing/2014/main" id="{4893A7AA-54BF-43E7-900C-E7060F06861C}"/>
              </a:ext>
            </a:extLst>
          </p:cNvPr>
          <p:cNvSpPr/>
          <p:nvPr/>
        </p:nvSpPr>
        <p:spPr>
          <a:xfrm flipV="1">
            <a:off x="4830589" y="3856202"/>
            <a:ext cx="180000" cy="108000"/>
          </a:xfrm>
          <a:prstGeom prst="triangle">
            <a:avLst/>
          </a:prstGeom>
          <a:solidFill>
            <a:srgbClr val="70AD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39" name="Conector reto 138">
            <a:extLst>
              <a:ext uri="{FF2B5EF4-FFF2-40B4-BE49-F238E27FC236}">
                <a16:creationId xmlns:a16="http://schemas.microsoft.com/office/drawing/2014/main" id="{7CFEAB8E-E7E6-4F8C-AC51-6F3E30CEB2D1}"/>
              </a:ext>
            </a:extLst>
          </p:cNvPr>
          <p:cNvCxnSpPr>
            <a:cxnSpLocks/>
          </p:cNvCxnSpPr>
          <p:nvPr/>
        </p:nvCxnSpPr>
        <p:spPr>
          <a:xfrm flipV="1">
            <a:off x="4489830" y="3588413"/>
            <a:ext cx="120495" cy="180000"/>
          </a:xfrm>
          <a:prstGeom prst="line">
            <a:avLst/>
          </a:prstGeom>
          <a:ln w="38100">
            <a:solidFill>
              <a:srgbClr val="70AD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Conector reto 139">
            <a:extLst>
              <a:ext uri="{FF2B5EF4-FFF2-40B4-BE49-F238E27FC236}">
                <a16:creationId xmlns:a16="http://schemas.microsoft.com/office/drawing/2014/main" id="{61CF0BB4-CB96-4F2C-96BA-628D20CFBFE2}"/>
              </a:ext>
            </a:extLst>
          </p:cNvPr>
          <p:cNvCxnSpPr>
            <a:cxnSpLocks/>
          </p:cNvCxnSpPr>
          <p:nvPr/>
        </p:nvCxnSpPr>
        <p:spPr>
          <a:xfrm flipH="1">
            <a:off x="4496345" y="3761508"/>
            <a:ext cx="0" cy="180000"/>
          </a:xfrm>
          <a:prstGeom prst="line">
            <a:avLst/>
          </a:prstGeom>
          <a:noFill/>
          <a:ln w="38100" cap="flat" cmpd="sng" algn="ctr">
            <a:solidFill>
              <a:srgbClr val="70AD47"/>
            </a:solidFill>
            <a:prstDash val="solid"/>
            <a:miter lim="800000"/>
          </a:ln>
          <a:effectLst/>
        </p:spPr>
      </p:cxnSp>
      <p:sp>
        <p:nvSpPr>
          <p:cNvPr id="141" name="Triângulo isósceles 140">
            <a:extLst>
              <a:ext uri="{FF2B5EF4-FFF2-40B4-BE49-F238E27FC236}">
                <a16:creationId xmlns:a16="http://schemas.microsoft.com/office/drawing/2014/main" id="{0AD0BCBE-F8EA-4EC8-8F7A-74C6029CAE5D}"/>
              </a:ext>
            </a:extLst>
          </p:cNvPr>
          <p:cNvSpPr/>
          <p:nvPr/>
        </p:nvSpPr>
        <p:spPr>
          <a:xfrm flipV="1">
            <a:off x="4409282" y="3856202"/>
            <a:ext cx="180000" cy="108000"/>
          </a:xfrm>
          <a:prstGeom prst="triangle">
            <a:avLst/>
          </a:prstGeom>
          <a:solidFill>
            <a:srgbClr val="70AD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2" name="Retângulo: Cantos Arredondados 141">
            <a:extLst>
              <a:ext uri="{FF2B5EF4-FFF2-40B4-BE49-F238E27FC236}">
                <a16:creationId xmlns:a16="http://schemas.microsoft.com/office/drawing/2014/main" id="{F3821B47-61D0-46F6-BF4C-85C49DF9455D}"/>
              </a:ext>
            </a:extLst>
          </p:cNvPr>
          <p:cNvSpPr/>
          <p:nvPr/>
        </p:nvSpPr>
        <p:spPr>
          <a:xfrm>
            <a:off x="3694592" y="3532479"/>
            <a:ext cx="1620000" cy="222659"/>
          </a:xfrm>
          <a:prstGeom prst="roundRect">
            <a:avLst/>
          </a:prstGeom>
          <a:solidFill>
            <a:srgbClr val="70AD47"/>
          </a:solidFill>
          <a:ln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  <a:cs typeface="Itau Display Heavy" panose="020B0803020204020204" pitchFamily="34" charset="0"/>
              </a:rPr>
              <a:t>Gemba</a:t>
            </a:r>
          </a:p>
        </p:txBody>
      </p:sp>
      <p:pic>
        <p:nvPicPr>
          <p:cNvPr id="143" name="Picture 2" descr="Free Agile Cliparts, Download Free Clip Art, Free Clip Art on ...">
            <a:extLst>
              <a:ext uri="{FF2B5EF4-FFF2-40B4-BE49-F238E27FC236}">
                <a16:creationId xmlns:a16="http://schemas.microsoft.com/office/drawing/2014/main" id="{B1AAF308-59EB-4A5C-B41F-24CC9A1850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EDEDED"/>
              </a:clrFrom>
              <a:clrTo>
                <a:srgbClr val="EDEDE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6495" y="4186670"/>
            <a:ext cx="1972087" cy="1929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6" name="Seta: para a Direita 145">
            <a:extLst>
              <a:ext uri="{FF2B5EF4-FFF2-40B4-BE49-F238E27FC236}">
                <a16:creationId xmlns:a16="http://schemas.microsoft.com/office/drawing/2014/main" id="{C95DD067-ADC3-4A73-BE03-E7827D0A1A39}"/>
              </a:ext>
            </a:extLst>
          </p:cNvPr>
          <p:cNvSpPr/>
          <p:nvPr/>
        </p:nvSpPr>
        <p:spPr>
          <a:xfrm>
            <a:off x="5160047" y="5684945"/>
            <a:ext cx="504000" cy="327600"/>
          </a:xfrm>
          <a:prstGeom prst="rightArrow">
            <a:avLst/>
          </a:prstGeom>
          <a:solidFill>
            <a:srgbClr val="356A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7" name="CaixaDeTexto 146">
            <a:extLst>
              <a:ext uri="{FF2B5EF4-FFF2-40B4-BE49-F238E27FC236}">
                <a16:creationId xmlns:a16="http://schemas.microsoft.com/office/drawing/2014/main" id="{B9067476-CCB5-4870-87C3-4F432F7D990D}"/>
              </a:ext>
            </a:extLst>
          </p:cNvPr>
          <p:cNvSpPr txBox="1"/>
          <p:nvPr/>
        </p:nvSpPr>
        <p:spPr>
          <a:xfrm>
            <a:off x="4068834" y="5071088"/>
            <a:ext cx="961505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  <a:cs typeface="Itau Display Heavy" panose="020B0803020204020204" pitchFamily="34" charset="0"/>
              </a:rPr>
              <a:t>Iteração</a:t>
            </a:r>
          </a:p>
        </p:txBody>
      </p:sp>
      <p:sp>
        <p:nvSpPr>
          <p:cNvPr id="148" name="CaixaDeTexto 147">
            <a:hlinkClick r:id="" action="ppaction://noaction"/>
            <a:extLst>
              <a:ext uri="{FF2B5EF4-FFF2-40B4-BE49-F238E27FC236}">
                <a16:creationId xmlns:a16="http://schemas.microsoft.com/office/drawing/2014/main" id="{C3325B4B-1938-4139-9838-1696A38F1619}"/>
              </a:ext>
            </a:extLst>
          </p:cNvPr>
          <p:cNvSpPr txBox="1"/>
          <p:nvPr/>
        </p:nvSpPr>
        <p:spPr>
          <a:xfrm>
            <a:off x="2101635" y="6057717"/>
            <a:ext cx="122285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900">
                <a:latin typeface="Itau Display Heavy" panose="020B0803020204020204" pitchFamily="34" charset="0"/>
                <a:cs typeface="Itau Display Heavy" panose="020B0803020204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Planejament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da Iteração</a:t>
            </a:r>
          </a:p>
        </p:txBody>
      </p:sp>
      <p:sp>
        <p:nvSpPr>
          <p:cNvPr id="149" name="CaixaDeTexto 148">
            <a:extLst>
              <a:ext uri="{FF2B5EF4-FFF2-40B4-BE49-F238E27FC236}">
                <a16:creationId xmlns:a16="http://schemas.microsoft.com/office/drawing/2014/main" id="{1BD23D42-F41E-4F7E-8B2D-EC313656B4F0}"/>
              </a:ext>
            </a:extLst>
          </p:cNvPr>
          <p:cNvSpPr txBox="1"/>
          <p:nvPr/>
        </p:nvSpPr>
        <p:spPr>
          <a:xfrm>
            <a:off x="3319185" y="4355695"/>
            <a:ext cx="54747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1000" b="1"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Daily</a:t>
            </a:r>
          </a:p>
        </p:txBody>
      </p:sp>
      <p:sp>
        <p:nvSpPr>
          <p:cNvPr id="150" name="Seta: para a Direita Listrada 149">
            <a:extLst>
              <a:ext uri="{FF2B5EF4-FFF2-40B4-BE49-F238E27FC236}">
                <a16:creationId xmlns:a16="http://schemas.microsoft.com/office/drawing/2014/main" id="{3D8BEF77-72F5-4BA0-99A0-69C5737DEA08}"/>
              </a:ext>
            </a:extLst>
          </p:cNvPr>
          <p:cNvSpPr/>
          <p:nvPr/>
        </p:nvSpPr>
        <p:spPr>
          <a:xfrm>
            <a:off x="2509693" y="5676697"/>
            <a:ext cx="900000" cy="316800"/>
          </a:xfrm>
          <a:prstGeom prst="stripedRightArrow">
            <a:avLst/>
          </a:prstGeom>
          <a:solidFill>
            <a:srgbClr val="356A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1" name="Elipse 150">
            <a:extLst>
              <a:ext uri="{FF2B5EF4-FFF2-40B4-BE49-F238E27FC236}">
                <a16:creationId xmlns:a16="http://schemas.microsoft.com/office/drawing/2014/main" id="{45C2157A-45D7-4E94-A076-9102048F9B65}"/>
              </a:ext>
            </a:extLst>
          </p:cNvPr>
          <p:cNvSpPr/>
          <p:nvPr/>
        </p:nvSpPr>
        <p:spPr>
          <a:xfrm>
            <a:off x="2470309" y="5612529"/>
            <a:ext cx="432000" cy="432000"/>
          </a:xfrm>
          <a:prstGeom prst="ellipse">
            <a:avLst/>
          </a:prstGeom>
          <a:solidFill>
            <a:srgbClr val="356A92"/>
          </a:solidFill>
          <a:ln w="19050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4" name="Elipse 153">
            <a:extLst>
              <a:ext uri="{FF2B5EF4-FFF2-40B4-BE49-F238E27FC236}">
                <a16:creationId xmlns:a16="http://schemas.microsoft.com/office/drawing/2014/main" id="{EF5C8223-1C89-4D49-AF1B-828BD2BAFCB3}"/>
              </a:ext>
            </a:extLst>
          </p:cNvPr>
          <p:cNvSpPr/>
          <p:nvPr/>
        </p:nvSpPr>
        <p:spPr>
          <a:xfrm>
            <a:off x="3502924" y="4201475"/>
            <a:ext cx="180000" cy="180000"/>
          </a:xfrm>
          <a:prstGeom prst="ellipse">
            <a:avLst/>
          </a:prstGeom>
          <a:solidFill>
            <a:srgbClr val="356A92"/>
          </a:solidFill>
          <a:ln w="19050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3" name="CaixaDeTexto 162">
            <a:extLst>
              <a:ext uri="{FF2B5EF4-FFF2-40B4-BE49-F238E27FC236}">
                <a16:creationId xmlns:a16="http://schemas.microsoft.com/office/drawing/2014/main" id="{F6C1813F-D047-4669-BF8E-9DF97250496B}"/>
              </a:ext>
            </a:extLst>
          </p:cNvPr>
          <p:cNvSpPr txBox="1"/>
          <p:nvPr/>
        </p:nvSpPr>
        <p:spPr>
          <a:xfrm>
            <a:off x="5412047" y="6055686"/>
            <a:ext cx="122285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900">
                <a:latin typeface="Itau Display Heavy" panose="020B0803020204020204" pitchFamily="34" charset="0"/>
                <a:cs typeface="Itau Display Heavy" panose="020B0803020204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Dem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da Iteração</a:t>
            </a:r>
          </a:p>
        </p:txBody>
      </p:sp>
      <p:sp>
        <p:nvSpPr>
          <p:cNvPr id="164" name="Elipse 163">
            <a:extLst>
              <a:ext uri="{FF2B5EF4-FFF2-40B4-BE49-F238E27FC236}">
                <a16:creationId xmlns:a16="http://schemas.microsoft.com/office/drawing/2014/main" id="{96B4F2DA-13E1-4B31-9DA4-6364612E99AA}"/>
              </a:ext>
            </a:extLst>
          </p:cNvPr>
          <p:cNvSpPr/>
          <p:nvPr/>
        </p:nvSpPr>
        <p:spPr>
          <a:xfrm>
            <a:off x="5832718" y="5675069"/>
            <a:ext cx="360000" cy="360000"/>
          </a:xfrm>
          <a:prstGeom prst="ellipse">
            <a:avLst/>
          </a:prstGeom>
          <a:solidFill>
            <a:srgbClr val="356A92"/>
          </a:solidFill>
          <a:ln w="19050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6" name="Elipse 165">
            <a:extLst>
              <a:ext uri="{FF2B5EF4-FFF2-40B4-BE49-F238E27FC236}">
                <a16:creationId xmlns:a16="http://schemas.microsoft.com/office/drawing/2014/main" id="{3A655FFB-E931-4A3C-9D40-3E0B9140778D}"/>
              </a:ext>
            </a:extLst>
          </p:cNvPr>
          <p:cNvSpPr/>
          <p:nvPr/>
        </p:nvSpPr>
        <p:spPr>
          <a:xfrm>
            <a:off x="6275017" y="4345211"/>
            <a:ext cx="360000" cy="360000"/>
          </a:xfrm>
          <a:prstGeom prst="ellipse">
            <a:avLst/>
          </a:prstGeom>
          <a:solidFill>
            <a:srgbClr val="70AD47"/>
          </a:solidFill>
          <a:ln w="19050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7" name="CaixaDeTexto 166">
            <a:extLst>
              <a:ext uri="{FF2B5EF4-FFF2-40B4-BE49-F238E27FC236}">
                <a16:creationId xmlns:a16="http://schemas.microsoft.com/office/drawing/2014/main" id="{4F81AB3F-63DA-4B31-B456-02A67634B2FF}"/>
              </a:ext>
            </a:extLst>
          </p:cNvPr>
          <p:cNvSpPr txBox="1"/>
          <p:nvPr/>
        </p:nvSpPr>
        <p:spPr>
          <a:xfrm>
            <a:off x="5973947" y="4722389"/>
            <a:ext cx="99428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Retr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da Iteração</a:t>
            </a:r>
          </a:p>
        </p:txBody>
      </p:sp>
      <p:pic>
        <p:nvPicPr>
          <p:cNvPr id="169" name="Picture 2" descr="Curved Arrow Icon - 9831 - Dryicons">
            <a:extLst>
              <a:ext uri="{FF2B5EF4-FFF2-40B4-BE49-F238E27FC236}">
                <a16:creationId xmlns:a16="http://schemas.microsoft.com/office/drawing/2014/main" id="{F2738F6E-364F-474B-B2CB-A837BCED01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7431371" flipV="1">
            <a:off x="5312201" y="5496791"/>
            <a:ext cx="25200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2" name="CaixaDeTexto 171">
            <a:extLst>
              <a:ext uri="{FF2B5EF4-FFF2-40B4-BE49-F238E27FC236}">
                <a16:creationId xmlns:a16="http://schemas.microsoft.com/office/drawing/2014/main" id="{81E1DA43-C7A5-4639-88E3-8A415DC07293}"/>
              </a:ext>
            </a:extLst>
          </p:cNvPr>
          <p:cNvSpPr txBox="1"/>
          <p:nvPr/>
        </p:nvSpPr>
        <p:spPr>
          <a:xfrm>
            <a:off x="5105299" y="5287112"/>
            <a:ext cx="99428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1000" b="1"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Refinamento</a:t>
            </a:r>
          </a:p>
        </p:txBody>
      </p:sp>
      <p:sp>
        <p:nvSpPr>
          <p:cNvPr id="177" name="Elipse 176">
            <a:extLst>
              <a:ext uri="{FF2B5EF4-FFF2-40B4-BE49-F238E27FC236}">
                <a16:creationId xmlns:a16="http://schemas.microsoft.com/office/drawing/2014/main" id="{40D45AF4-22D1-4AA8-96EF-8FA2FC42BED4}"/>
              </a:ext>
            </a:extLst>
          </p:cNvPr>
          <p:cNvSpPr/>
          <p:nvPr/>
        </p:nvSpPr>
        <p:spPr>
          <a:xfrm>
            <a:off x="5465196" y="5083396"/>
            <a:ext cx="216000" cy="229847"/>
          </a:xfrm>
          <a:prstGeom prst="ellipse">
            <a:avLst/>
          </a:prstGeom>
          <a:solidFill>
            <a:srgbClr val="356A92"/>
          </a:solidFill>
          <a:ln w="19050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1" name="CaixaDeTexto 180">
            <a:extLst>
              <a:ext uri="{FF2B5EF4-FFF2-40B4-BE49-F238E27FC236}">
                <a16:creationId xmlns:a16="http://schemas.microsoft.com/office/drawing/2014/main" id="{22BAD3B5-62E3-42CD-9241-B8517385880B}"/>
              </a:ext>
            </a:extLst>
          </p:cNvPr>
          <p:cNvSpPr txBox="1"/>
          <p:nvPr/>
        </p:nvSpPr>
        <p:spPr>
          <a:xfrm>
            <a:off x="4858322" y="4519098"/>
            <a:ext cx="76158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1000" b="1"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PM Sync</a:t>
            </a:r>
          </a:p>
        </p:txBody>
      </p:sp>
      <p:sp>
        <p:nvSpPr>
          <p:cNvPr id="182" name="Elipse 181">
            <a:extLst>
              <a:ext uri="{FF2B5EF4-FFF2-40B4-BE49-F238E27FC236}">
                <a16:creationId xmlns:a16="http://schemas.microsoft.com/office/drawing/2014/main" id="{BB21D02A-1285-4EC2-A094-F25B778FEF5B}"/>
              </a:ext>
            </a:extLst>
          </p:cNvPr>
          <p:cNvSpPr/>
          <p:nvPr/>
        </p:nvSpPr>
        <p:spPr>
          <a:xfrm>
            <a:off x="5104822" y="4312367"/>
            <a:ext cx="216000" cy="222659"/>
          </a:xfrm>
          <a:prstGeom prst="ellipse">
            <a:avLst/>
          </a:prstGeom>
          <a:solidFill>
            <a:srgbClr val="356A92"/>
          </a:solidFill>
          <a:ln w="19050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83" name="Picture 2" descr="Curved Arrow Icon - 9831 - Dryicons">
            <a:extLst>
              <a:ext uri="{FF2B5EF4-FFF2-40B4-BE49-F238E27FC236}">
                <a16:creationId xmlns:a16="http://schemas.microsoft.com/office/drawing/2014/main" id="{F4C377F6-E1D6-49B0-8FC5-8E9C199D14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125230" flipV="1">
            <a:off x="5418598" y="4738841"/>
            <a:ext cx="25200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4" name="CaixaDeTexto 183">
            <a:extLst>
              <a:ext uri="{FF2B5EF4-FFF2-40B4-BE49-F238E27FC236}">
                <a16:creationId xmlns:a16="http://schemas.microsoft.com/office/drawing/2014/main" id="{026E99F1-FFCF-4AFE-96C6-C0921B73D1FA}"/>
              </a:ext>
            </a:extLst>
          </p:cNvPr>
          <p:cNvSpPr txBox="1"/>
          <p:nvPr/>
        </p:nvSpPr>
        <p:spPr>
          <a:xfrm>
            <a:off x="4255389" y="4231214"/>
            <a:ext cx="7615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Chapter Sync</a:t>
            </a:r>
          </a:p>
        </p:txBody>
      </p:sp>
      <p:sp>
        <p:nvSpPr>
          <p:cNvPr id="185" name="Elipse 184">
            <a:extLst>
              <a:ext uri="{FF2B5EF4-FFF2-40B4-BE49-F238E27FC236}">
                <a16:creationId xmlns:a16="http://schemas.microsoft.com/office/drawing/2014/main" id="{B10796DF-10F0-442E-813F-6FB402A516CE}"/>
              </a:ext>
            </a:extLst>
          </p:cNvPr>
          <p:cNvSpPr/>
          <p:nvPr/>
        </p:nvSpPr>
        <p:spPr>
          <a:xfrm>
            <a:off x="4501889" y="4024483"/>
            <a:ext cx="216000" cy="222659"/>
          </a:xfrm>
          <a:prstGeom prst="ellipse">
            <a:avLst/>
          </a:prstGeom>
          <a:solidFill>
            <a:srgbClr val="70AD47"/>
          </a:solidFill>
          <a:ln w="19050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86" name="Picture 2" descr="Curved Arrow Icon - 9831 - Dryicons">
            <a:extLst>
              <a:ext uri="{FF2B5EF4-FFF2-40B4-BE49-F238E27FC236}">
                <a16:creationId xmlns:a16="http://schemas.microsoft.com/office/drawing/2014/main" id="{4260ABA7-AB2E-4177-A68B-C151673AC1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1404647" flipV="1">
            <a:off x="4866323" y="4092815"/>
            <a:ext cx="25200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7" name="Trapezoide 186">
            <a:extLst>
              <a:ext uri="{FF2B5EF4-FFF2-40B4-BE49-F238E27FC236}">
                <a16:creationId xmlns:a16="http://schemas.microsoft.com/office/drawing/2014/main" id="{A8618992-DF02-4472-B430-00614F7EB549}"/>
              </a:ext>
            </a:extLst>
          </p:cNvPr>
          <p:cNvSpPr/>
          <p:nvPr/>
        </p:nvSpPr>
        <p:spPr>
          <a:xfrm>
            <a:off x="1327343" y="3471867"/>
            <a:ext cx="6721642" cy="3043398"/>
          </a:xfrm>
          <a:prstGeom prst="trapezoid">
            <a:avLst>
              <a:gd name="adj" fmla="val 59125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8" name="Seta: Circular 187">
            <a:extLst>
              <a:ext uri="{FF2B5EF4-FFF2-40B4-BE49-F238E27FC236}">
                <a16:creationId xmlns:a16="http://schemas.microsoft.com/office/drawing/2014/main" id="{062B44E3-CDC6-41BC-9334-4E6F17EA3887}"/>
              </a:ext>
            </a:extLst>
          </p:cNvPr>
          <p:cNvSpPr/>
          <p:nvPr/>
        </p:nvSpPr>
        <p:spPr>
          <a:xfrm rot="152020" flipV="1">
            <a:off x="5467403" y="4543112"/>
            <a:ext cx="1140385" cy="1342449"/>
          </a:xfrm>
          <a:prstGeom prst="circularArrow">
            <a:avLst>
              <a:gd name="adj1" fmla="val 10028"/>
              <a:gd name="adj2" fmla="val 1142319"/>
              <a:gd name="adj3" fmla="val 20354858"/>
              <a:gd name="adj4" fmla="val 18329396"/>
              <a:gd name="adj5" fmla="val 12500"/>
            </a:avLst>
          </a:prstGeom>
          <a:solidFill>
            <a:srgbClr val="70AD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9" name="CaixaDeTexto 188">
            <a:extLst>
              <a:ext uri="{FF2B5EF4-FFF2-40B4-BE49-F238E27FC236}">
                <a16:creationId xmlns:a16="http://schemas.microsoft.com/office/drawing/2014/main" id="{57FFBC5A-0623-4D90-AB73-2850C024FD57}"/>
              </a:ext>
            </a:extLst>
          </p:cNvPr>
          <p:cNvSpPr txBox="1"/>
          <p:nvPr/>
        </p:nvSpPr>
        <p:spPr>
          <a:xfrm>
            <a:off x="2953690" y="5297036"/>
            <a:ext cx="104267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1000" b="1"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PMCLAC</a:t>
            </a:r>
          </a:p>
        </p:txBody>
      </p:sp>
      <p:sp>
        <p:nvSpPr>
          <p:cNvPr id="190" name="Elipse 189">
            <a:extLst>
              <a:ext uri="{FF2B5EF4-FFF2-40B4-BE49-F238E27FC236}">
                <a16:creationId xmlns:a16="http://schemas.microsoft.com/office/drawing/2014/main" id="{C6DB42FB-4069-41B1-8EE9-5E34C3FDACF3}"/>
              </a:ext>
            </a:extLst>
          </p:cNvPr>
          <p:cNvSpPr/>
          <p:nvPr/>
        </p:nvSpPr>
        <p:spPr>
          <a:xfrm>
            <a:off x="3379165" y="5090305"/>
            <a:ext cx="216000" cy="229847"/>
          </a:xfrm>
          <a:prstGeom prst="ellipse">
            <a:avLst/>
          </a:prstGeom>
          <a:solidFill>
            <a:srgbClr val="70AD47"/>
          </a:solidFill>
          <a:ln w="19050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91" name="Picture 2" descr="Curved Arrow Icon - 9831 - Dryicons">
            <a:extLst>
              <a:ext uri="{FF2B5EF4-FFF2-40B4-BE49-F238E27FC236}">
                <a16:creationId xmlns:a16="http://schemas.microsoft.com/office/drawing/2014/main" id="{CE2FFDEE-4C6E-4F15-A4B3-000FDBFB3D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992973" flipV="1">
            <a:off x="3450510" y="4762236"/>
            <a:ext cx="25200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2" name="Seta: Divisa 191">
            <a:extLst>
              <a:ext uri="{FF2B5EF4-FFF2-40B4-BE49-F238E27FC236}">
                <a16:creationId xmlns:a16="http://schemas.microsoft.com/office/drawing/2014/main" id="{FAB3736F-A80D-4B76-AB68-35E21F9E7869}"/>
              </a:ext>
            </a:extLst>
          </p:cNvPr>
          <p:cNvSpPr/>
          <p:nvPr/>
        </p:nvSpPr>
        <p:spPr>
          <a:xfrm>
            <a:off x="1024937" y="2512706"/>
            <a:ext cx="10507671" cy="954239"/>
          </a:xfrm>
          <a:prstGeom prst="chevron">
            <a:avLst>
              <a:gd name="adj" fmla="val 10506"/>
            </a:avLst>
          </a:prstGeom>
          <a:noFill/>
          <a:ln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1" i="0" u="none" strike="noStrike" kern="1200" cap="none" spc="0" normalizeH="0" baseline="0" noProof="0">
              <a:ln>
                <a:noFill/>
              </a:ln>
              <a:solidFill>
                <a:srgbClr val="FF5900"/>
              </a:solidFill>
              <a:effectLst/>
              <a:uLnTx/>
              <a:uFillTx/>
              <a:latin typeface="Itau Display Heavy" panose="020B0803020204020204" pitchFamily="34" charset="0"/>
              <a:ea typeface="+mn-ea"/>
              <a:cs typeface="Itau Display Heavy" panose="020B0803020204020204" pitchFamily="34" charset="0"/>
            </a:endParaRPr>
          </a:p>
        </p:txBody>
      </p:sp>
      <p:sp>
        <p:nvSpPr>
          <p:cNvPr id="193" name="Seta: Divisa 192">
            <a:extLst>
              <a:ext uri="{FF2B5EF4-FFF2-40B4-BE49-F238E27FC236}">
                <a16:creationId xmlns:a16="http://schemas.microsoft.com/office/drawing/2014/main" id="{1EE40038-46BB-4592-ABF7-DAAE32D15B3A}"/>
              </a:ext>
            </a:extLst>
          </p:cNvPr>
          <p:cNvSpPr/>
          <p:nvPr/>
        </p:nvSpPr>
        <p:spPr>
          <a:xfrm>
            <a:off x="6282755" y="1896714"/>
            <a:ext cx="2592000" cy="396000"/>
          </a:xfrm>
          <a:prstGeom prst="chevron">
            <a:avLst>
              <a:gd name="adj" fmla="val 22047"/>
            </a:avLst>
          </a:prstGeom>
          <a:solidFill>
            <a:srgbClr val="0793E0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Release 3</a:t>
            </a:r>
          </a:p>
        </p:txBody>
      </p:sp>
      <p:sp>
        <p:nvSpPr>
          <p:cNvPr id="194" name="Seta: Divisa 193">
            <a:extLst>
              <a:ext uri="{FF2B5EF4-FFF2-40B4-BE49-F238E27FC236}">
                <a16:creationId xmlns:a16="http://schemas.microsoft.com/office/drawing/2014/main" id="{6927B652-586D-4056-8FEC-53BF445EFB1D}"/>
              </a:ext>
            </a:extLst>
          </p:cNvPr>
          <p:cNvSpPr/>
          <p:nvPr/>
        </p:nvSpPr>
        <p:spPr>
          <a:xfrm>
            <a:off x="8908673" y="1898241"/>
            <a:ext cx="2592000" cy="396000"/>
          </a:xfrm>
          <a:prstGeom prst="chevron">
            <a:avLst>
              <a:gd name="adj" fmla="val 22047"/>
            </a:avLst>
          </a:prstGeom>
          <a:solidFill>
            <a:srgbClr val="FFD662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Release 4</a:t>
            </a:r>
          </a:p>
        </p:txBody>
      </p:sp>
      <p:sp>
        <p:nvSpPr>
          <p:cNvPr id="195" name="Seta: Divisa 194">
            <a:extLst>
              <a:ext uri="{FF2B5EF4-FFF2-40B4-BE49-F238E27FC236}">
                <a16:creationId xmlns:a16="http://schemas.microsoft.com/office/drawing/2014/main" id="{C1F62CDE-9674-46FF-84AB-CB1A83C3EF66}"/>
              </a:ext>
            </a:extLst>
          </p:cNvPr>
          <p:cNvSpPr/>
          <p:nvPr/>
        </p:nvSpPr>
        <p:spPr>
          <a:xfrm>
            <a:off x="1024937" y="1892077"/>
            <a:ext cx="2592000" cy="396000"/>
          </a:xfrm>
          <a:prstGeom prst="chevron">
            <a:avLst>
              <a:gd name="adj" fmla="val 22047"/>
            </a:avLst>
          </a:prstGeom>
          <a:solidFill>
            <a:srgbClr val="A6A6A6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Release 1</a:t>
            </a:r>
          </a:p>
        </p:txBody>
      </p:sp>
      <p:sp>
        <p:nvSpPr>
          <p:cNvPr id="196" name="Seta: Divisa 195">
            <a:extLst>
              <a:ext uri="{FF2B5EF4-FFF2-40B4-BE49-F238E27FC236}">
                <a16:creationId xmlns:a16="http://schemas.microsoft.com/office/drawing/2014/main" id="{3DD9A34B-02EC-4EEB-9837-4F41EF556F8A}"/>
              </a:ext>
            </a:extLst>
          </p:cNvPr>
          <p:cNvSpPr/>
          <p:nvPr/>
        </p:nvSpPr>
        <p:spPr>
          <a:xfrm>
            <a:off x="3653293" y="1896440"/>
            <a:ext cx="2592000" cy="396000"/>
          </a:xfrm>
          <a:prstGeom prst="chevron">
            <a:avLst>
              <a:gd name="adj" fmla="val 22047"/>
            </a:avLst>
          </a:prstGeom>
          <a:solidFill>
            <a:srgbClr val="6FBCA2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Release 2</a:t>
            </a:r>
          </a:p>
        </p:txBody>
      </p:sp>
      <p:sp>
        <p:nvSpPr>
          <p:cNvPr id="207" name="CaixaDeTexto 206">
            <a:extLst>
              <a:ext uri="{FF2B5EF4-FFF2-40B4-BE49-F238E27FC236}">
                <a16:creationId xmlns:a16="http://schemas.microsoft.com/office/drawing/2014/main" id="{1C55F0B9-3396-4253-8970-AFF10DBD8FC7}"/>
              </a:ext>
            </a:extLst>
          </p:cNvPr>
          <p:cNvSpPr txBox="1"/>
          <p:nvPr/>
        </p:nvSpPr>
        <p:spPr>
          <a:xfrm>
            <a:off x="3346971" y="2706788"/>
            <a:ext cx="98908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pt-BR"/>
            </a:defPPr>
            <a:lvl1pPr algn="ctr">
              <a:defRPr sz="950" b="1"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PDCA</a:t>
            </a:r>
          </a:p>
        </p:txBody>
      </p:sp>
      <p:sp>
        <p:nvSpPr>
          <p:cNvPr id="208" name="Seta: Divisa 207">
            <a:extLst>
              <a:ext uri="{FF2B5EF4-FFF2-40B4-BE49-F238E27FC236}">
                <a16:creationId xmlns:a16="http://schemas.microsoft.com/office/drawing/2014/main" id="{6720923F-9051-4B50-B020-52C73B74700E}"/>
              </a:ext>
            </a:extLst>
          </p:cNvPr>
          <p:cNvSpPr/>
          <p:nvPr/>
        </p:nvSpPr>
        <p:spPr>
          <a:xfrm>
            <a:off x="4102166" y="2951068"/>
            <a:ext cx="828000" cy="360000"/>
          </a:xfrm>
          <a:prstGeom prst="chevron">
            <a:avLst>
              <a:gd name="adj" fmla="val 22452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Iteração 2</a:t>
            </a:r>
          </a:p>
        </p:txBody>
      </p:sp>
      <p:sp>
        <p:nvSpPr>
          <p:cNvPr id="209" name="Seta: Divisa 208">
            <a:extLst>
              <a:ext uri="{FF2B5EF4-FFF2-40B4-BE49-F238E27FC236}">
                <a16:creationId xmlns:a16="http://schemas.microsoft.com/office/drawing/2014/main" id="{F1ABB278-E168-4456-80BF-DC66606920B8}"/>
              </a:ext>
            </a:extLst>
          </p:cNvPr>
          <p:cNvSpPr/>
          <p:nvPr/>
        </p:nvSpPr>
        <p:spPr>
          <a:xfrm>
            <a:off x="6347279" y="2948677"/>
            <a:ext cx="828000" cy="360000"/>
          </a:xfrm>
          <a:prstGeom prst="chevron">
            <a:avLst>
              <a:gd name="adj" fmla="val 22452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Iteração 3</a:t>
            </a:r>
          </a:p>
        </p:txBody>
      </p:sp>
      <p:sp>
        <p:nvSpPr>
          <p:cNvPr id="210" name="Seta: Divisa 209">
            <a:extLst>
              <a:ext uri="{FF2B5EF4-FFF2-40B4-BE49-F238E27FC236}">
                <a16:creationId xmlns:a16="http://schemas.microsoft.com/office/drawing/2014/main" id="{0E847E82-3A72-49C5-8EE1-E4119F836777}"/>
              </a:ext>
            </a:extLst>
          </p:cNvPr>
          <p:cNvSpPr/>
          <p:nvPr/>
        </p:nvSpPr>
        <p:spPr>
          <a:xfrm>
            <a:off x="8592393" y="2953460"/>
            <a:ext cx="828000" cy="360000"/>
          </a:xfrm>
          <a:prstGeom prst="chevron">
            <a:avLst>
              <a:gd name="adj" fmla="val 22452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Iteração 4</a:t>
            </a:r>
          </a:p>
        </p:txBody>
      </p:sp>
      <p:sp>
        <p:nvSpPr>
          <p:cNvPr id="211" name="CaixaDeTexto 210">
            <a:extLst>
              <a:ext uri="{FF2B5EF4-FFF2-40B4-BE49-F238E27FC236}">
                <a16:creationId xmlns:a16="http://schemas.microsoft.com/office/drawing/2014/main" id="{E97514CB-B1CB-48BF-A1C9-479A127388C3}"/>
              </a:ext>
            </a:extLst>
          </p:cNvPr>
          <p:cNvSpPr txBox="1"/>
          <p:nvPr/>
        </p:nvSpPr>
        <p:spPr>
          <a:xfrm>
            <a:off x="5499571" y="826000"/>
            <a:ext cx="14677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Ciclo anual</a:t>
            </a:r>
          </a:p>
        </p:txBody>
      </p:sp>
      <p:sp>
        <p:nvSpPr>
          <p:cNvPr id="217" name="Fluxograma: Operação Manual 102">
            <a:extLst>
              <a:ext uri="{FF2B5EF4-FFF2-40B4-BE49-F238E27FC236}">
                <a16:creationId xmlns:a16="http://schemas.microsoft.com/office/drawing/2014/main" id="{57860155-1691-4AA7-8C74-424705B1A6D6}"/>
              </a:ext>
            </a:extLst>
          </p:cNvPr>
          <p:cNvSpPr/>
          <p:nvPr/>
        </p:nvSpPr>
        <p:spPr>
          <a:xfrm rot="10800000">
            <a:off x="1054379" y="2318760"/>
            <a:ext cx="10309884" cy="20169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776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6586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6586 w 10000"/>
              <a:gd name="connsiteY2" fmla="*/ 10000 h 10000"/>
              <a:gd name="connsiteX3" fmla="*/ 3728 w 10000"/>
              <a:gd name="connsiteY3" fmla="*/ 9910 h 10000"/>
              <a:gd name="connsiteX4" fmla="*/ 0 w 10000"/>
              <a:gd name="connsiteY4" fmla="*/ 0 h 10000"/>
              <a:gd name="connsiteX0" fmla="*/ 0 w 10000"/>
              <a:gd name="connsiteY0" fmla="*/ 0 h 9910"/>
              <a:gd name="connsiteX1" fmla="*/ 10000 w 10000"/>
              <a:gd name="connsiteY1" fmla="*/ 0 h 9910"/>
              <a:gd name="connsiteX2" fmla="*/ 7603 w 10000"/>
              <a:gd name="connsiteY2" fmla="*/ 9909 h 9910"/>
              <a:gd name="connsiteX3" fmla="*/ 3728 w 10000"/>
              <a:gd name="connsiteY3" fmla="*/ 9910 h 9910"/>
              <a:gd name="connsiteX4" fmla="*/ 0 w 10000"/>
              <a:gd name="connsiteY4" fmla="*/ 0 h 991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7603 w 10000"/>
              <a:gd name="connsiteY2" fmla="*/ 9999 h 10000"/>
              <a:gd name="connsiteX3" fmla="*/ 3059 w 10000"/>
              <a:gd name="connsiteY3" fmla="*/ 10000 h 10000"/>
              <a:gd name="connsiteX4" fmla="*/ 0 w 10000"/>
              <a:gd name="connsiteY4" fmla="*/ 0 h 10000"/>
              <a:gd name="connsiteX0" fmla="*/ 0 w 17156"/>
              <a:gd name="connsiteY0" fmla="*/ 357 h 10357"/>
              <a:gd name="connsiteX1" fmla="*/ 17156 w 17156"/>
              <a:gd name="connsiteY1" fmla="*/ 0 h 10357"/>
              <a:gd name="connsiteX2" fmla="*/ 7603 w 17156"/>
              <a:gd name="connsiteY2" fmla="*/ 10356 h 10357"/>
              <a:gd name="connsiteX3" fmla="*/ 3059 w 17156"/>
              <a:gd name="connsiteY3" fmla="*/ 10357 h 10357"/>
              <a:gd name="connsiteX4" fmla="*/ 0 w 17156"/>
              <a:gd name="connsiteY4" fmla="*/ 357 h 10357"/>
              <a:gd name="connsiteX0" fmla="*/ 0 w 24909"/>
              <a:gd name="connsiteY0" fmla="*/ 0 h 10357"/>
              <a:gd name="connsiteX1" fmla="*/ 24909 w 24909"/>
              <a:gd name="connsiteY1" fmla="*/ 0 h 10357"/>
              <a:gd name="connsiteX2" fmla="*/ 15356 w 24909"/>
              <a:gd name="connsiteY2" fmla="*/ 10356 h 10357"/>
              <a:gd name="connsiteX3" fmla="*/ 10812 w 24909"/>
              <a:gd name="connsiteY3" fmla="*/ 10357 h 10357"/>
              <a:gd name="connsiteX4" fmla="*/ 0 w 24909"/>
              <a:gd name="connsiteY4" fmla="*/ 0 h 10357"/>
              <a:gd name="connsiteX0" fmla="*/ 0 w 24706"/>
              <a:gd name="connsiteY0" fmla="*/ 0 h 10357"/>
              <a:gd name="connsiteX1" fmla="*/ 24706 w 24706"/>
              <a:gd name="connsiteY1" fmla="*/ 152 h 10357"/>
              <a:gd name="connsiteX2" fmla="*/ 15356 w 24706"/>
              <a:gd name="connsiteY2" fmla="*/ 10356 h 10357"/>
              <a:gd name="connsiteX3" fmla="*/ 10812 w 24706"/>
              <a:gd name="connsiteY3" fmla="*/ 10357 h 10357"/>
              <a:gd name="connsiteX4" fmla="*/ 0 w 24706"/>
              <a:gd name="connsiteY4" fmla="*/ 0 h 10357"/>
              <a:gd name="connsiteX0" fmla="*/ 0 w 24605"/>
              <a:gd name="connsiteY0" fmla="*/ 0 h 10357"/>
              <a:gd name="connsiteX1" fmla="*/ 24605 w 24605"/>
              <a:gd name="connsiteY1" fmla="*/ 152 h 10357"/>
              <a:gd name="connsiteX2" fmla="*/ 15255 w 24605"/>
              <a:gd name="connsiteY2" fmla="*/ 10356 h 10357"/>
              <a:gd name="connsiteX3" fmla="*/ 10711 w 24605"/>
              <a:gd name="connsiteY3" fmla="*/ 10357 h 10357"/>
              <a:gd name="connsiteX4" fmla="*/ 0 w 24605"/>
              <a:gd name="connsiteY4" fmla="*/ 0 h 10357"/>
              <a:gd name="connsiteX0" fmla="*/ 0 w 24605"/>
              <a:gd name="connsiteY0" fmla="*/ 0 h 10357"/>
              <a:gd name="connsiteX1" fmla="*/ 24605 w 24605"/>
              <a:gd name="connsiteY1" fmla="*/ 152 h 10357"/>
              <a:gd name="connsiteX2" fmla="*/ 15712 w 24605"/>
              <a:gd name="connsiteY2" fmla="*/ 10182 h 10357"/>
              <a:gd name="connsiteX3" fmla="*/ 10711 w 24605"/>
              <a:gd name="connsiteY3" fmla="*/ 10357 h 10357"/>
              <a:gd name="connsiteX4" fmla="*/ 0 w 24605"/>
              <a:gd name="connsiteY4" fmla="*/ 0 h 10357"/>
              <a:gd name="connsiteX0" fmla="*/ 0 w 24605"/>
              <a:gd name="connsiteY0" fmla="*/ 0 h 10357"/>
              <a:gd name="connsiteX1" fmla="*/ 24605 w 24605"/>
              <a:gd name="connsiteY1" fmla="*/ 152 h 10357"/>
              <a:gd name="connsiteX2" fmla="*/ 15712 w 24605"/>
              <a:gd name="connsiteY2" fmla="*/ 10182 h 10357"/>
              <a:gd name="connsiteX3" fmla="*/ 10559 w 24605"/>
              <a:gd name="connsiteY3" fmla="*/ 10357 h 10357"/>
              <a:gd name="connsiteX4" fmla="*/ 0 w 24605"/>
              <a:gd name="connsiteY4" fmla="*/ 0 h 10357"/>
              <a:gd name="connsiteX0" fmla="*/ 0 w 24605"/>
              <a:gd name="connsiteY0" fmla="*/ 0 h 10183"/>
              <a:gd name="connsiteX1" fmla="*/ 24605 w 24605"/>
              <a:gd name="connsiteY1" fmla="*/ 152 h 10183"/>
              <a:gd name="connsiteX2" fmla="*/ 15712 w 24605"/>
              <a:gd name="connsiteY2" fmla="*/ 10182 h 10183"/>
              <a:gd name="connsiteX3" fmla="*/ 10559 w 24605"/>
              <a:gd name="connsiteY3" fmla="*/ 10183 h 10183"/>
              <a:gd name="connsiteX4" fmla="*/ 0 w 24605"/>
              <a:gd name="connsiteY4" fmla="*/ 0 h 10183"/>
              <a:gd name="connsiteX0" fmla="*/ 0 w 24605"/>
              <a:gd name="connsiteY0" fmla="*/ 0 h 10183"/>
              <a:gd name="connsiteX1" fmla="*/ 24605 w 24605"/>
              <a:gd name="connsiteY1" fmla="*/ 152 h 10183"/>
              <a:gd name="connsiteX2" fmla="*/ 15712 w 24605"/>
              <a:gd name="connsiteY2" fmla="*/ 10182 h 10183"/>
              <a:gd name="connsiteX3" fmla="*/ 10153 w 24605"/>
              <a:gd name="connsiteY3" fmla="*/ 10183 h 10183"/>
              <a:gd name="connsiteX4" fmla="*/ 0 w 24605"/>
              <a:gd name="connsiteY4" fmla="*/ 0 h 10183"/>
              <a:gd name="connsiteX0" fmla="*/ 0 w 24605"/>
              <a:gd name="connsiteY0" fmla="*/ 0 h 10183"/>
              <a:gd name="connsiteX1" fmla="*/ 24605 w 24605"/>
              <a:gd name="connsiteY1" fmla="*/ 152 h 10183"/>
              <a:gd name="connsiteX2" fmla="*/ 15383 w 24605"/>
              <a:gd name="connsiteY2" fmla="*/ 10182 h 10183"/>
              <a:gd name="connsiteX3" fmla="*/ 10153 w 24605"/>
              <a:gd name="connsiteY3" fmla="*/ 10183 h 10183"/>
              <a:gd name="connsiteX4" fmla="*/ 0 w 24605"/>
              <a:gd name="connsiteY4" fmla="*/ 0 h 10183"/>
              <a:gd name="connsiteX0" fmla="*/ 0 w 24605"/>
              <a:gd name="connsiteY0" fmla="*/ 0 h 10183"/>
              <a:gd name="connsiteX1" fmla="*/ 24605 w 24605"/>
              <a:gd name="connsiteY1" fmla="*/ 152 h 10183"/>
              <a:gd name="connsiteX2" fmla="*/ 15383 w 24605"/>
              <a:gd name="connsiteY2" fmla="*/ 10182 h 10183"/>
              <a:gd name="connsiteX3" fmla="*/ 10701 w 24605"/>
              <a:gd name="connsiteY3" fmla="*/ 10183 h 10183"/>
              <a:gd name="connsiteX4" fmla="*/ 0 w 24605"/>
              <a:gd name="connsiteY4" fmla="*/ 0 h 10183"/>
              <a:gd name="connsiteX0" fmla="*/ 0 w 24605"/>
              <a:gd name="connsiteY0" fmla="*/ 0 h 10183"/>
              <a:gd name="connsiteX1" fmla="*/ 24605 w 24605"/>
              <a:gd name="connsiteY1" fmla="*/ 152 h 10183"/>
              <a:gd name="connsiteX2" fmla="*/ 17310 w 24605"/>
              <a:gd name="connsiteY2" fmla="*/ 10182 h 10183"/>
              <a:gd name="connsiteX3" fmla="*/ 10701 w 24605"/>
              <a:gd name="connsiteY3" fmla="*/ 10183 h 10183"/>
              <a:gd name="connsiteX4" fmla="*/ 0 w 24605"/>
              <a:gd name="connsiteY4" fmla="*/ 0 h 10183"/>
              <a:gd name="connsiteX0" fmla="*/ 0 w 24605"/>
              <a:gd name="connsiteY0" fmla="*/ 0 h 10183"/>
              <a:gd name="connsiteX1" fmla="*/ 24605 w 24605"/>
              <a:gd name="connsiteY1" fmla="*/ 152 h 10183"/>
              <a:gd name="connsiteX2" fmla="*/ 17310 w 24605"/>
              <a:gd name="connsiteY2" fmla="*/ 10182 h 10183"/>
              <a:gd name="connsiteX3" fmla="*/ 7618 w 24605"/>
              <a:gd name="connsiteY3" fmla="*/ 10183 h 10183"/>
              <a:gd name="connsiteX4" fmla="*/ 0 w 24605"/>
              <a:gd name="connsiteY4" fmla="*/ 0 h 10183"/>
              <a:gd name="connsiteX0" fmla="*/ 0 w 24605"/>
              <a:gd name="connsiteY0" fmla="*/ 0 h 11709"/>
              <a:gd name="connsiteX1" fmla="*/ 24605 w 24605"/>
              <a:gd name="connsiteY1" fmla="*/ 152 h 11709"/>
              <a:gd name="connsiteX2" fmla="*/ 20078 w 24605"/>
              <a:gd name="connsiteY2" fmla="*/ 11709 h 11709"/>
              <a:gd name="connsiteX3" fmla="*/ 7618 w 24605"/>
              <a:gd name="connsiteY3" fmla="*/ 10183 h 11709"/>
              <a:gd name="connsiteX4" fmla="*/ 0 w 24605"/>
              <a:gd name="connsiteY4" fmla="*/ 0 h 11709"/>
              <a:gd name="connsiteX0" fmla="*/ 0 w 24605"/>
              <a:gd name="connsiteY0" fmla="*/ 0 h 11709"/>
              <a:gd name="connsiteX1" fmla="*/ 24605 w 24605"/>
              <a:gd name="connsiteY1" fmla="*/ 152 h 11709"/>
              <a:gd name="connsiteX2" fmla="*/ 20197 w 24605"/>
              <a:gd name="connsiteY2" fmla="*/ 11709 h 11709"/>
              <a:gd name="connsiteX3" fmla="*/ 7618 w 24605"/>
              <a:gd name="connsiteY3" fmla="*/ 10183 h 11709"/>
              <a:gd name="connsiteX4" fmla="*/ 0 w 24605"/>
              <a:gd name="connsiteY4" fmla="*/ 0 h 11709"/>
              <a:gd name="connsiteX0" fmla="*/ 0 w 24605"/>
              <a:gd name="connsiteY0" fmla="*/ 0 h 11709"/>
              <a:gd name="connsiteX1" fmla="*/ 24605 w 24605"/>
              <a:gd name="connsiteY1" fmla="*/ 152 h 11709"/>
              <a:gd name="connsiteX2" fmla="*/ 20197 w 24605"/>
              <a:gd name="connsiteY2" fmla="*/ 11709 h 11709"/>
              <a:gd name="connsiteX3" fmla="*/ 12414 w 24605"/>
              <a:gd name="connsiteY3" fmla="*/ 11404 h 11709"/>
              <a:gd name="connsiteX4" fmla="*/ 0 w 24605"/>
              <a:gd name="connsiteY4" fmla="*/ 0 h 11709"/>
              <a:gd name="connsiteX0" fmla="*/ 0 w 24605"/>
              <a:gd name="connsiteY0" fmla="*/ 0 h 12015"/>
              <a:gd name="connsiteX1" fmla="*/ 24605 w 24605"/>
              <a:gd name="connsiteY1" fmla="*/ 152 h 12015"/>
              <a:gd name="connsiteX2" fmla="*/ 20197 w 24605"/>
              <a:gd name="connsiteY2" fmla="*/ 11709 h 12015"/>
              <a:gd name="connsiteX3" fmla="*/ 12462 w 24605"/>
              <a:gd name="connsiteY3" fmla="*/ 12015 h 12015"/>
              <a:gd name="connsiteX4" fmla="*/ 0 w 24605"/>
              <a:gd name="connsiteY4" fmla="*/ 0 h 12015"/>
              <a:gd name="connsiteX0" fmla="*/ 0 w 24605"/>
              <a:gd name="connsiteY0" fmla="*/ 0 h 12320"/>
              <a:gd name="connsiteX1" fmla="*/ 24605 w 24605"/>
              <a:gd name="connsiteY1" fmla="*/ 152 h 12320"/>
              <a:gd name="connsiteX2" fmla="*/ 20197 w 24605"/>
              <a:gd name="connsiteY2" fmla="*/ 11709 h 12320"/>
              <a:gd name="connsiteX3" fmla="*/ 12462 w 24605"/>
              <a:gd name="connsiteY3" fmla="*/ 12320 h 12320"/>
              <a:gd name="connsiteX4" fmla="*/ 0 w 24605"/>
              <a:gd name="connsiteY4" fmla="*/ 0 h 12320"/>
              <a:gd name="connsiteX0" fmla="*/ 0 w 24605"/>
              <a:gd name="connsiteY0" fmla="*/ 0 h 12320"/>
              <a:gd name="connsiteX1" fmla="*/ 24605 w 24605"/>
              <a:gd name="connsiteY1" fmla="*/ 152 h 12320"/>
              <a:gd name="connsiteX2" fmla="*/ 20197 w 24605"/>
              <a:gd name="connsiteY2" fmla="*/ 11709 h 12320"/>
              <a:gd name="connsiteX3" fmla="*/ 12462 w 24605"/>
              <a:gd name="connsiteY3" fmla="*/ 12320 h 12320"/>
              <a:gd name="connsiteX4" fmla="*/ 0 w 24605"/>
              <a:gd name="connsiteY4" fmla="*/ 0 h 12320"/>
              <a:gd name="connsiteX0" fmla="*/ 0 w 24605"/>
              <a:gd name="connsiteY0" fmla="*/ 0 h 12015"/>
              <a:gd name="connsiteX1" fmla="*/ 24605 w 24605"/>
              <a:gd name="connsiteY1" fmla="*/ 152 h 12015"/>
              <a:gd name="connsiteX2" fmla="*/ 20197 w 24605"/>
              <a:gd name="connsiteY2" fmla="*/ 11709 h 12015"/>
              <a:gd name="connsiteX3" fmla="*/ 12438 w 24605"/>
              <a:gd name="connsiteY3" fmla="*/ 12015 h 12015"/>
              <a:gd name="connsiteX4" fmla="*/ 0 w 24605"/>
              <a:gd name="connsiteY4" fmla="*/ 0 h 12015"/>
              <a:gd name="connsiteX0" fmla="*/ 0 w 24605"/>
              <a:gd name="connsiteY0" fmla="*/ 0 h 11710"/>
              <a:gd name="connsiteX1" fmla="*/ 24605 w 24605"/>
              <a:gd name="connsiteY1" fmla="*/ 152 h 11710"/>
              <a:gd name="connsiteX2" fmla="*/ 20197 w 24605"/>
              <a:gd name="connsiteY2" fmla="*/ 11709 h 11710"/>
              <a:gd name="connsiteX3" fmla="*/ 12414 w 24605"/>
              <a:gd name="connsiteY3" fmla="*/ 11710 h 11710"/>
              <a:gd name="connsiteX4" fmla="*/ 0 w 24605"/>
              <a:gd name="connsiteY4" fmla="*/ 0 h 11710"/>
              <a:gd name="connsiteX0" fmla="*/ 0 w 24605"/>
              <a:gd name="connsiteY0" fmla="*/ 0 h 11710"/>
              <a:gd name="connsiteX1" fmla="*/ 24605 w 24605"/>
              <a:gd name="connsiteY1" fmla="*/ 152 h 11710"/>
              <a:gd name="connsiteX2" fmla="*/ 19907 w 24605"/>
              <a:gd name="connsiteY2" fmla="*/ 11098 h 11710"/>
              <a:gd name="connsiteX3" fmla="*/ 12414 w 24605"/>
              <a:gd name="connsiteY3" fmla="*/ 11710 h 11710"/>
              <a:gd name="connsiteX4" fmla="*/ 0 w 24605"/>
              <a:gd name="connsiteY4" fmla="*/ 0 h 11710"/>
              <a:gd name="connsiteX0" fmla="*/ 0 w 24605"/>
              <a:gd name="connsiteY0" fmla="*/ 0 h 12321"/>
              <a:gd name="connsiteX1" fmla="*/ 24605 w 24605"/>
              <a:gd name="connsiteY1" fmla="*/ 152 h 12321"/>
              <a:gd name="connsiteX2" fmla="*/ 19907 w 24605"/>
              <a:gd name="connsiteY2" fmla="*/ 11098 h 12321"/>
              <a:gd name="connsiteX3" fmla="*/ 11229 w 24605"/>
              <a:gd name="connsiteY3" fmla="*/ 12321 h 12321"/>
              <a:gd name="connsiteX4" fmla="*/ 0 w 24605"/>
              <a:gd name="connsiteY4" fmla="*/ 0 h 12321"/>
              <a:gd name="connsiteX0" fmla="*/ 0 w 24605"/>
              <a:gd name="connsiteY0" fmla="*/ 0 h 11405"/>
              <a:gd name="connsiteX1" fmla="*/ 24605 w 24605"/>
              <a:gd name="connsiteY1" fmla="*/ 152 h 11405"/>
              <a:gd name="connsiteX2" fmla="*/ 19907 w 24605"/>
              <a:gd name="connsiteY2" fmla="*/ 11098 h 11405"/>
              <a:gd name="connsiteX3" fmla="*/ 11255 w 24605"/>
              <a:gd name="connsiteY3" fmla="*/ 11405 h 11405"/>
              <a:gd name="connsiteX4" fmla="*/ 0 w 24605"/>
              <a:gd name="connsiteY4" fmla="*/ 0 h 11405"/>
              <a:gd name="connsiteX0" fmla="*/ 0 w 24605"/>
              <a:gd name="connsiteY0" fmla="*/ 0 h 11405"/>
              <a:gd name="connsiteX1" fmla="*/ 24605 w 24605"/>
              <a:gd name="connsiteY1" fmla="*/ 152 h 11405"/>
              <a:gd name="connsiteX2" fmla="*/ 19907 w 24605"/>
              <a:gd name="connsiteY2" fmla="*/ 11098 h 11405"/>
              <a:gd name="connsiteX3" fmla="*/ 11255 w 24605"/>
              <a:gd name="connsiteY3" fmla="*/ 11405 h 11405"/>
              <a:gd name="connsiteX4" fmla="*/ 0 w 24605"/>
              <a:gd name="connsiteY4" fmla="*/ 0 h 11405"/>
              <a:gd name="connsiteX0" fmla="*/ 0 w 24605"/>
              <a:gd name="connsiteY0" fmla="*/ 0 h 11405"/>
              <a:gd name="connsiteX1" fmla="*/ 24605 w 24605"/>
              <a:gd name="connsiteY1" fmla="*/ 152 h 11405"/>
              <a:gd name="connsiteX2" fmla="*/ 19907 w 24605"/>
              <a:gd name="connsiteY2" fmla="*/ 11098 h 11405"/>
              <a:gd name="connsiteX3" fmla="*/ 11255 w 24605"/>
              <a:gd name="connsiteY3" fmla="*/ 11405 h 11405"/>
              <a:gd name="connsiteX4" fmla="*/ 0 w 24605"/>
              <a:gd name="connsiteY4" fmla="*/ 0 h 11405"/>
              <a:gd name="connsiteX0" fmla="*/ 0 w 24605"/>
              <a:gd name="connsiteY0" fmla="*/ 0 h 11460"/>
              <a:gd name="connsiteX1" fmla="*/ 24605 w 24605"/>
              <a:gd name="connsiteY1" fmla="*/ 152 h 11460"/>
              <a:gd name="connsiteX2" fmla="*/ 19907 w 24605"/>
              <a:gd name="connsiteY2" fmla="*/ 11098 h 11460"/>
              <a:gd name="connsiteX3" fmla="*/ 11255 w 24605"/>
              <a:gd name="connsiteY3" fmla="*/ 11405 h 11460"/>
              <a:gd name="connsiteX4" fmla="*/ 0 w 24605"/>
              <a:gd name="connsiteY4" fmla="*/ 0 h 11460"/>
              <a:gd name="connsiteX0" fmla="*/ 0 w 24605"/>
              <a:gd name="connsiteY0" fmla="*/ 0 h 11405"/>
              <a:gd name="connsiteX1" fmla="*/ 24605 w 24605"/>
              <a:gd name="connsiteY1" fmla="*/ 152 h 11405"/>
              <a:gd name="connsiteX2" fmla="*/ 19907 w 24605"/>
              <a:gd name="connsiteY2" fmla="*/ 11098 h 11405"/>
              <a:gd name="connsiteX3" fmla="*/ 11255 w 24605"/>
              <a:gd name="connsiteY3" fmla="*/ 11405 h 11405"/>
              <a:gd name="connsiteX4" fmla="*/ 0 w 24605"/>
              <a:gd name="connsiteY4" fmla="*/ 0 h 11405"/>
              <a:gd name="connsiteX0" fmla="*/ 0 w 24605"/>
              <a:gd name="connsiteY0" fmla="*/ 0 h 11405"/>
              <a:gd name="connsiteX1" fmla="*/ 24605 w 24605"/>
              <a:gd name="connsiteY1" fmla="*/ 152 h 11405"/>
              <a:gd name="connsiteX2" fmla="*/ 19907 w 24605"/>
              <a:gd name="connsiteY2" fmla="*/ 11098 h 11405"/>
              <a:gd name="connsiteX3" fmla="*/ 11255 w 24605"/>
              <a:gd name="connsiteY3" fmla="*/ 11405 h 11405"/>
              <a:gd name="connsiteX4" fmla="*/ 0 w 24605"/>
              <a:gd name="connsiteY4" fmla="*/ 0 h 11405"/>
              <a:gd name="connsiteX0" fmla="*/ 0 w 24605"/>
              <a:gd name="connsiteY0" fmla="*/ 0 h 11098"/>
              <a:gd name="connsiteX1" fmla="*/ 24605 w 24605"/>
              <a:gd name="connsiteY1" fmla="*/ 152 h 11098"/>
              <a:gd name="connsiteX2" fmla="*/ 19907 w 24605"/>
              <a:gd name="connsiteY2" fmla="*/ 11098 h 11098"/>
              <a:gd name="connsiteX3" fmla="*/ 11308 w 24605"/>
              <a:gd name="connsiteY3" fmla="*/ 10489 h 11098"/>
              <a:gd name="connsiteX4" fmla="*/ 0 w 24605"/>
              <a:gd name="connsiteY4" fmla="*/ 0 h 11098"/>
              <a:gd name="connsiteX0" fmla="*/ 0 w 24605"/>
              <a:gd name="connsiteY0" fmla="*/ 0 h 11100"/>
              <a:gd name="connsiteX1" fmla="*/ 24605 w 24605"/>
              <a:gd name="connsiteY1" fmla="*/ 152 h 11100"/>
              <a:gd name="connsiteX2" fmla="*/ 19907 w 24605"/>
              <a:gd name="connsiteY2" fmla="*/ 11098 h 11100"/>
              <a:gd name="connsiteX3" fmla="*/ 11334 w 24605"/>
              <a:gd name="connsiteY3" fmla="*/ 11100 h 11100"/>
              <a:gd name="connsiteX4" fmla="*/ 0 w 24605"/>
              <a:gd name="connsiteY4" fmla="*/ 0 h 11100"/>
              <a:gd name="connsiteX0" fmla="*/ 0 w 29493"/>
              <a:gd name="connsiteY0" fmla="*/ 1162 h 12262"/>
              <a:gd name="connsiteX1" fmla="*/ 29493 w 29493"/>
              <a:gd name="connsiteY1" fmla="*/ 0 h 12262"/>
              <a:gd name="connsiteX2" fmla="*/ 19907 w 29493"/>
              <a:gd name="connsiteY2" fmla="*/ 12260 h 12262"/>
              <a:gd name="connsiteX3" fmla="*/ 11334 w 29493"/>
              <a:gd name="connsiteY3" fmla="*/ 12262 h 12262"/>
              <a:gd name="connsiteX4" fmla="*/ 0 w 29493"/>
              <a:gd name="connsiteY4" fmla="*/ 1162 h 12262"/>
              <a:gd name="connsiteX0" fmla="*/ 0 w 35278"/>
              <a:gd name="connsiteY0" fmla="*/ 1162 h 12262"/>
              <a:gd name="connsiteX1" fmla="*/ 35278 w 35278"/>
              <a:gd name="connsiteY1" fmla="*/ 0 h 12262"/>
              <a:gd name="connsiteX2" fmla="*/ 25692 w 35278"/>
              <a:gd name="connsiteY2" fmla="*/ 12260 h 12262"/>
              <a:gd name="connsiteX3" fmla="*/ 17119 w 35278"/>
              <a:gd name="connsiteY3" fmla="*/ 12262 h 12262"/>
              <a:gd name="connsiteX4" fmla="*/ 0 w 35278"/>
              <a:gd name="connsiteY4" fmla="*/ 1162 h 12262"/>
              <a:gd name="connsiteX0" fmla="*/ 0 w 34712"/>
              <a:gd name="connsiteY0" fmla="*/ 1162 h 12262"/>
              <a:gd name="connsiteX1" fmla="*/ 34712 w 34712"/>
              <a:gd name="connsiteY1" fmla="*/ 0 h 12262"/>
              <a:gd name="connsiteX2" fmla="*/ 25692 w 34712"/>
              <a:gd name="connsiteY2" fmla="*/ 12260 h 12262"/>
              <a:gd name="connsiteX3" fmla="*/ 17119 w 34712"/>
              <a:gd name="connsiteY3" fmla="*/ 12262 h 12262"/>
              <a:gd name="connsiteX4" fmla="*/ 0 w 34712"/>
              <a:gd name="connsiteY4" fmla="*/ 1162 h 12262"/>
              <a:gd name="connsiteX0" fmla="*/ 0 w 35447"/>
              <a:gd name="connsiteY0" fmla="*/ 417 h 12262"/>
              <a:gd name="connsiteX1" fmla="*/ 35447 w 35447"/>
              <a:gd name="connsiteY1" fmla="*/ 0 h 12262"/>
              <a:gd name="connsiteX2" fmla="*/ 26427 w 35447"/>
              <a:gd name="connsiteY2" fmla="*/ 12260 h 12262"/>
              <a:gd name="connsiteX3" fmla="*/ 17854 w 35447"/>
              <a:gd name="connsiteY3" fmla="*/ 12262 h 12262"/>
              <a:gd name="connsiteX4" fmla="*/ 0 w 35447"/>
              <a:gd name="connsiteY4" fmla="*/ 417 h 12262"/>
              <a:gd name="connsiteX0" fmla="*/ 0 w 35447"/>
              <a:gd name="connsiteY0" fmla="*/ 417 h 12262"/>
              <a:gd name="connsiteX1" fmla="*/ 35447 w 35447"/>
              <a:gd name="connsiteY1" fmla="*/ 0 h 12262"/>
              <a:gd name="connsiteX2" fmla="*/ 26314 w 35447"/>
              <a:gd name="connsiteY2" fmla="*/ 12260 h 12262"/>
              <a:gd name="connsiteX3" fmla="*/ 17854 w 35447"/>
              <a:gd name="connsiteY3" fmla="*/ 12262 h 12262"/>
              <a:gd name="connsiteX4" fmla="*/ 0 w 35447"/>
              <a:gd name="connsiteY4" fmla="*/ 417 h 12262"/>
              <a:gd name="connsiteX0" fmla="*/ 0 w 35447"/>
              <a:gd name="connsiteY0" fmla="*/ 417 h 13244"/>
              <a:gd name="connsiteX1" fmla="*/ 35447 w 35447"/>
              <a:gd name="connsiteY1" fmla="*/ 0 h 13244"/>
              <a:gd name="connsiteX2" fmla="*/ 26314 w 35447"/>
              <a:gd name="connsiteY2" fmla="*/ 12260 h 13244"/>
              <a:gd name="connsiteX3" fmla="*/ 17911 w 35447"/>
              <a:gd name="connsiteY3" fmla="*/ 13244 h 13244"/>
              <a:gd name="connsiteX4" fmla="*/ 0 w 35447"/>
              <a:gd name="connsiteY4" fmla="*/ 417 h 13244"/>
              <a:gd name="connsiteX0" fmla="*/ 0 w 35447"/>
              <a:gd name="connsiteY0" fmla="*/ 417 h 13244"/>
              <a:gd name="connsiteX1" fmla="*/ 35447 w 35447"/>
              <a:gd name="connsiteY1" fmla="*/ 0 h 13244"/>
              <a:gd name="connsiteX2" fmla="*/ 26314 w 35447"/>
              <a:gd name="connsiteY2" fmla="*/ 12751 h 13244"/>
              <a:gd name="connsiteX3" fmla="*/ 17911 w 35447"/>
              <a:gd name="connsiteY3" fmla="*/ 13244 h 13244"/>
              <a:gd name="connsiteX4" fmla="*/ 0 w 35447"/>
              <a:gd name="connsiteY4" fmla="*/ 417 h 13244"/>
              <a:gd name="connsiteX0" fmla="*/ 0 w 35447"/>
              <a:gd name="connsiteY0" fmla="*/ 417 h 13244"/>
              <a:gd name="connsiteX1" fmla="*/ 35447 w 35447"/>
              <a:gd name="connsiteY1" fmla="*/ 0 h 13244"/>
              <a:gd name="connsiteX2" fmla="*/ 26314 w 35447"/>
              <a:gd name="connsiteY2" fmla="*/ 13242 h 13244"/>
              <a:gd name="connsiteX3" fmla="*/ 17911 w 35447"/>
              <a:gd name="connsiteY3" fmla="*/ 13244 h 13244"/>
              <a:gd name="connsiteX4" fmla="*/ 0 w 35447"/>
              <a:gd name="connsiteY4" fmla="*/ 417 h 1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447" h="13244">
                <a:moveTo>
                  <a:pt x="0" y="417"/>
                </a:moveTo>
                <a:lnTo>
                  <a:pt x="35447" y="0"/>
                </a:lnTo>
                <a:lnTo>
                  <a:pt x="26314" y="13242"/>
                </a:lnTo>
                <a:lnTo>
                  <a:pt x="17911" y="13244"/>
                </a:lnTo>
                <a:lnTo>
                  <a:pt x="0" y="417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8" name="Fluxograma: Operação Manual 102">
            <a:extLst>
              <a:ext uri="{FF2B5EF4-FFF2-40B4-BE49-F238E27FC236}">
                <a16:creationId xmlns:a16="http://schemas.microsoft.com/office/drawing/2014/main" id="{F071FC09-0704-4726-A780-71036BAF12C9}"/>
              </a:ext>
            </a:extLst>
          </p:cNvPr>
          <p:cNvSpPr/>
          <p:nvPr/>
        </p:nvSpPr>
        <p:spPr>
          <a:xfrm rot="10800000">
            <a:off x="3046187" y="3334761"/>
            <a:ext cx="3274034" cy="141300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776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6586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6586 w 10000"/>
              <a:gd name="connsiteY2" fmla="*/ 10000 h 10000"/>
              <a:gd name="connsiteX3" fmla="*/ 3728 w 10000"/>
              <a:gd name="connsiteY3" fmla="*/ 9910 h 10000"/>
              <a:gd name="connsiteX4" fmla="*/ 0 w 10000"/>
              <a:gd name="connsiteY4" fmla="*/ 0 h 10000"/>
              <a:gd name="connsiteX0" fmla="*/ 0 w 10000"/>
              <a:gd name="connsiteY0" fmla="*/ 0 h 9910"/>
              <a:gd name="connsiteX1" fmla="*/ 10000 w 10000"/>
              <a:gd name="connsiteY1" fmla="*/ 0 h 9910"/>
              <a:gd name="connsiteX2" fmla="*/ 7603 w 10000"/>
              <a:gd name="connsiteY2" fmla="*/ 9909 h 9910"/>
              <a:gd name="connsiteX3" fmla="*/ 3728 w 10000"/>
              <a:gd name="connsiteY3" fmla="*/ 9910 h 9910"/>
              <a:gd name="connsiteX4" fmla="*/ 0 w 10000"/>
              <a:gd name="connsiteY4" fmla="*/ 0 h 991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7603 w 10000"/>
              <a:gd name="connsiteY2" fmla="*/ 9999 h 10000"/>
              <a:gd name="connsiteX3" fmla="*/ 3059 w 10000"/>
              <a:gd name="connsiteY3" fmla="*/ 10000 h 10000"/>
              <a:gd name="connsiteX4" fmla="*/ 0 w 10000"/>
              <a:gd name="connsiteY4" fmla="*/ 0 h 10000"/>
              <a:gd name="connsiteX0" fmla="*/ 0 w 17156"/>
              <a:gd name="connsiteY0" fmla="*/ 357 h 10357"/>
              <a:gd name="connsiteX1" fmla="*/ 17156 w 17156"/>
              <a:gd name="connsiteY1" fmla="*/ 0 h 10357"/>
              <a:gd name="connsiteX2" fmla="*/ 7603 w 17156"/>
              <a:gd name="connsiteY2" fmla="*/ 10356 h 10357"/>
              <a:gd name="connsiteX3" fmla="*/ 3059 w 17156"/>
              <a:gd name="connsiteY3" fmla="*/ 10357 h 10357"/>
              <a:gd name="connsiteX4" fmla="*/ 0 w 17156"/>
              <a:gd name="connsiteY4" fmla="*/ 357 h 10357"/>
              <a:gd name="connsiteX0" fmla="*/ 0 w 24909"/>
              <a:gd name="connsiteY0" fmla="*/ 0 h 10357"/>
              <a:gd name="connsiteX1" fmla="*/ 24909 w 24909"/>
              <a:gd name="connsiteY1" fmla="*/ 0 h 10357"/>
              <a:gd name="connsiteX2" fmla="*/ 15356 w 24909"/>
              <a:gd name="connsiteY2" fmla="*/ 10356 h 10357"/>
              <a:gd name="connsiteX3" fmla="*/ 10812 w 24909"/>
              <a:gd name="connsiteY3" fmla="*/ 10357 h 10357"/>
              <a:gd name="connsiteX4" fmla="*/ 0 w 24909"/>
              <a:gd name="connsiteY4" fmla="*/ 0 h 10357"/>
              <a:gd name="connsiteX0" fmla="*/ 0 w 24706"/>
              <a:gd name="connsiteY0" fmla="*/ 0 h 10357"/>
              <a:gd name="connsiteX1" fmla="*/ 24706 w 24706"/>
              <a:gd name="connsiteY1" fmla="*/ 152 h 10357"/>
              <a:gd name="connsiteX2" fmla="*/ 15356 w 24706"/>
              <a:gd name="connsiteY2" fmla="*/ 10356 h 10357"/>
              <a:gd name="connsiteX3" fmla="*/ 10812 w 24706"/>
              <a:gd name="connsiteY3" fmla="*/ 10357 h 10357"/>
              <a:gd name="connsiteX4" fmla="*/ 0 w 24706"/>
              <a:gd name="connsiteY4" fmla="*/ 0 h 10357"/>
              <a:gd name="connsiteX0" fmla="*/ 0 w 24605"/>
              <a:gd name="connsiteY0" fmla="*/ 0 h 10357"/>
              <a:gd name="connsiteX1" fmla="*/ 24605 w 24605"/>
              <a:gd name="connsiteY1" fmla="*/ 152 h 10357"/>
              <a:gd name="connsiteX2" fmla="*/ 15255 w 24605"/>
              <a:gd name="connsiteY2" fmla="*/ 10356 h 10357"/>
              <a:gd name="connsiteX3" fmla="*/ 10711 w 24605"/>
              <a:gd name="connsiteY3" fmla="*/ 10357 h 10357"/>
              <a:gd name="connsiteX4" fmla="*/ 0 w 24605"/>
              <a:gd name="connsiteY4" fmla="*/ 0 h 10357"/>
              <a:gd name="connsiteX0" fmla="*/ 0 w 24605"/>
              <a:gd name="connsiteY0" fmla="*/ 0 h 10357"/>
              <a:gd name="connsiteX1" fmla="*/ 24605 w 24605"/>
              <a:gd name="connsiteY1" fmla="*/ 152 h 10357"/>
              <a:gd name="connsiteX2" fmla="*/ 15712 w 24605"/>
              <a:gd name="connsiteY2" fmla="*/ 10182 h 10357"/>
              <a:gd name="connsiteX3" fmla="*/ 10711 w 24605"/>
              <a:gd name="connsiteY3" fmla="*/ 10357 h 10357"/>
              <a:gd name="connsiteX4" fmla="*/ 0 w 24605"/>
              <a:gd name="connsiteY4" fmla="*/ 0 h 10357"/>
              <a:gd name="connsiteX0" fmla="*/ 0 w 24605"/>
              <a:gd name="connsiteY0" fmla="*/ 0 h 10357"/>
              <a:gd name="connsiteX1" fmla="*/ 24605 w 24605"/>
              <a:gd name="connsiteY1" fmla="*/ 152 h 10357"/>
              <a:gd name="connsiteX2" fmla="*/ 15712 w 24605"/>
              <a:gd name="connsiteY2" fmla="*/ 10182 h 10357"/>
              <a:gd name="connsiteX3" fmla="*/ 10559 w 24605"/>
              <a:gd name="connsiteY3" fmla="*/ 10357 h 10357"/>
              <a:gd name="connsiteX4" fmla="*/ 0 w 24605"/>
              <a:gd name="connsiteY4" fmla="*/ 0 h 10357"/>
              <a:gd name="connsiteX0" fmla="*/ 0 w 24605"/>
              <a:gd name="connsiteY0" fmla="*/ 0 h 10183"/>
              <a:gd name="connsiteX1" fmla="*/ 24605 w 24605"/>
              <a:gd name="connsiteY1" fmla="*/ 152 h 10183"/>
              <a:gd name="connsiteX2" fmla="*/ 15712 w 24605"/>
              <a:gd name="connsiteY2" fmla="*/ 10182 h 10183"/>
              <a:gd name="connsiteX3" fmla="*/ 10559 w 24605"/>
              <a:gd name="connsiteY3" fmla="*/ 10183 h 10183"/>
              <a:gd name="connsiteX4" fmla="*/ 0 w 24605"/>
              <a:gd name="connsiteY4" fmla="*/ 0 h 10183"/>
              <a:gd name="connsiteX0" fmla="*/ 0 w 24605"/>
              <a:gd name="connsiteY0" fmla="*/ 0 h 10183"/>
              <a:gd name="connsiteX1" fmla="*/ 24605 w 24605"/>
              <a:gd name="connsiteY1" fmla="*/ 152 h 10183"/>
              <a:gd name="connsiteX2" fmla="*/ 15712 w 24605"/>
              <a:gd name="connsiteY2" fmla="*/ 10182 h 10183"/>
              <a:gd name="connsiteX3" fmla="*/ 10153 w 24605"/>
              <a:gd name="connsiteY3" fmla="*/ 10183 h 10183"/>
              <a:gd name="connsiteX4" fmla="*/ 0 w 24605"/>
              <a:gd name="connsiteY4" fmla="*/ 0 h 10183"/>
              <a:gd name="connsiteX0" fmla="*/ 0 w 24605"/>
              <a:gd name="connsiteY0" fmla="*/ 0 h 10183"/>
              <a:gd name="connsiteX1" fmla="*/ 24605 w 24605"/>
              <a:gd name="connsiteY1" fmla="*/ 152 h 10183"/>
              <a:gd name="connsiteX2" fmla="*/ 15383 w 24605"/>
              <a:gd name="connsiteY2" fmla="*/ 10182 h 10183"/>
              <a:gd name="connsiteX3" fmla="*/ 10153 w 24605"/>
              <a:gd name="connsiteY3" fmla="*/ 10183 h 10183"/>
              <a:gd name="connsiteX4" fmla="*/ 0 w 24605"/>
              <a:gd name="connsiteY4" fmla="*/ 0 h 10183"/>
              <a:gd name="connsiteX0" fmla="*/ 0 w 24605"/>
              <a:gd name="connsiteY0" fmla="*/ 0 h 10183"/>
              <a:gd name="connsiteX1" fmla="*/ 24605 w 24605"/>
              <a:gd name="connsiteY1" fmla="*/ 152 h 10183"/>
              <a:gd name="connsiteX2" fmla="*/ 15383 w 24605"/>
              <a:gd name="connsiteY2" fmla="*/ 10182 h 10183"/>
              <a:gd name="connsiteX3" fmla="*/ 10701 w 24605"/>
              <a:gd name="connsiteY3" fmla="*/ 10183 h 10183"/>
              <a:gd name="connsiteX4" fmla="*/ 0 w 24605"/>
              <a:gd name="connsiteY4" fmla="*/ 0 h 10183"/>
              <a:gd name="connsiteX0" fmla="*/ 0 w 24605"/>
              <a:gd name="connsiteY0" fmla="*/ 0 h 10501"/>
              <a:gd name="connsiteX1" fmla="*/ 24605 w 24605"/>
              <a:gd name="connsiteY1" fmla="*/ 152 h 10501"/>
              <a:gd name="connsiteX2" fmla="*/ 16349 w 24605"/>
              <a:gd name="connsiteY2" fmla="*/ 10501 h 10501"/>
              <a:gd name="connsiteX3" fmla="*/ 10701 w 24605"/>
              <a:gd name="connsiteY3" fmla="*/ 10183 h 10501"/>
              <a:gd name="connsiteX4" fmla="*/ 0 w 24605"/>
              <a:gd name="connsiteY4" fmla="*/ 0 h 10501"/>
              <a:gd name="connsiteX0" fmla="*/ 0 w 24605"/>
              <a:gd name="connsiteY0" fmla="*/ 0 h 10502"/>
              <a:gd name="connsiteX1" fmla="*/ 24605 w 24605"/>
              <a:gd name="connsiteY1" fmla="*/ 152 h 10502"/>
              <a:gd name="connsiteX2" fmla="*/ 16349 w 24605"/>
              <a:gd name="connsiteY2" fmla="*/ 10501 h 10502"/>
              <a:gd name="connsiteX3" fmla="*/ 11049 w 24605"/>
              <a:gd name="connsiteY3" fmla="*/ 10502 h 10502"/>
              <a:gd name="connsiteX4" fmla="*/ 0 w 24605"/>
              <a:gd name="connsiteY4" fmla="*/ 0 h 10502"/>
              <a:gd name="connsiteX0" fmla="*/ 0 w 24605"/>
              <a:gd name="connsiteY0" fmla="*/ 0 h 10502"/>
              <a:gd name="connsiteX1" fmla="*/ 24605 w 24605"/>
              <a:gd name="connsiteY1" fmla="*/ 152 h 10502"/>
              <a:gd name="connsiteX2" fmla="*/ 16388 w 24605"/>
              <a:gd name="connsiteY2" fmla="*/ 10501 h 10502"/>
              <a:gd name="connsiteX3" fmla="*/ 11049 w 24605"/>
              <a:gd name="connsiteY3" fmla="*/ 10502 h 10502"/>
              <a:gd name="connsiteX4" fmla="*/ 0 w 24605"/>
              <a:gd name="connsiteY4" fmla="*/ 0 h 10502"/>
              <a:gd name="connsiteX0" fmla="*/ 0 w 24605"/>
              <a:gd name="connsiteY0" fmla="*/ 0 h 11459"/>
              <a:gd name="connsiteX1" fmla="*/ 24605 w 24605"/>
              <a:gd name="connsiteY1" fmla="*/ 152 h 11459"/>
              <a:gd name="connsiteX2" fmla="*/ 16427 w 24605"/>
              <a:gd name="connsiteY2" fmla="*/ 11459 h 11459"/>
              <a:gd name="connsiteX3" fmla="*/ 11049 w 24605"/>
              <a:gd name="connsiteY3" fmla="*/ 10502 h 11459"/>
              <a:gd name="connsiteX4" fmla="*/ 0 w 24605"/>
              <a:gd name="connsiteY4" fmla="*/ 0 h 11459"/>
              <a:gd name="connsiteX0" fmla="*/ 0 w 24605"/>
              <a:gd name="connsiteY0" fmla="*/ 0 h 11459"/>
              <a:gd name="connsiteX1" fmla="*/ 24605 w 24605"/>
              <a:gd name="connsiteY1" fmla="*/ 152 h 11459"/>
              <a:gd name="connsiteX2" fmla="*/ 16427 w 24605"/>
              <a:gd name="connsiteY2" fmla="*/ 11459 h 11459"/>
              <a:gd name="connsiteX3" fmla="*/ 10894 w 24605"/>
              <a:gd name="connsiteY3" fmla="*/ 11141 h 11459"/>
              <a:gd name="connsiteX4" fmla="*/ 0 w 24605"/>
              <a:gd name="connsiteY4" fmla="*/ 0 h 11459"/>
              <a:gd name="connsiteX0" fmla="*/ 0 w 24605"/>
              <a:gd name="connsiteY0" fmla="*/ 0 h 11780"/>
              <a:gd name="connsiteX1" fmla="*/ 24605 w 24605"/>
              <a:gd name="connsiteY1" fmla="*/ 152 h 11780"/>
              <a:gd name="connsiteX2" fmla="*/ 16427 w 24605"/>
              <a:gd name="connsiteY2" fmla="*/ 11459 h 11780"/>
              <a:gd name="connsiteX3" fmla="*/ 11010 w 24605"/>
              <a:gd name="connsiteY3" fmla="*/ 11780 h 11780"/>
              <a:gd name="connsiteX4" fmla="*/ 0 w 24605"/>
              <a:gd name="connsiteY4" fmla="*/ 0 h 11780"/>
              <a:gd name="connsiteX0" fmla="*/ 0 w 24605"/>
              <a:gd name="connsiteY0" fmla="*/ 525 h 11628"/>
              <a:gd name="connsiteX1" fmla="*/ 24605 w 24605"/>
              <a:gd name="connsiteY1" fmla="*/ 0 h 11628"/>
              <a:gd name="connsiteX2" fmla="*/ 16427 w 24605"/>
              <a:gd name="connsiteY2" fmla="*/ 11307 h 11628"/>
              <a:gd name="connsiteX3" fmla="*/ 11010 w 24605"/>
              <a:gd name="connsiteY3" fmla="*/ 11628 h 11628"/>
              <a:gd name="connsiteX4" fmla="*/ 0 w 24605"/>
              <a:gd name="connsiteY4" fmla="*/ 525 h 11628"/>
              <a:gd name="connsiteX0" fmla="*/ 0 w 23639"/>
              <a:gd name="connsiteY0" fmla="*/ 0 h 11103"/>
              <a:gd name="connsiteX1" fmla="*/ 23639 w 23639"/>
              <a:gd name="connsiteY1" fmla="*/ 152 h 11103"/>
              <a:gd name="connsiteX2" fmla="*/ 16427 w 23639"/>
              <a:gd name="connsiteY2" fmla="*/ 10782 h 11103"/>
              <a:gd name="connsiteX3" fmla="*/ 11010 w 23639"/>
              <a:gd name="connsiteY3" fmla="*/ 11103 h 11103"/>
              <a:gd name="connsiteX4" fmla="*/ 0 w 23639"/>
              <a:gd name="connsiteY4" fmla="*/ 0 h 11103"/>
              <a:gd name="connsiteX0" fmla="*/ 0 w 23794"/>
              <a:gd name="connsiteY0" fmla="*/ 0 h 11103"/>
              <a:gd name="connsiteX1" fmla="*/ 23794 w 23794"/>
              <a:gd name="connsiteY1" fmla="*/ 152 h 11103"/>
              <a:gd name="connsiteX2" fmla="*/ 16427 w 23794"/>
              <a:gd name="connsiteY2" fmla="*/ 10782 h 11103"/>
              <a:gd name="connsiteX3" fmla="*/ 11010 w 23794"/>
              <a:gd name="connsiteY3" fmla="*/ 11103 h 11103"/>
              <a:gd name="connsiteX4" fmla="*/ 0 w 23794"/>
              <a:gd name="connsiteY4" fmla="*/ 0 h 11103"/>
              <a:gd name="connsiteX0" fmla="*/ 0 w 23794"/>
              <a:gd name="connsiteY0" fmla="*/ 0 h 11561"/>
              <a:gd name="connsiteX1" fmla="*/ 23794 w 23794"/>
              <a:gd name="connsiteY1" fmla="*/ 152 h 11561"/>
              <a:gd name="connsiteX2" fmla="*/ 15527 w 23794"/>
              <a:gd name="connsiteY2" fmla="*/ 11561 h 11561"/>
              <a:gd name="connsiteX3" fmla="*/ 11010 w 23794"/>
              <a:gd name="connsiteY3" fmla="*/ 11103 h 11561"/>
              <a:gd name="connsiteX4" fmla="*/ 0 w 23794"/>
              <a:gd name="connsiteY4" fmla="*/ 0 h 11561"/>
              <a:gd name="connsiteX0" fmla="*/ 0 w 23794"/>
              <a:gd name="connsiteY0" fmla="*/ 0 h 11561"/>
              <a:gd name="connsiteX1" fmla="*/ 23794 w 23794"/>
              <a:gd name="connsiteY1" fmla="*/ 152 h 11561"/>
              <a:gd name="connsiteX2" fmla="*/ 15527 w 23794"/>
              <a:gd name="connsiteY2" fmla="*/ 11561 h 11561"/>
              <a:gd name="connsiteX3" fmla="*/ 10525 w 23794"/>
              <a:gd name="connsiteY3" fmla="*/ 11103 h 11561"/>
              <a:gd name="connsiteX4" fmla="*/ 0 w 23794"/>
              <a:gd name="connsiteY4" fmla="*/ 0 h 115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794" h="11561">
                <a:moveTo>
                  <a:pt x="0" y="0"/>
                </a:moveTo>
                <a:lnTo>
                  <a:pt x="23794" y="152"/>
                </a:lnTo>
                <a:lnTo>
                  <a:pt x="15527" y="11561"/>
                </a:lnTo>
                <a:lnTo>
                  <a:pt x="10525" y="11103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bg1"/>
              </a:gs>
              <a:gs pos="54000">
                <a:schemeClr val="bg1">
                  <a:lumMod val="75000"/>
                  <a:alpha val="50000"/>
                </a:schemeClr>
              </a:gs>
              <a:gs pos="78000">
                <a:schemeClr val="bg1">
                  <a:lumMod val="65000"/>
                  <a:alpha val="51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9" name="Elipse 218">
            <a:extLst>
              <a:ext uri="{FF2B5EF4-FFF2-40B4-BE49-F238E27FC236}">
                <a16:creationId xmlns:a16="http://schemas.microsoft.com/office/drawing/2014/main" id="{F3AAEA88-C960-4983-AEE7-CBF1DBCB25E2}"/>
              </a:ext>
            </a:extLst>
          </p:cNvPr>
          <p:cNvSpPr/>
          <p:nvPr/>
        </p:nvSpPr>
        <p:spPr>
          <a:xfrm>
            <a:off x="9729917" y="4441849"/>
            <a:ext cx="126000" cy="126000"/>
          </a:xfrm>
          <a:prstGeom prst="ellipse">
            <a:avLst/>
          </a:prstGeom>
          <a:solidFill>
            <a:srgbClr val="356A92"/>
          </a:solidFill>
          <a:ln w="19050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0" name="CaixaDeTexto 219">
            <a:extLst>
              <a:ext uri="{FF2B5EF4-FFF2-40B4-BE49-F238E27FC236}">
                <a16:creationId xmlns:a16="http://schemas.microsoft.com/office/drawing/2014/main" id="{F5D17A66-EA97-411D-BD4F-7539B11D2350}"/>
              </a:ext>
            </a:extLst>
          </p:cNvPr>
          <p:cNvSpPr txBox="1"/>
          <p:nvPr/>
        </p:nvSpPr>
        <p:spPr>
          <a:xfrm>
            <a:off x="9852394" y="4399469"/>
            <a:ext cx="132173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100" b="1"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Ciclo de Entrega</a:t>
            </a:r>
          </a:p>
        </p:txBody>
      </p:sp>
      <p:sp>
        <p:nvSpPr>
          <p:cNvPr id="221" name="Elipse 220">
            <a:extLst>
              <a:ext uri="{FF2B5EF4-FFF2-40B4-BE49-F238E27FC236}">
                <a16:creationId xmlns:a16="http://schemas.microsoft.com/office/drawing/2014/main" id="{E89E54E6-C529-4435-9167-C7FA2C322C4C}"/>
              </a:ext>
            </a:extLst>
          </p:cNvPr>
          <p:cNvSpPr/>
          <p:nvPr/>
        </p:nvSpPr>
        <p:spPr>
          <a:xfrm>
            <a:off x="9729917" y="4652287"/>
            <a:ext cx="126000" cy="126000"/>
          </a:xfrm>
          <a:prstGeom prst="ellipse">
            <a:avLst/>
          </a:prstGeom>
          <a:solidFill>
            <a:srgbClr val="70AD47"/>
          </a:solidFill>
          <a:ln w="19050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2" name="CaixaDeTexto 221">
            <a:extLst>
              <a:ext uri="{FF2B5EF4-FFF2-40B4-BE49-F238E27FC236}">
                <a16:creationId xmlns:a16="http://schemas.microsoft.com/office/drawing/2014/main" id="{DA65BB45-F28A-4535-940A-3D43672A511D}"/>
              </a:ext>
            </a:extLst>
          </p:cNvPr>
          <p:cNvSpPr txBox="1"/>
          <p:nvPr/>
        </p:nvSpPr>
        <p:spPr>
          <a:xfrm>
            <a:off x="9852394" y="4600382"/>
            <a:ext cx="148774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100" b="1"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Ciclo de Melhoria Contínua</a:t>
            </a:r>
          </a:p>
        </p:txBody>
      </p:sp>
      <p:sp>
        <p:nvSpPr>
          <p:cNvPr id="225" name="Retângulo: Cantos Arredondados 224">
            <a:extLst>
              <a:ext uri="{FF2B5EF4-FFF2-40B4-BE49-F238E27FC236}">
                <a16:creationId xmlns:a16="http://schemas.microsoft.com/office/drawing/2014/main" id="{98ACDA3B-C390-4C95-B209-A90BF48F7018}"/>
              </a:ext>
            </a:extLst>
          </p:cNvPr>
          <p:cNvSpPr/>
          <p:nvPr/>
        </p:nvSpPr>
        <p:spPr>
          <a:xfrm>
            <a:off x="9651127" y="4186669"/>
            <a:ext cx="1713136" cy="675599"/>
          </a:xfrm>
          <a:prstGeom prst="roundRect">
            <a:avLst>
              <a:gd name="adj" fmla="val 9311"/>
            </a:avLst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6" name="Elipse 225">
            <a:extLst>
              <a:ext uri="{FF2B5EF4-FFF2-40B4-BE49-F238E27FC236}">
                <a16:creationId xmlns:a16="http://schemas.microsoft.com/office/drawing/2014/main" id="{AEEE6CD9-08F7-4482-8374-6DA46373D701}"/>
              </a:ext>
            </a:extLst>
          </p:cNvPr>
          <p:cNvSpPr/>
          <p:nvPr/>
        </p:nvSpPr>
        <p:spPr>
          <a:xfrm>
            <a:off x="9729917" y="4240921"/>
            <a:ext cx="126000" cy="126000"/>
          </a:xfrm>
          <a:prstGeom prst="ellipse">
            <a:avLst/>
          </a:prstGeom>
          <a:solidFill>
            <a:srgbClr val="595959"/>
          </a:solidFill>
          <a:ln w="3175">
            <a:solidFill>
              <a:schemeClr val="bg1">
                <a:lumMod val="95000"/>
              </a:scheme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7" name="CaixaDeTexto 226">
            <a:extLst>
              <a:ext uri="{FF2B5EF4-FFF2-40B4-BE49-F238E27FC236}">
                <a16:creationId xmlns:a16="http://schemas.microsoft.com/office/drawing/2014/main" id="{81898604-BCE4-4C14-A904-5A7D63C0761E}"/>
              </a:ext>
            </a:extLst>
          </p:cNvPr>
          <p:cNvSpPr txBox="1"/>
          <p:nvPr/>
        </p:nvSpPr>
        <p:spPr>
          <a:xfrm>
            <a:off x="9852394" y="4198541"/>
            <a:ext cx="171313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100" b="1"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Ciclo de Revisão Estratégica</a:t>
            </a:r>
          </a:p>
        </p:txBody>
      </p:sp>
      <p:sp>
        <p:nvSpPr>
          <p:cNvPr id="228" name="CaixaDeTexto 227">
            <a:extLst>
              <a:ext uri="{FF2B5EF4-FFF2-40B4-BE49-F238E27FC236}">
                <a16:creationId xmlns:a16="http://schemas.microsoft.com/office/drawing/2014/main" id="{57634FEC-6376-45B2-AE11-BAEEEE912961}"/>
              </a:ext>
            </a:extLst>
          </p:cNvPr>
          <p:cNvSpPr txBox="1"/>
          <p:nvPr/>
        </p:nvSpPr>
        <p:spPr>
          <a:xfrm>
            <a:off x="10260392" y="2706788"/>
            <a:ext cx="5400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pt-BR"/>
            </a:defPPr>
            <a:lvl1pPr algn="ctr">
              <a:defRPr sz="950" b="1"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PDCA</a:t>
            </a:r>
          </a:p>
        </p:txBody>
      </p:sp>
      <p:sp>
        <p:nvSpPr>
          <p:cNvPr id="230" name="Elipse 229">
            <a:extLst>
              <a:ext uri="{FF2B5EF4-FFF2-40B4-BE49-F238E27FC236}">
                <a16:creationId xmlns:a16="http://schemas.microsoft.com/office/drawing/2014/main" id="{C52F84A0-F799-4058-A442-B4FE9F13CD67}"/>
              </a:ext>
            </a:extLst>
          </p:cNvPr>
          <p:cNvSpPr/>
          <p:nvPr/>
        </p:nvSpPr>
        <p:spPr>
          <a:xfrm>
            <a:off x="10393797" y="2983222"/>
            <a:ext cx="252000" cy="252000"/>
          </a:xfrm>
          <a:prstGeom prst="ellipse">
            <a:avLst/>
          </a:prstGeom>
          <a:solidFill>
            <a:srgbClr val="70AD47"/>
          </a:solidFill>
          <a:ln w="19050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1" name="Elipse 230">
            <a:extLst>
              <a:ext uri="{FF2B5EF4-FFF2-40B4-BE49-F238E27FC236}">
                <a16:creationId xmlns:a16="http://schemas.microsoft.com/office/drawing/2014/main" id="{F98209C5-EC0C-42BC-A2AD-E54D2A3D3EA0}"/>
              </a:ext>
            </a:extLst>
          </p:cNvPr>
          <p:cNvSpPr/>
          <p:nvPr/>
        </p:nvSpPr>
        <p:spPr>
          <a:xfrm>
            <a:off x="9655624" y="2983222"/>
            <a:ext cx="252000" cy="252000"/>
          </a:xfrm>
          <a:prstGeom prst="ellipse">
            <a:avLst/>
          </a:prstGeom>
          <a:solidFill>
            <a:srgbClr val="356A92"/>
          </a:solidFill>
          <a:ln w="19050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2" name="CaixaDeTexto 231">
            <a:extLst>
              <a:ext uri="{FF2B5EF4-FFF2-40B4-BE49-F238E27FC236}">
                <a16:creationId xmlns:a16="http://schemas.microsoft.com/office/drawing/2014/main" id="{EB3B024A-22C7-4FA1-8CFD-6BF6964852AC}"/>
              </a:ext>
            </a:extLst>
          </p:cNvPr>
          <p:cNvSpPr txBox="1"/>
          <p:nvPr/>
        </p:nvSpPr>
        <p:spPr>
          <a:xfrm>
            <a:off x="1054379" y="2637538"/>
            <a:ext cx="98908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pt-BR"/>
            </a:defPPr>
            <a:lvl1pPr algn="ctr">
              <a:defRPr sz="950" b="1"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Planejament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da Release</a:t>
            </a:r>
          </a:p>
        </p:txBody>
      </p:sp>
      <p:sp>
        <p:nvSpPr>
          <p:cNvPr id="233" name="Seta: para a Direita Listrada 232">
            <a:extLst>
              <a:ext uri="{FF2B5EF4-FFF2-40B4-BE49-F238E27FC236}">
                <a16:creationId xmlns:a16="http://schemas.microsoft.com/office/drawing/2014/main" id="{ECBCA519-A306-4035-A534-D62306F50B51}"/>
              </a:ext>
            </a:extLst>
          </p:cNvPr>
          <p:cNvSpPr/>
          <p:nvPr/>
        </p:nvSpPr>
        <p:spPr>
          <a:xfrm>
            <a:off x="1453416" y="3030220"/>
            <a:ext cx="360000" cy="180000"/>
          </a:xfrm>
          <a:prstGeom prst="stripedRightArrow">
            <a:avLst/>
          </a:prstGeom>
          <a:solidFill>
            <a:srgbClr val="356A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4" name="Elipse 233">
            <a:extLst>
              <a:ext uri="{FF2B5EF4-FFF2-40B4-BE49-F238E27FC236}">
                <a16:creationId xmlns:a16="http://schemas.microsoft.com/office/drawing/2014/main" id="{C289C245-BA43-4AE8-8FFC-013BAC169FF1}"/>
              </a:ext>
            </a:extLst>
          </p:cNvPr>
          <p:cNvSpPr/>
          <p:nvPr/>
        </p:nvSpPr>
        <p:spPr>
          <a:xfrm>
            <a:off x="1396427" y="2992008"/>
            <a:ext cx="252000" cy="252000"/>
          </a:xfrm>
          <a:prstGeom prst="ellipse">
            <a:avLst/>
          </a:prstGeom>
          <a:solidFill>
            <a:srgbClr val="356A92"/>
          </a:solidFill>
          <a:ln w="19050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5" name="Seta: Divisa 234">
            <a:extLst>
              <a:ext uri="{FF2B5EF4-FFF2-40B4-BE49-F238E27FC236}">
                <a16:creationId xmlns:a16="http://schemas.microsoft.com/office/drawing/2014/main" id="{D786B339-F4AB-4E3F-B687-CE2C319E648F}"/>
              </a:ext>
            </a:extLst>
          </p:cNvPr>
          <p:cNvSpPr/>
          <p:nvPr/>
        </p:nvSpPr>
        <p:spPr>
          <a:xfrm>
            <a:off x="1857053" y="2946286"/>
            <a:ext cx="828000" cy="360000"/>
          </a:xfrm>
          <a:prstGeom prst="chevron">
            <a:avLst>
              <a:gd name="adj" fmla="val 22452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Iteração 1</a:t>
            </a:r>
          </a:p>
        </p:txBody>
      </p:sp>
      <p:sp>
        <p:nvSpPr>
          <p:cNvPr id="236" name="CaixaDeTexto 235">
            <a:extLst>
              <a:ext uri="{FF2B5EF4-FFF2-40B4-BE49-F238E27FC236}">
                <a16:creationId xmlns:a16="http://schemas.microsoft.com/office/drawing/2014/main" id="{53A04002-F2BF-45F2-8EEB-66234472E4D6}"/>
              </a:ext>
            </a:extLst>
          </p:cNvPr>
          <p:cNvSpPr txBox="1"/>
          <p:nvPr/>
        </p:nvSpPr>
        <p:spPr>
          <a:xfrm>
            <a:off x="2593845" y="2585739"/>
            <a:ext cx="976290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pt-BR"/>
            </a:defPPr>
            <a:lvl1pPr algn="ctr">
              <a:defRPr sz="900">
                <a:latin typeface="Itau Display Heavy" panose="020B0803020204020204" pitchFamily="34" charset="0"/>
                <a:cs typeface="Itau Display Heavy" panose="020B0803020204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Check</a:t>
            </a:r>
            <a:r>
              <a:rPr kumimoji="0" lang="pt-BR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 in para acompanhamento de </a:t>
            </a:r>
            <a:r>
              <a:rPr kumimoji="0" lang="pt-BR" sz="9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OKRs</a:t>
            </a:r>
            <a:endParaRPr kumimoji="0" lang="pt-BR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tau Display" panose="020B0503020204020204" pitchFamily="34" charset="0"/>
              <a:ea typeface="+mn-ea"/>
              <a:cs typeface="Itau Display" panose="020B0503020204020204" pitchFamily="34" charset="0"/>
            </a:endParaRPr>
          </a:p>
        </p:txBody>
      </p:sp>
      <p:sp>
        <p:nvSpPr>
          <p:cNvPr id="237" name="Seta: para a Direita Listrada 236">
            <a:extLst>
              <a:ext uri="{FF2B5EF4-FFF2-40B4-BE49-F238E27FC236}">
                <a16:creationId xmlns:a16="http://schemas.microsoft.com/office/drawing/2014/main" id="{18AA1A6C-481D-4931-80A3-7F42589A0DAF}"/>
              </a:ext>
            </a:extLst>
          </p:cNvPr>
          <p:cNvSpPr/>
          <p:nvPr/>
        </p:nvSpPr>
        <p:spPr>
          <a:xfrm>
            <a:off x="1445782" y="3045601"/>
            <a:ext cx="207589" cy="175228"/>
          </a:xfrm>
          <a:prstGeom prst="stripedRightArrow">
            <a:avLst/>
          </a:prstGeom>
          <a:solidFill>
            <a:srgbClr val="356A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8" name="Elipse 237">
            <a:extLst>
              <a:ext uri="{FF2B5EF4-FFF2-40B4-BE49-F238E27FC236}">
                <a16:creationId xmlns:a16="http://schemas.microsoft.com/office/drawing/2014/main" id="{FF18EFC8-CC00-4EBB-84B5-89B76BEE6B0D}"/>
              </a:ext>
            </a:extLst>
          </p:cNvPr>
          <p:cNvSpPr/>
          <p:nvPr/>
        </p:nvSpPr>
        <p:spPr>
          <a:xfrm>
            <a:off x="3701091" y="2984119"/>
            <a:ext cx="252000" cy="252000"/>
          </a:xfrm>
          <a:prstGeom prst="ellipse">
            <a:avLst/>
          </a:prstGeom>
          <a:solidFill>
            <a:srgbClr val="70AD47"/>
          </a:solidFill>
          <a:ln w="19050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9" name="Elipse 238">
            <a:extLst>
              <a:ext uri="{FF2B5EF4-FFF2-40B4-BE49-F238E27FC236}">
                <a16:creationId xmlns:a16="http://schemas.microsoft.com/office/drawing/2014/main" id="{A046B242-1E20-4572-8DDC-9A77CAD78755}"/>
              </a:ext>
            </a:extLst>
          </p:cNvPr>
          <p:cNvSpPr/>
          <p:nvPr/>
        </p:nvSpPr>
        <p:spPr>
          <a:xfrm>
            <a:off x="2964872" y="2992008"/>
            <a:ext cx="252000" cy="252000"/>
          </a:xfrm>
          <a:prstGeom prst="ellipse">
            <a:avLst/>
          </a:prstGeom>
          <a:solidFill>
            <a:srgbClr val="356A92"/>
          </a:solidFill>
          <a:ln w="19050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42" name="Picture 12">
            <a:extLst>
              <a:ext uri="{FF2B5EF4-FFF2-40B4-BE49-F238E27FC236}">
                <a16:creationId xmlns:a16="http://schemas.microsoft.com/office/drawing/2014/main" id="{B816C36D-76E6-4DF5-92E8-9A0DED20CE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3358510" y="2983440"/>
            <a:ext cx="325369" cy="325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3" name="CaixaDeTexto 242">
            <a:extLst>
              <a:ext uri="{FF2B5EF4-FFF2-40B4-BE49-F238E27FC236}">
                <a16:creationId xmlns:a16="http://schemas.microsoft.com/office/drawing/2014/main" id="{678FF3C7-7F89-4796-90BC-ECFC80A691B0}"/>
              </a:ext>
            </a:extLst>
          </p:cNvPr>
          <p:cNvSpPr txBox="1"/>
          <p:nvPr/>
        </p:nvSpPr>
        <p:spPr>
          <a:xfrm>
            <a:off x="5600436" y="2706788"/>
            <a:ext cx="98908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pt-BR"/>
            </a:defPPr>
            <a:lvl1pPr algn="ctr">
              <a:defRPr sz="950" b="1"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PDCA</a:t>
            </a:r>
          </a:p>
        </p:txBody>
      </p:sp>
      <p:sp>
        <p:nvSpPr>
          <p:cNvPr id="245" name="Elipse 244">
            <a:extLst>
              <a:ext uri="{FF2B5EF4-FFF2-40B4-BE49-F238E27FC236}">
                <a16:creationId xmlns:a16="http://schemas.microsoft.com/office/drawing/2014/main" id="{B018104E-5BAC-4939-8FC8-EB8ACEFFABD5}"/>
              </a:ext>
            </a:extLst>
          </p:cNvPr>
          <p:cNvSpPr/>
          <p:nvPr/>
        </p:nvSpPr>
        <p:spPr>
          <a:xfrm>
            <a:off x="5954556" y="2985655"/>
            <a:ext cx="252000" cy="252000"/>
          </a:xfrm>
          <a:prstGeom prst="ellipse">
            <a:avLst/>
          </a:prstGeom>
          <a:solidFill>
            <a:srgbClr val="70AD47"/>
          </a:solidFill>
          <a:ln w="19050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6" name="Elipse 245">
            <a:extLst>
              <a:ext uri="{FF2B5EF4-FFF2-40B4-BE49-F238E27FC236}">
                <a16:creationId xmlns:a16="http://schemas.microsoft.com/office/drawing/2014/main" id="{8C8796D6-9FD6-44EE-B459-FB538F64A76F}"/>
              </a:ext>
            </a:extLst>
          </p:cNvPr>
          <p:cNvSpPr/>
          <p:nvPr/>
        </p:nvSpPr>
        <p:spPr>
          <a:xfrm>
            <a:off x="5218337" y="2993544"/>
            <a:ext cx="252000" cy="252000"/>
          </a:xfrm>
          <a:prstGeom prst="ellipse">
            <a:avLst/>
          </a:prstGeom>
          <a:solidFill>
            <a:srgbClr val="356A92"/>
          </a:solidFill>
          <a:ln w="19050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47" name="Picture 12">
            <a:extLst>
              <a:ext uri="{FF2B5EF4-FFF2-40B4-BE49-F238E27FC236}">
                <a16:creationId xmlns:a16="http://schemas.microsoft.com/office/drawing/2014/main" id="{A6C787A2-F7B5-4E9F-BE48-CA7B2533E2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5611975" y="2984976"/>
            <a:ext cx="325369" cy="325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8" name="CaixaDeTexto 247">
            <a:extLst>
              <a:ext uri="{FF2B5EF4-FFF2-40B4-BE49-F238E27FC236}">
                <a16:creationId xmlns:a16="http://schemas.microsoft.com/office/drawing/2014/main" id="{BBE980B0-8B4D-41C1-8964-AEFF062B0954}"/>
              </a:ext>
            </a:extLst>
          </p:cNvPr>
          <p:cNvSpPr txBox="1"/>
          <p:nvPr/>
        </p:nvSpPr>
        <p:spPr>
          <a:xfrm>
            <a:off x="7869170" y="2706788"/>
            <a:ext cx="98908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pt-BR"/>
            </a:defPPr>
            <a:lvl1pPr algn="ctr">
              <a:defRPr sz="950" b="1"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PDCA</a:t>
            </a:r>
          </a:p>
        </p:txBody>
      </p:sp>
      <p:sp>
        <p:nvSpPr>
          <p:cNvPr id="250" name="Elipse 249">
            <a:extLst>
              <a:ext uri="{FF2B5EF4-FFF2-40B4-BE49-F238E27FC236}">
                <a16:creationId xmlns:a16="http://schemas.microsoft.com/office/drawing/2014/main" id="{B1E1D7BD-CF4C-4E79-B7D2-74B594D4098D}"/>
              </a:ext>
            </a:extLst>
          </p:cNvPr>
          <p:cNvSpPr/>
          <p:nvPr/>
        </p:nvSpPr>
        <p:spPr>
          <a:xfrm>
            <a:off x="8223290" y="2988353"/>
            <a:ext cx="252000" cy="252000"/>
          </a:xfrm>
          <a:prstGeom prst="ellipse">
            <a:avLst/>
          </a:prstGeom>
          <a:solidFill>
            <a:srgbClr val="70AD47"/>
          </a:solidFill>
          <a:ln w="19050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1" name="Elipse 250">
            <a:extLst>
              <a:ext uri="{FF2B5EF4-FFF2-40B4-BE49-F238E27FC236}">
                <a16:creationId xmlns:a16="http://schemas.microsoft.com/office/drawing/2014/main" id="{7829A03C-436A-4FD4-ADC0-41D16C2DB7AF}"/>
              </a:ext>
            </a:extLst>
          </p:cNvPr>
          <p:cNvSpPr/>
          <p:nvPr/>
        </p:nvSpPr>
        <p:spPr>
          <a:xfrm>
            <a:off x="7487071" y="2996242"/>
            <a:ext cx="252000" cy="252000"/>
          </a:xfrm>
          <a:prstGeom prst="ellipse">
            <a:avLst/>
          </a:prstGeom>
          <a:solidFill>
            <a:srgbClr val="356A92"/>
          </a:solidFill>
          <a:ln w="19050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52" name="Picture 12">
            <a:extLst>
              <a:ext uri="{FF2B5EF4-FFF2-40B4-BE49-F238E27FC236}">
                <a16:creationId xmlns:a16="http://schemas.microsoft.com/office/drawing/2014/main" id="{8EDF1E2A-CE9E-4166-B9F6-4CCD5D0BE8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7880709" y="2987674"/>
            <a:ext cx="325369" cy="325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3" name="Picture 12">
            <a:extLst>
              <a:ext uri="{FF2B5EF4-FFF2-40B4-BE49-F238E27FC236}">
                <a16:creationId xmlns:a16="http://schemas.microsoft.com/office/drawing/2014/main" id="{283496D6-4BAB-4B15-B8F9-2B6E78C969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10049362" y="2989885"/>
            <a:ext cx="325369" cy="325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55" name="Agrupar 254">
            <a:extLst>
              <a:ext uri="{FF2B5EF4-FFF2-40B4-BE49-F238E27FC236}">
                <a16:creationId xmlns:a16="http://schemas.microsoft.com/office/drawing/2014/main" id="{74064EC1-0D7C-4FCE-9F43-8BC1173992AB}"/>
              </a:ext>
            </a:extLst>
          </p:cNvPr>
          <p:cNvGrpSpPr/>
          <p:nvPr/>
        </p:nvGrpSpPr>
        <p:grpSpPr>
          <a:xfrm>
            <a:off x="3328865" y="1082198"/>
            <a:ext cx="540000" cy="1223879"/>
            <a:chOff x="3849621" y="923784"/>
            <a:chExt cx="540000" cy="1223879"/>
          </a:xfrm>
        </p:grpSpPr>
        <p:sp>
          <p:nvSpPr>
            <p:cNvPr id="256" name="Seta: Divisa 255">
              <a:extLst>
                <a:ext uri="{FF2B5EF4-FFF2-40B4-BE49-F238E27FC236}">
                  <a16:creationId xmlns:a16="http://schemas.microsoft.com/office/drawing/2014/main" id="{50D1EC65-518D-4484-8105-27F4B0CE7DC8}"/>
                </a:ext>
              </a:extLst>
            </p:cNvPr>
            <p:cNvSpPr/>
            <p:nvPr/>
          </p:nvSpPr>
          <p:spPr>
            <a:xfrm>
              <a:off x="4074410" y="1733663"/>
              <a:ext cx="161478" cy="414000"/>
            </a:xfrm>
            <a:prstGeom prst="chevron">
              <a:avLst>
                <a:gd name="adj" fmla="val 55300"/>
              </a:avLst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400" b="1" i="0" u="none" strike="noStrike" kern="1200" cap="none" spc="0" normalizeH="0" baseline="0" noProof="0">
                <a:ln>
                  <a:noFill/>
                </a:ln>
                <a:solidFill>
                  <a:srgbClr val="FF5900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  <a:cs typeface="Itau Display Heavy" panose="020B0803020204020204" pitchFamily="34" charset="0"/>
              </a:endParaRPr>
            </a:p>
          </p:txBody>
        </p:sp>
        <p:sp>
          <p:nvSpPr>
            <p:cNvPr id="257" name="Retângulo: Cantos Arredondados 256">
              <a:extLst>
                <a:ext uri="{FF2B5EF4-FFF2-40B4-BE49-F238E27FC236}">
                  <a16:creationId xmlns:a16="http://schemas.microsoft.com/office/drawing/2014/main" id="{CF5DD818-803F-4A14-8998-D72988626F10}"/>
                </a:ext>
              </a:extLst>
            </p:cNvPr>
            <p:cNvSpPr/>
            <p:nvPr/>
          </p:nvSpPr>
          <p:spPr>
            <a:xfrm rot="5400000">
              <a:off x="3993621" y="779784"/>
              <a:ext cx="252000" cy="540000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Display Heavy" panose="020B0803020204020204" pitchFamily="34" charset="0"/>
                  <a:ea typeface="+mn-ea"/>
                  <a:cs typeface="Itau Display Heavy" panose="020B0803020204020204" pitchFamily="34" charset="0"/>
                </a:rPr>
                <a:t>QBR</a:t>
              </a:r>
            </a:p>
          </p:txBody>
        </p:sp>
        <p:sp>
          <p:nvSpPr>
            <p:cNvPr id="258" name="Seta: para a Direita 257">
              <a:extLst>
                <a:ext uri="{FF2B5EF4-FFF2-40B4-BE49-F238E27FC236}">
                  <a16:creationId xmlns:a16="http://schemas.microsoft.com/office/drawing/2014/main" id="{2CB1E868-8DF5-4F1C-B17F-44B1DB099B38}"/>
                </a:ext>
              </a:extLst>
            </p:cNvPr>
            <p:cNvSpPr/>
            <p:nvPr/>
          </p:nvSpPr>
          <p:spPr>
            <a:xfrm rot="16200000">
              <a:off x="3841841" y="1396141"/>
              <a:ext cx="546081" cy="118800"/>
            </a:xfrm>
            <a:prstGeom prst="rightArrow">
              <a:avLst/>
            </a:prstGeom>
            <a:solidFill>
              <a:srgbClr val="ED7D31"/>
            </a:solidFill>
            <a:ln>
              <a:solidFill>
                <a:srgbClr val="ED7D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59" name="Agrupar 258">
            <a:extLst>
              <a:ext uri="{FF2B5EF4-FFF2-40B4-BE49-F238E27FC236}">
                <a16:creationId xmlns:a16="http://schemas.microsoft.com/office/drawing/2014/main" id="{E0AA7E5B-2417-4978-9CD8-38C9EB6F4ABF}"/>
              </a:ext>
            </a:extLst>
          </p:cNvPr>
          <p:cNvGrpSpPr/>
          <p:nvPr/>
        </p:nvGrpSpPr>
        <p:grpSpPr>
          <a:xfrm>
            <a:off x="5966193" y="1079567"/>
            <a:ext cx="540000" cy="1223879"/>
            <a:chOff x="3849621" y="923784"/>
            <a:chExt cx="540000" cy="1223879"/>
          </a:xfrm>
        </p:grpSpPr>
        <p:sp>
          <p:nvSpPr>
            <p:cNvPr id="260" name="Seta: Divisa 259">
              <a:extLst>
                <a:ext uri="{FF2B5EF4-FFF2-40B4-BE49-F238E27FC236}">
                  <a16:creationId xmlns:a16="http://schemas.microsoft.com/office/drawing/2014/main" id="{3F2C5643-0ED0-4E3C-9876-C8CC3882BCD2}"/>
                </a:ext>
              </a:extLst>
            </p:cNvPr>
            <p:cNvSpPr/>
            <p:nvPr/>
          </p:nvSpPr>
          <p:spPr>
            <a:xfrm>
              <a:off x="4074410" y="1733663"/>
              <a:ext cx="161478" cy="414000"/>
            </a:xfrm>
            <a:prstGeom prst="chevron">
              <a:avLst>
                <a:gd name="adj" fmla="val 55300"/>
              </a:avLst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400" b="1" i="0" u="none" strike="noStrike" kern="1200" cap="none" spc="0" normalizeH="0" baseline="0" noProof="0">
                <a:ln>
                  <a:noFill/>
                </a:ln>
                <a:solidFill>
                  <a:srgbClr val="FF5900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  <a:cs typeface="Itau Display Heavy" panose="020B0803020204020204" pitchFamily="34" charset="0"/>
              </a:endParaRPr>
            </a:p>
          </p:txBody>
        </p:sp>
        <p:sp>
          <p:nvSpPr>
            <p:cNvPr id="261" name="Retângulo: Cantos Arredondados 260">
              <a:extLst>
                <a:ext uri="{FF2B5EF4-FFF2-40B4-BE49-F238E27FC236}">
                  <a16:creationId xmlns:a16="http://schemas.microsoft.com/office/drawing/2014/main" id="{FBD90507-1CBA-446E-A0AE-E56F097C82A8}"/>
                </a:ext>
              </a:extLst>
            </p:cNvPr>
            <p:cNvSpPr/>
            <p:nvPr/>
          </p:nvSpPr>
          <p:spPr>
            <a:xfrm rot="5400000">
              <a:off x="3993621" y="779784"/>
              <a:ext cx="252000" cy="540000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Display Heavy" panose="020B0803020204020204" pitchFamily="34" charset="0"/>
                  <a:ea typeface="+mn-ea"/>
                  <a:cs typeface="Itau Display Heavy" panose="020B0803020204020204" pitchFamily="34" charset="0"/>
                </a:rPr>
                <a:t>QBR</a:t>
              </a:r>
            </a:p>
          </p:txBody>
        </p:sp>
        <p:sp>
          <p:nvSpPr>
            <p:cNvPr id="262" name="Seta: para a Direita 261">
              <a:extLst>
                <a:ext uri="{FF2B5EF4-FFF2-40B4-BE49-F238E27FC236}">
                  <a16:creationId xmlns:a16="http://schemas.microsoft.com/office/drawing/2014/main" id="{2CEE18AB-2B57-4953-8AEB-AEB1FCCF5E8C}"/>
                </a:ext>
              </a:extLst>
            </p:cNvPr>
            <p:cNvSpPr/>
            <p:nvPr/>
          </p:nvSpPr>
          <p:spPr>
            <a:xfrm rot="16200000">
              <a:off x="3834467" y="1396141"/>
              <a:ext cx="546081" cy="118800"/>
            </a:xfrm>
            <a:prstGeom prst="rightArrow">
              <a:avLst/>
            </a:prstGeom>
            <a:solidFill>
              <a:srgbClr val="ED7D31"/>
            </a:solidFill>
            <a:ln>
              <a:solidFill>
                <a:srgbClr val="ED7D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63" name="Agrupar 262">
            <a:extLst>
              <a:ext uri="{FF2B5EF4-FFF2-40B4-BE49-F238E27FC236}">
                <a16:creationId xmlns:a16="http://schemas.microsoft.com/office/drawing/2014/main" id="{B5D5F937-C789-48E6-B317-376039C489E0}"/>
              </a:ext>
            </a:extLst>
          </p:cNvPr>
          <p:cNvGrpSpPr/>
          <p:nvPr/>
        </p:nvGrpSpPr>
        <p:grpSpPr>
          <a:xfrm>
            <a:off x="8588773" y="1085392"/>
            <a:ext cx="540000" cy="1223879"/>
            <a:chOff x="3849621" y="923784"/>
            <a:chExt cx="540000" cy="1223879"/>
          </a:xfrm>
        </p:grpSpPr>
        <p:sp>
          <p:nvSpPr>
            <p:cNvPr id="264" name="Seta: Divisa 263">
              <a:extLst>
                <a:ext uri="{FF2B5EF4-FFF2-40B4-BE49-F238E27FC236}">
                  <a16:creationId xmlns:a16="http://schemas.microsoft.com/office/drawing/2014/main" id="{0766C2BE-BCB4-4887-A93D-1739844A4B78}"/>
                </a:ext>
              </a:extLst>
            </p:cNvPr>
            <p:cNvSpPr/>
            <p:nvPr/>
          </p:nvSpPr>
          <p:spPr>
            <a:xfrm>
              <a:off x="4074410" y="1733663"/>
              <a:ext cx="161478" cy="414000"/>
            </a:xfrm>
            <a:prstGeom prst="chevron">
              <a:avLst>
                <a:gd name="adj" fmla="val 55300"/>
              </a:avLst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400" b="1" i="0" u="none" strike="noStrike" kern="1200" cap="none" spc="0" normalizeH="0" baseline="0" noProof="0">
                <a:ln>
                  <a:noFill/>
                </a:ln>
                <a:solidFill>
                  <a:srgbClr val="FF5900"/>
                </a:solidFill>
                <a:effectLst/>
                <a:uLnTx/>
                <a:uFillTx/>
                <a:latin typeface="Itau Display Heavy" panose="020B0803020204020204" pitchFamily="34" charset="0"/>
                <a:ea typeface="+mn-ea"/>
                <a:cs typeface="Itau Display Heavy" panose="020B0803020204020204" pitchFamily="34" charset="0"/>
              </a:endParaRPr>
            </a:p>
          </p:txBody>
        </p:sp>
        <p:sp>
          <p:nvSpPr>
            <p:cNvPr id="265" name="Retângulo: Cantos Arredondados 264">
              <a:extLst>
                <a:ext uri="{FF2B5EF4-FFF2-40B4-BE49-F238E27FC236}">
                  <a16:creationId xmlns:a16="http://schemas.microsoft.com/office/drawing/2014/main" id="{6A2D6956-F152-4F60-87B8-0B564CDA1E3B}"/>
                </a:ext>
              </a:extLst>
            </p:cNvPr>
            <p:cNvSpPr/>
            <p:nvPr/>
          </p:nvSpPr>
          <p:spPr>
            <a:xfrm rot="5400000">
              <a:off x="3993621" y="779784"/>
              <a:ext cx="252000" cy="540000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tau Display Heavy" panose="020B0803020204020204" pitchFamily="34" charset="0"/>
                  <a:ea typeface="+mn-ea"/>
                  <a:cs typeface="Itau Display Heavy" panose="020B0803020204020204" pitchFamily="34" charset="0"/>
                </a:rPr>
                <a:t>QBR</a:t>
              </a:r>
            </a:p>
          </p:txBody>
        </p:sp>
        <p:sp>
          <p:nvSpPr>
            <p:cNvPr id="266" name="Seta: para a Direita 265">
              <a:extLst>
                <a:ext uri="{FF2B5EF4-FFF2-40B4-BE49-F238E27FC236}">
                  <a16:creationId xmlns:a16="http://schemas.microsoft.com/office/drawing/2014/main" id="{116349CA-45EA-4E26-8460-D745AD44146E}"/>
                </a:ext>
              </a:extLst>
            </p:cNvPr>
            <p:cNvSpPr/>
            <p:nvPr/>
          </p:nvSpPr>
          <p:spPr>
            <a:xfrm rot="16200000">
              <a:off x="3834467" y="1396141"/>
              <a:ext cx="546081" cy="118800"/>
            </a:xfrm>
            <a:prstGeom prst="rightArrow">
              <a:avLst/>
            </a:prstGeom>
            <a:solidFill>
              <a:srgbClr val="ED7D31"/>
            </a:solidFill>
            <a:ln>
              <a:solidFill>
                <a:srgbClr val="ED7D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97" name="CaixaDeTexto 96">
            <a:extLst>
              <a:ext uri="{FF2B5EF4-FFF2-40B4-BE49-F238E27FC236}">
                <a16:creationId xmlns:a16="http://schemas.microsoft.com/office/drawing/2014/main" id="{5C0B0F0B-11A7-4D09-80C1-D82910B0E0DB}"/>
              </a:ext>
            </a:extLst>
          </p:cNvPr>
          <p:cNvSpPr txBox="1"/>
          <p:nvPr/>
        </p:nvSpPr>
        <p:spPr>
          <a:xfrm>
            <a:off x="4827953" y="2585739"/>
            <a:ext cx="976290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pt-BR"/>
            </a:defPPr>
            <a:lvl1pPr algn="ctr">
              <a:defRPr sz="900">
                <a:latin typeface="Itau Display Heavy" panose="020B0803020204020204" pitchFamily="34" charset="0"/>
                <a:cs typeface="Itau Display Heavy" panose="020B0803020204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Check</a:t>
            </a:r>
            <a:r>
              <a:rPr kumimoji="0" lang="pt-BR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 in para acompanhamento de </a:t>
            </a:r>
            <a:r>
              <a:rPr kumimoji="0" lang="pt-BR" sz="9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OKRs</a:t>
            </a:r>
            <a:endParaRPr kumimoji="0" lang="pt-BR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tau Display" panose="020B0503020204020204" pitchFamily="34" charset="0"/>
              <a:ea typeface="+mn-ea"/>
              <a:cs typeface="Itau Display" panose="020B0503020204020204" pitchFamily="34" charset="0"/>
            </a:endParaRPr>
          </a:p>
        </p:txBody>
      </p:sp>
      <p:sp>
        <p:nvSpPr>
          <p:cNvPr id="98" name="CaixaDeTexto 97">
            <a:extLst>
              <a:ext uri="{FF2B5EF4-FFF2-40B4-BE49-F238E27FC236}">
                <a16:creationId xmlns:a16="http://schemas.microsoft.com/office/drawing/2014/main" id="{AF0B04C1-2A3F-4AA5-9C99-6AF5B6ACEC83}"/>
              </a:ext>
            </a:extLst>
          </p:cNvPr>
          <p:cNvSpPr txBox="1"/>
          <p:nvPr/>
        </p:nvSpPr>
        <p:spPr>
          <a:xfrm>
            <a:off x="7130540" y="2585739"/>
            <a:ext cx="976290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pt-BR"/>
            </a:defPPr>
            <a:lvl1pPr algn="ctr">
              <a:defRPr sz="900">
                <a:latin typeface="Itau Display Heavy" panose="020B0803020204020204" pitchFamily="34" charset="0"/>
                <a:cs typeface="Itau Display Heavy" panose="020B0803020204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Check</a:t>
            </a:r>
            <a:r>
              <a:rPr kumimoji="0" lang="pt-BR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 in para acompanhamento de </a:t>
            </a:r>
            <a:r>
              <a:rPr kumimoji="0" lang="pt-BR" sz="9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OKRs</a:t>
            </a:r>
            <a:endParaRPr kumimoji="0" lang="pt-BR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tau Display" panose="020B0503020204020204" pitchFamily="34" charset="0"/>
              <a:ea typeface="+mn-ea"/>
              <a:cs typeface="Itau Display" panose="020B0503020204020204" pitchFamily="34" charset="0"/>
            </a:endParaRPr>
          </a:p>
        </p:txBody>
      </p:sp>
      <p:sp>
        <p:nvSpPr>
          <p:cNvPr id="99" name="CaixaDeTexto 98">
            <a:extLst>
              <a:ext uri="{FF2B5EF4-FFF2-40B4-BE49-F238E27FC236}">
                <a16:creationId xmlns:a16="http://schemas.microsoft.com/office/drawing/2014/main" id="{5B525581-7C39-40F8-9E62-68EC0D37398B}"/>
              </a:ext>
            </a:extLst>
          </p:cNvPr>
          <p:cNvSpPr txBox="1"/>
          <p:nvPr/>
        </p:nvSpPr>
        <p:spPr>
          <a:xfrm>
            <a:off x="9284102" y="2585739"/>
            <a:ext cx="976290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pt-BR"/>
            </a:defPPr>
            <a:lvl1pPr algn="ctr">
              <a:defRPr sz="900">
                <a:latin typeface="Itau Display Heavy" panose="020B0803020204020204" pitchFamily="34" charset="0"/>
                <a:cs typeface="Itau Display Heavy" panose="020B0803020204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Check</a:t>
            </a:r>
            <a:r>
              <a:rPr kumimoji="0" lang="pt-BR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 in para acompanhamento de </a:t>
            </a:r>
            <a:r>
              <a:rPr kumimoji="0" lang="pt-BR" sz="9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OKRs</a:t>
            </a:r>
            <a:endParaRPr kumimoji="0" lang="pt-BR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tau Display" panose="020B0503020204020204" pitchFamily="34" charset="0"/>
              <a:ea typeface="+mn-ea"/>
              <a:cs typeface="Itau Display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800270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181;p7">
            <a:extLst>
              <a:ext uri="{FF2B5EF4-FFF2-40B4-BE49-F238E27FC236}">
                <a16:creationId xmlns:a16="http://schemas.microsoft.com/office/drawing/2014/main" id="{9F6B5F56-6FF5-222E-2A21-8D2B5B20092F}"/>
              </a:ext>
            </a:extLst>
          </p:cNvPr>
          <p:cNvSpPr txBox="1"/>
          <p:nvPr/>
        </p:nvSpPr>
        <p:spPr>
          <a:xfrm>
            <a:off x="482600" y="310634"/>
            <a:ext cx="6096000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rgbClr val="8F53FF"/>
                </a:solidFill>
                <a:latin typeface="Poppins"/>
                <a:ea typeface="Poppins"/>
                <a:cs typeface="Poppins"/>
                <a:sym typeface="Poppins"/>
              </a:rPr>
              <a:t>Jornada de Aprendizagem...</a:t>
            </a:r>
            <a:endParaRPr sz="24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2" name="Conector reto 1">
            <a:extLst>
              <a:ext uri="{FF2B5EF4-FFF2-40B4-BE49-F238E27FC236}">
                <a16:creationId xmlns:a16="http://schemas.microsoft.com/office/drawing/2014/main" id="{0B3EFC3B-50CC-3C13-0D3B-F0F8B7DE6F2E}"/>
              </a:ext>
            </a:extLst>
          </p:cNvPr>
          <p:cNvCxnSpPr>
            <a:cxnSpLocks/>
          </p:cNvCxnSpPr>
          <p:nvPr/>
        </p:nvCxnSpPr>
        <p:spPr>
          <a:xfrm rot="16200000">
            <a:off x="2922344" y="2049649"/>
            <a:ext cx="288000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" name="Conector reto 2">
            <a:extLst>
              <a:ext uri="{FF2B5EF4-FFF2-40B4-BE49-F238E27FC236}">
                <a16:creationId xmlns:a16="http://schemas.microsoft.com/office/drawing/2014/main" id="{8293FD45-2EAB-2A37-DA88-7BCFE0D8B0F7}"/>
              </a:ext>
            </a:extLst>
          </p:cNvPr>
          <p:cNvCxnSpPr>
            <a:cxnSpLocks/>
          </p:cNvCxnSpPr>
          <p:nvPr/>
        </p:nvCxnSpPr>
        <p:spPr>
          <a:xfrm rot="16200000">
            <a:off x="8938747" y="2061025"/>
            <a:ext cx="288000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" name="Espaço Reservado para Número de Slide 2">
            <a:extLst>
              <a:ext uri="{FF2B5EF4-FFF2-40B4-BE49-F238E27FC236}">
                <a16:creationId xmlns:a16="http://schemas.microsoft.com/office/drawing/2014/main" id="{516FF10A-B9EF-0677-57D3-6EF2BD149A6C}"/>
              </a:ext>
            </a:extLst>
          </p:cNvPr>
          <p:cNvSpPr txBox="1">
            <a:spLocks/>
          </p:cNvSpPr>
          <p:nvPr/>
        </p:nvSpPr>
        <p:spPr>
          <a:xfrm>
            <a:off x="5781040" y="6434910"/>
            <a:ext cx="629920" cy="355672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36E348F-B942-403B-B49B-B4FE521F49C5}" type="slidenum">
              <a:rPr lang="pt-BR" smtClean="0"/>
              <a:pPr/>
              <a:t>47</a:t>
            </a:fld>
            <a:endParaRPr lang="pt-BR"/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FCB73BA6-0FBF-779E-229D-C9F52F10D681}"/>
              </a:ext>
            </a:extLst>
          </p:cNvPr>
          <p:cNvSpPr txBox="1"/>
          <p:nvPr/>
        </p:nvSpPr>
        <p:spPr>
          <a:xfrm>
            <a:off x="115513" y="1609579"/>
            <a:ext cx="553998" cy="4122626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pt-BR" sz="2400">
                <a:solidFill>
                  <a:srgbClr val="FF690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tau Display" panose="020B0503020204020204" pitchFamily="34" charset="0"/>
                <a:cs typeface="Itau Display" panose="020B0503020204020204" pitchFamily="34" charset="0"/>
              </a:rPr>
              <a:t>Ecossistema iox</a:t>
            </a:r>
          </a:p>
        </p:txBody>
      </p:sp>
      <p:pic>
        <p:nvPicPr>
          <p:cNvPr id="8" name="Picture 4">
            <a:extLst>
              <a:ext uri="{FF2B5EF4-FFF2-40B4-BE49-F238E27FC236}">
                <a16:creationId xmlns:a16="http://schemas.microsoft.com/office/drawing/2014/main" id="{4ED73269-AC79-B24D-E2CC-AA28994144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6737" y="5938066"/>
            <a:ext cx="468000" cy="4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m 8" descr="Diagrama&#10;&#10;Descrição gerada automaticamente">
            <a:extLst>
              <a:ext uri="{FF2B5EF4-FFF2-40B4-BE49-F238E27FC236}">
                <a16:creationId xmlns:a16="http://schemas.microsoft.com/office/drawing/2014/main" id="{CC1069F3-5CE2-A7B7-A0A7-AF51B55600E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8619" y="5937897"/>
            <a:ext cx="468000" cy="468000"/>
          </a:xfrm>
          <a:prstGeom prst="rect">
            <a:avLst/>
          </a:prstGeom>
        </p:spPr>
      </p:pic>
      <p:pic>
        <p:nvPicPr>
          <p:cNvPr id="10" name="Imagem 9" descr="Uma imagem contendo objeto, relógio, placa&#10;&#10;Descrição gerada automaticamente">
            <a:extLst>
              <a:ext uri="{FF2B5EF4-FFF2-40B4-BE49-F238E27FC236}">
                <a16:creationId xmlns:a16="http://schemas.microsoft.com/office/drawing/2014/main" id="{BAF4EF52-5D01-D57C-CB12-42D928D1BE5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2678" y="5938066"/>
            <a:ext cx="468000" cy="468000"/>
          </a:xfrm>
          <a:prstGeom prst="rect">
            <a:avLst/>
          </a:prstGeom>
        </p:spPr>
      </p:pic>
      <p:sp>
        <p:nvSpPr>
          <p:cNvPr id="11" name="Retângulo: Cantos Arredondados 10">
            <a:extLst>
              <a:ext uri="{FF2B5EF4-FFF2-40B4-BE49-F238E27FC236}">
                <a16:creationId xmlns:a16="http://schemas.microsoft.com/office/drawing/2014/main" id="{8F342679-AB37-65F1-DE22-BEBB48A968E3}"/>
              </a:ext>
            </a:extLst>
          </p:cNvPr>
          <p:cNvSpPr/>
          <p:nvPr/>
        </p:nvSpPr>
        <p:spPr>
          <a:xfrm>
            <a:off x="704234" y="5512262"/>
            <a:ext cx="10744917" cy="355672"/>
          </a:xfrm>
          <a:prstGeom prst="roundRect">
            <a:avLst/>
          </a:prstGeom>
          <a:gradFill flip="none" rotWithShape="1">
            <a:gsLst>
              <a:gs pos="0">
                <a:srgbClr val="BD95FF">
                  <a:tint val="66000"/>
                  <a:satMod val="160000"/>
                </a:srgbClr>
              </a:gs>
              <a:gs pos="81000">
                <a:srgbClr val="BD95FF">
                  <a:tint val="44500"/>
                  <a:satMod val="160000"/>
                </a:srgbClr>
              </a:gs>
              <a:gs pos="100000">
                <a:srgbClr val="BD95FF">
                  <a:tint val="23500"/>
                  <a:satMod val="160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tau Display XBold" panose="020B0803020204020204" pitchFamily="34" charset="0"/>
                <a:cs typeface="Itau Display XBold" panose="020B0803020204020204" pitchFamily="34" charset="0"/>
              </a:rPr>
              <a:t>Badges – Jornada de Reconhecimento</a:t>
            </a:r>
          </a:p>
        </p:txBody>
      </p:sp>
      <p:sp>
        <p:nvSpPr>
          <p:cNvPr id="12" name="Retângulo: Cantos Arredondados 11">
            <a:extLst>
              <a:ext uri="{FF2B5EF4-FFF2-40B4-BE49-F238E27FC236}">
                <a16:creationId xmlns:a16="http://schemas.microsoft.com/office/drawing/2014/main" id="{93E4A889-D09E-8D2E-5535-C831873EAFDF}"/>
              </a:ext>
            </a:extLst>
          </p:cNvPr>
          <p:cNvSpPr/>
          <p:nvPr/>
        </p:nvSpPr>
        <p:spPr>
          <a:xfrm>
            <a:off x="704234" y="5089642"/>
            <a:ext cx="10744917" cy="355672"/>
          </a:xfrm>
          <a:prstGeom prst="round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tau Display XBold" panose="020B0803020204020204" pitchFamily="34" charset="0"/>
                <a:cs typeface="Itau Display XBold" panose="020B0803020204020204" pitchFamily="34" charset="0"/>
              </a:rPr>
              <a:t>Liderança</a:t>
            </a:r>
          </a:p>
        </p:txBody>
      </p:sp>
      <p:sp>
        <p:nvSpPr>
          <p:cNvPr id="13" name="Retângulo: Cantos Arredondados 12">
            <a:extLst>
              <a:ext uri="{FF2B5EF4-FFF2-40B4-BE49-F238E27FC236}">
                <a16:creationId xmlns:a16="http://schemas.microsoft.com/office/drawing/2014/main" id="{3FDDE29E-F450-B7C7-D0D0-960F2295F6D8}"/>
              </a:ext>
            </a:extLst>
          </p:cNvPr>
          <p:cNvSpPr/>
          <p:nvPr/>
        </p:nvSpPr>
        <p:spPr>
          <a:xfrm>
            <a:off x="740298" y="1215558"/>
            <a:ext cx="10744917" cy="355672"/>
          </a:xfrm>
          <a:prstGeom prst="roundRect">
            <a:avLst/>
          </a:prstGeom>
          <a:gradFill flip="none" rotWithShape="1">
            <a:gsLst>
              <a:gs pos="0">
                <a:srgbClr val="BD95FF">
                  <a:tint val="66000"/>
                  <a:satMod val="160000"/>
                </a:srgbClr>
              </a:gs>
              <a:gs pos="81000">
                <a:srgbClr val="BD95FF">
                  <a:tint val="44500"/>
                  <a:satMod val="160000"/>
                </a:srgbClr>
              </a:gs>
              <a:gs pos="100000">
                <a:srgbClr val="BD95FF">
                  <a:tint val="23500"/>
                  <a:satMod val="160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tau Display XBold" panose="020B0803020204020204" pitchFamily="34" charset="0"/>
                <a:cs typeface="Itau Display XBold" panose="020B0803020204020204" pitchFamily="34" charset="0"/>
              </a:rPr>
              <a:t>Plataforma </a:t>
            </a:r>
            <a:r>
              <a:rPr lang="pt-BR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tau Display XBold" panose="020B0803020204020204" pitchFamily="34" charset="0"/>
                <a:cs typeface="Itau Display XBold" panose="020B0803020204020204" pitchFamily="34" charset="0"/>
              </a:rPr>
              <a:t>iox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tau Display XBold" panose="020B0803020204020204" pitchFamily="34" charset="0"/>
                <a:cs typeface="Itau Display XBold" panose="020B0803020204020204" pitchFamily="34" charset="0"/>
              </a:rPr>
              <a:t> (</a:t>
            </a:r>
            <a:r>
              <a:rPr lang="pt-BR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tau Display XBold" panose="020B0803020204020204" pitchFamily="34" charset="0"/>
                <a:cs typeface="Itau Display XBold" panose="020B0803020204020204" pitchFamily="34" charset="0"/>
              </a:rPr>
              <a:t>Degree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tau Display XBold" panose="020B0803020204020204" pitchFamily="34" charset="0"/>
                <a:cs typeface="Itau Display XBold" panose="020B0803020204020204" pitchFamily="34" charset="0"/>
              </a:rPr>
              <a:t>)</a:t>
            </a:r>
          </a:p>
        </p:txBody>
      </p:sp>
      <p:grpSp>
        <p:nvGrpSpPr>
          <p:cNvPr id="14" name="Agrupar 13">
            <a:extLst>
              <a:ext uri="{FF2B5EF4-FFF2-40B4-BE49-F238E27FC236}">
                <a16:creationId xmlns:a16="http://schemas.microsoft.com/office/drawing/2014/main" id="{51A6316B-C91B-B469-286E-5A737136B993}"/>
              </a:ext>
            </a:extLst>
          </p:cNvPr>
          <p:cNvGrpSpPr/>
          <p:nvPr/>
        </p:nvGrpSpPr>
        <p:grpSpPr>
          <a:xfrm>
            <a:off x="694988" y="2026514"/>
            <a:ext cx="4941561" cy="3013759"/>
            <a:chOff x="774390" y="1701785"/>
            <a:chExt cx="5469590" cy="3245382"/>
          </a:xfrm>
        </p:grpSpPr>
        <p:graphicFrame>
          <p:nvGraphicFramePr>
            <p:cNvPr id="15" name="Diagrama 14">
              <a:extLst>
                <a:ext uri="{FF2B5EF4-FFF2-40B4-BE49-F238E27FC236}">
                  <a16:creationId xmlns:a16="http://schemas.microsoft.com/office/drawing/2014/main" id="{74842D42-DCB8-F486-F198-27C2F785C2B5}"/>
                </a:ext>
              </a:extLst>
            </p:cNvPr>
            <p:cNvGraphicFramePr/>
            <p:nvPr/>
          </p:nvGraphicFramePr>
          <p:xfrm>
            <a:off x="780082" y="1997917"/>
            <a:ext cx="5156261" cy="294925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5" r:lo="rId6" r:qs="rId7" r:cs="rId8"/>
            </a:graphicData>
          </a:graphic>
        </p:graphicFrame>
        <p:sp>
          <p:nvSpPr>
            <p:cNvPr id="16" name="Retângulo: Cantos Arredondados 15">
              <a:extLst>
                <a:ext uri="{FF2B5EF4-FFF2-40B4-BE49-F238E27FC236}">
                  <a16:creationId xmlns:a16="http://schemas.microsoft.com/office/drawing/2014/main" id="{0B28D510-CABA-8688-3242-A71F664A3DD1}"/>
                </a:ext>
              </a:extLst>
            </p:cNvPr>
            <p:cNvSpPr/>
            <p:nvPr/>
          </p:nvSpPr>
          <p:spPr>
            <a:xfrm>
              <a:off x="774390" y="1701785"/>
              <a:ext cx="5161954" cy="252000"/>
            </a:xfrm>
            <a:prstGeom prst="roundRect">
              <a:avLst/>
            </a:prstGeom>
            <a:gradFill flip="none" rotWithShape="1">
              <a:gsLst>
                <a:gs pos="0">
                  <a:srgbClr val="BD95FF">
                    <a:tint val="66000"/>
                    <a:satMod val="160000"/>
                  </a:srgbClr>
                </a:gs>
                <a:gs pos="81000">
                  <a:srgbClr val="BD95FF">
                    <a:tint val="44500"/>
                    <a:satMod val="160000"/>
                  </a:srgbClr>
                </a:gs>
                <a:gs pos="100000">
                  <a:srgbClr val="BD95FF">
                    <a:tint val="23500"/>
                    <a:satMod val="16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60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tau Display XBold" panose="020B0803020204020204" pitchFamily="34" charset="0"/>
                  <a:cs typeface="Itau Display XBold" panose="020B0803020204020204" pitchFamily="34" charset="0"/>
                </a:rPr>
                <a:t>Soluções </a:t>
              </a:r>
              <a:r>
                <a:rPr lang="pt-BR" sz="160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tau Display XBold" panose="020B0803020204020204" pitchFamily="34" charset="0"/>
                  <a:cs typeface="Itau Display XBold" panose="020B0803020204020204" pitchFamily="34" charset="0"/>
                </a:rPr>
                <a:t>cross</a:t>
              </a:r>
              <a:endParaRPr lang="pt-BR" sz="16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tau Display XBold" panose="020B0803020204020204" pitchFamily="34" charset="0"/>
                <a:cs typeface="Itau Display XBold" panose="020B0803020204020204" pitchFamily="34" charset="0"/>
              </a:endParaRPr>
            </a:p>
          </p:txBody>
        </p:sp>
        <p:pic>
          <p:nvPicPr>
            <p:cNvPr id="17" name="Picture 2" descr="Equipe Vetor ícone, ícones Da Equipe, Grupo, Liderança Imagem PNG e Vetor  Para Download Gratuito | Conjunto de ícones, Icones redes sociais, Vetores">
              <a:extLst>
                <a:ext uri="{FF2B5EF4-FFF2-40B4-BE49-F238E27FC236}">
                  <a16:creationId xmlns:a16="http://schemas.microsoft.com/office/drawing/2014/main" id="{303FA924-DD95-ADBF-56DC-962CF4A7263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screen">
              <a:clrChange>
                <a:clrFrom>
                  <a:srgbClr val="F5F5F5"/>
                </a:clrFrom>
                <a:clrTo>
                  <a:srgbClr val="F5F5F5">
                    <a:alpha val="0"/>
                  </a:srgbClr>
                </a:clrTo>
              </a:clrChange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13707" y="4117440"/>
              <a:ext cx="396000" cy="39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2" descr="Equipe Vetor ícone, ícones Da Equipe, Grupo, Liderança Imagem PNG e Vetor  Para Download Gratuito | Conjunto de ícones, Icones redes sociais, Vetores">
              <a:extLst>
                <a:ext uri="{FF2B5EF4-FFF2-40B4-BE49-F238E27FC236}">
                  <a16:creationId xmlns:a16="http://schemas.microsoft.com/office/drawing/2014/main" id="{FFFD1086-CA59-AF47-A69B-C19C900FD23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screen">
              <a:clrChange>
                <a:clrFrom>
                  <a:srgbClr val="F5F5F5"/>
                </a:clrFrom>
                <a:clrTo>
                  <a:srgbClr val="F5F5F5">
                    <a:alpha val="0"/>
                  </a:srgbClr>
                </a:clrTo>
              </a:clrChange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87305" y="3683713"/>
              <a:ext cx="396000" cy="39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2" descr="Equipe Vetor ícone, ícones Da Equipe, Grupo, Liderança Imagem PNG e Vetor  Para Download Gratuito | Conjunto de ícones, Icones redes sociais, Vetores">
              <a:extLst>
                <a:ext uri="{FF2B5EF4-FFF2-40B4-BE49-F238E27FC236}">
                  <a16:creationId xmlns:a16="http://schemas.microsoft.com/office/drawing/2014/main" id="{8FA51D41-4183-729A-417D-4BFAA26E99C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screen">
              <a:clrChange>
                <a:clrFrom>
                  <a:srgbClr val="F5F5F5"/>
                </a:clrFrom>
                <a:clrTo>
                  <a:srgbClr val="F5F5F5">
                    <a:alpha val="0"/>
                  </a:srgbClr>
                </a:clrTo>
              </a:clrChange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45468" y="3266616"/>
              <a:ext cx="396000" cy="39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2" descr="Equipe Vetor ícone, ícones Da Equipe, Grupo, Liderança Imagem PNG e Vetor  Para Download Gratuito | Conjunto de ícones, Icones redes sociais, Vetores">
              <a:extLst>
                <a:ext uri="{FF2B5EF4-FFF2-40B4-BE49-F238E27FC236}">
                  <a16:creationId xmlns:a16="http://schemas.microsoft.com/office/drawing/2014/main" id="{8F6DDD44-BAD5-4B23-8739-E1459BB41BF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screen">
              <a:clrChange>
                <a:clrFrom>
                  <a:srgbClr val="F5F5F5"/>
                </a:clrFrom>
                <a:clrTo>
                  <a:srgbClr val="F5F5F5">
                    <a:alpha val="0"/>
                  </a:srgbClr>
                </a:clrTo>
              </a:clrChange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05210" y="2850778"/>
              <a:ext cx="396000" cy="39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2" descr="Equipe Vetor ícone, ícones Da Equipe, Grupo, Liderança Imagem PNG e Vetor  Para Download Gratuito | Conjunto de ícones, Icones redes sociais, Vetores">
              <a:extLst>
                <a:ext uri="{FF2B5EF4-FFF2-40B4-BE49-F238E27FC236}">
                  <a16:creationId xmlns:a16="http://schemas.microsoft.com/office/drawing/2014/main" id="{98856215-2072-D14A-68E9-A42FAA628A1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screen">
              <a:clrChange>
                <a:clrFrom>
                  <a:srgbClr val="F5F5F5"/>
                </a:clrFrom>
                <a:clrTo>
                  <a:srgbClr val="F5F5F5">
                    <a:alpha val="0"/>
                  </a:srgbClr>
                </a:clrTo>
              </a:clrChange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82160" y="2420128"/>
              <a:ext cx="396000" cy="39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2" descr="Equipe Vetor ícone, ícones Da Equipe, Grupo, Liderança Imagem PNG e Vetor  Para Download Gratuito | Conjunto de ícones, Icones redes sociais, Vetores">
              <a:extLst>
                <a:ext uri="{FF2B5EF4-FFF2-40B4-BE49-F238E27FC236}">
                  <a16:creationId xmlns:a16="http://schemas.microsoft.com/office/drawing/2014/main" id="{3370865E-1D59-2A3A-1009-CED9DA4D163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screen">
              <a:clrChange>
                <a:clrFrom>
                  <a:srgbClr val="F5F5F5"/>
                </a:clrFrom>
                <a:clrTo>
                  <a:srgbClr val="F5F5F5">
                    <a:alpha val="0"/>
                  </a:srgbClr>
                </a:clrTo>
              </a:clrChange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47980" y="2008528"/>
              <a:ext cx="396000" cy="39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" name="Agrupar 22">
            <a:extLst>
              <a:ext uri="{FF2B5EF4-FFF2-40B4-BE49-F238E27FC236}">
                <a16:creationId xmlns:a16="http://schemas.microsoft.com/office/drawing/2014/main" id="{002B7DC7-2963-B542-DB21-77945E6A2CB9}"/>
              </a:ext>
            </a:extLst>
          </p:cNvPr>
          <p:cNvGrpSpPr/>
          <p:nvPr/>
        </p:nvGrpSpPr>
        <p:grpSpPr>
          <a:xfrm>
            <a:off x="6079165" y="2032740"/>
            <a:ext cx="5817142" cy="2325098"/>
            <a:chOff x="6060743" y="1662780"/>
            <a:chExt cx="5817142" cy="2325098"/>
          </a:xfrm>
        </p:grpSpPr>
        <p:sp>
          <p:nvSpPr>
            <p:cNvPr id="24" name="Retângulo: Cantos Arredondados 23">
              <a:extLst>
                <a:ext uri="{FF2B5EF4-FFF2-40B4-BE49-F238E27FC236}">
                  <a16:creationId xmlns:a16="http://schemas.microsoft.com/office/drawing/2014/main" id="{1A717A7F-20C6-51B4-DE9C-7C2369C3F585}"/>
                </a:ext>
              </a:extLst>
            </p:cNvPr>
            <p:cNvSpPr/>
            <p:nvPr/>
          </p:nvSpPr>
          <p:spPr>
            <a:xfrm>
              <a:off x="6323261" y="1662780"/>
              <a:ext cx="5161954" cy="252000"/>
            </a:xfrm>
            <a:prstGeom prst="roundRect">
              <a:avLst/>
            </a:prstGeom>
            <a:gradFill flip="none" rotWithShape="1">
              <a:gsLst>
                <a:gs pos="0">
                  <a:srgbClr val="BD95FF">
                    <a:tint val="66000"/>
                    <a:satMod val="160000"/>
                  </a:srgbClr>
                </a:gs>
                <a:gs pos="81000">
                  <a:srgbClr val="BD95FF">
                    <a:tint val="44500"/>
                    <a:satMod val="160000"/>
                  </a:srgbClr>
                </a:gs>
                <a:gs pos="100000">
                  <a:srgbClr val="BD95FF">
                    <a:tint val="23500"/>
                    <a:satMod val="16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60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tau Display XBold" panose="020B0803020204020204" pitchFamily="34" charset="0"/>
                  <a:cs typeface="Itau Display XBold" panose="020B0803020204020204" pitchFamily="34" charset="0"/>
                </a:rPr>
                <a:t>Soluções específicas</a:t>
              </a:r>
            </a:p>
          </p:txBody>
        </p:sp>
        <p:grpSp>
          <p:nvGrpSpPr>
            <p:cNvPr id="25" name="Agrupar 24">
              <a:extLst>
                <a:ext uri="{FF2B5EF4-FFF2-40B4-BE49-F238E27FC236}">
                  <a16:creationId xmlns:a16="http://schemas.microsoft.com/office/drawing/2014/main" id="{8BC45B36-1C6D-EA5D-244D-843B1E1F34A2}"/>
                </a:ext>
              </a:extLst>
            </p:cNvPr>
            <p:cNvGrpSpPr/>
            <p:nvPr/>
          </p:nvGrpSpPr>
          <p:grpSpPr>
            <a:xfrm>
              <a:off x="6335537" y="1987570"/>
              <a:ext cx="5148000" cy="432558"/>
              <a:chOff x="6335537" y="1987570"/>
              <a:chExt cx="5148000" cy="432558"/>
            </a:xfrm>
          </p:grpSpPr>
          <p:sp>
            <p:nvSpPr>
              <p:cNvPr id="274" name="Retângulo: Cantos Superiores Recortados 273">
                <a:extLst>
                  <a:ext uri="{FF2B5EF4-FFF2-40B4-BE49-F238E27FC236}">
                    <a16:creationId xmlns:a16="http://schemas.microsoft.com/office/drawing/2014/main" id="{3D4216A5-A6E0-F23A-1791-0ECB830FD59B}"/>
                  </a:ext>
                </a:extLst>
              </p:cNvPr>
              <p:cNvSpPr/>
              <p:nvPr/>
            </p:nvSpPr>
            <p:spPr>
              <a:xfrm flipV="1">
                <a:off x="6335537" y="1987570"/>
                <a:ext cx="5148000" cy="432558"/>
              </a:xfrm>
              <a:prstGeom prst="snip2SameRect">
                <a:avLst/>
              </a:prstGeom>
              <a:solidFill>
                <a:srgbClr val="70309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275" name="CaixaDeTexto 274">
                <a:extLst>
                  <a:ext uri="{FF2B5EF4-FFF2-40B4-BE49-F238E27FC236}">
                    <a16:creationId xmlns:a16="http://schemas.microsoft.com/office/drawing/2014/main" id="{C7D4BCFC-DA0E-DE3A-007E-D734942FB579}"/>
                  </a:ext>
                </a:extLst>
              </p:cNvPr>
              <p:cNvSpPr txBox="1"/>
              <p:nvPr/>
            </p:nvSpPr>
            <p:spPr>
              <a:xfrm>
                <a:off x="6446067" y="2052944"/>
                <a:ext cx="496800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1200" b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Itau Display    "/>
                  </a:rPr>
                  <a:t>Capacitação das </a:t>
                </a:r>
                <a:r>
                  <a:rPr lang="pt-BR" sz="1200" b="1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Itau Display    "/>
                  </a:rPr>
                  <a:t>Squads</a:t>
                </a:r>
                <a:r>
                  <a:rPr lang="pt-BR" sz="1200" b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Itau Display    "/>
                  </a:rPr>
                  <a:t> </a:t>
                </a:r>
                <a:endParaRPr lang="pt-BR" sz="1200"/>
              </a:p>
            </p:txBody>
          </p:sp>
        </p:grpSp>
        <p:grpSp>
          <p:nvGrpSpPr>
            <p:cNvPr id="26" name="Agrupar 25">
              <a:extLst>
                <a:ext uri="{FF2B5EF4-FFF2-40B4-BE49-F238E27FC236}">
                  <a16:creationId xmlns:a16="http://schemas.microsoft.com/office/drawing/2014/main" id="{93518D81-0442-C70B-9EB7-BF92C4A0CB94}"/>
                </a:ext>
              </a:extLst>
            </p:cNvPr>
            <p:cNvGrpSpPr/>
            <p:nvPr/>
          </p:nvGrpSpPr>
          <p:grpSpPr>
            <a:xfrm>
              <a:off x="6335537" y="2492918"/>
              <a:ext cx="5148000" cy="432558"/>
              <a:chOff x="6335537" y="1987570"/>
              <a:chExt cx="5148000" cy="432558"/>
            </a:xfrm>
          </p:grpSpPr>
          <p:sp>
            <p:nvSpPr>
              <p:cNvPr id="272" name="Retângulo: Cantos Superiores Recortados 271">
                <a:extLst>
                  <a:ext uri="{FF2B5EF4-FFF2-40B4-BE49-F238E27FC236}">
                    <a16:creationId xmlns:a16="http://schemas.microsoft.com/office/drawing/2014/main" id="{495C86F6-6434-EC03-259B-41946D705A8D}"/>
                  </a:ext>
                </a:extLst>
              </p:cNvPr>
              <p:cNvSpPr/>
              <p:nvPr/>
            </p:nvSpPr>
            <p:spPr>
              <a:xfrm flipV="1">
                <a:off x="6335537" y="1987570"/>
                <a:ext cx="5148000" cy="432558"/>
              </a:xfrm>
              <a:prstGeom prst="snip2SameRect">
                <a:avLst/>
              </a:prstGeom>
              <a:solidFill>
                <a:srgbClr val="70309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273" name="CaixaDeTexto 272">
                <a:extLst>
                  <a:ext uri="{FF2B5EF4-FFF2-40B4-BE49-F238E27FC236}">
                    <a16:creationId xmlns:a16="http://schemas.microsoft.com/office/drawing/2014/main" id="{275E0325-88FF-B801-2F4A-B756BA611C67}"/>
                  </a:ext>
                </a:extLst>
              </p:cNvPr>
              <p:cNvSpPr txBox="1"/>
              <p:nvPr/>
            </p:nvSpPr>
            <p:spPr>
              <a:xfrm>
                <a:off x="6446067" y="2052944"/>
                <a:ext cx="496800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1200" b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Itau Display    "/>
                  </a:rPr>
                  <a:t>Incubadores</a:t>
                </a:r>
                <a:endParaRPr lang="pt-BR" sz="1200"/>
              </a:p>
            </p:txBody>
          </p:sp>
        </p:grpSp>
        <p:grpSp>
          <p:nvGrpSpPr>
            <p:cNvPr id="27" name="Agrupar 26">
              <a:extLst>
                <a:ext uri="{FF2B5EF4-FFF2-40B4-BE49-F238E27FC236}">
                  <a16:creationId xmlns:a16="http://schemas.microsoft.com/office/drawing/2014/main" id="{1C739BB4-4339-010C-01A9-3950E2143E0C}"/>
                </a:ext>
              </a:extLst>
            </p:cNvPr>
            <p:cNvGrpSpPr/>
            <p:nvPr/>
          </p:nvGrpSpPr>
          <p:grpSpPr>
            <a:xfrm>
              <a:off x="6356067" y="3000892"/>
              <a:ext cx="5148000" cy="432558"/>
              <a:chOff x="6335537" y="1987570"/>
              <a:chExt cx="5148000" cy="432558"/>
            </a:xfrm>
          </p:grpSpPr>
          <p:sp>
            <p:nvSpPr>
              <p:cNvPr id="270" name="Retângulo: Cantos Superiores Recortados 269">
                <a:extLst>
                  <a:ext uri="{FF2B5EF4-FFF2-40B4-BE49-F238E27FC236}">
                    <a16:creationId xmlns:a16="http://schemas.microsoft.com/office/drawing/2014/main" id="{612C2679-D48B-B862-072E-38386406B99B}"/>
                  </a:ext>
                </a:extLst>
              </p:cNvPr>
              <p:cNvSpPr/>
              <p:nvPr/>
            </p:nvSpPr>
            <p:spPr>
              <a:xfrm flipV="1">
                <a:off x="6335537" y="1987570"/>
                <a:ext cx="5148000" cy="432558"/>
              </a:xfrm>
              <a:prstGeom prst="snip2SameRect">
                <a:avLst/>
              </a:prstGeom>
              <a:solidFill>
                <a:srgbClr val="70309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271" name="CaixaDeTexto 270">
                <a:extLst>
                  <a:ext uri="{FF2B5EF4-FFF2-40B4-BE49-F238E27FC236}">
                    <a16:creationId xmlns:a16="http://schemas.microsoft.com/office/drawing/2014/main" id="{9E7B081A-B02F-A913-70E2-7FDD5CF5222C}"/>
                  </a:ext>
                </a:extLst>
              </p:cNvPr>
              <p:cNvSpPr txBox="1"/>
              <p:nvPr/>
            </p:nvSpPr>
            <p:spPr>
              <a:xfrm>
                <a:off x="6446067" y="2052944"/>
                <a:ext cx="496800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1200" b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Itau Display    "/>
                  </a:rPr>
                  <a:t>Aprendiz e PCD</a:t>
                </a:r>
                <a:endParaRPr lang="pt-BR" sz="1200"/>
              </a:p>
            </p:txBody>
          </p:sp>
        </p:grpSp>
        <p:grpSp>
          <p:nvGrpSpPr>
            <p:cNvPr id="28" name="Agrupar 27">
              <a:extLst>
                <a:ext uri="{FF2B5EF4-FFF2-40B4-BE49-F238E27FC236}">
                  <a16:creationId xmlns:a16="http://schemas.microsoft.com/office/drawing/2014/main" id="{5310B30A-8816-74F9-4FD4-84DDD4FD9440}"/>
                </a:ext>
              </a:extLst>
            </p:cNvPr>
            <p:cNvGrpSpPr/>
            <p:nvPr/>
          </p:nvGrpSpPr>
          <p:grpSpPr>
            <a:xfrm>
              <a:off x="6346757" y="3530709"/>
              <a:ext cx="5148000" cy="432558"/>
              <a:chOff x="6335537" y="1987570"/>
              <a:chExt cx="5148000" cy="432558"/>
            </a:xfrm>
          </p:grpSpPr>
          <p:sp>
            <p:nvSpPr>
              <p:cNvPr id="268" name="Retângulo: Cantos Superiores Recortados 267">
                <a:extLst>
                  <a:ext uri="{FF2B5EF4-FFF2-40B4-BE49-F238E27FC236}">
                    <a16:creationId xmlns:a16="http://schemas.microsoft.com/office/drawing/2014/main" id="{B5B9D8BF-4E90-1977-330A-3842AB96EFD0}"/>
                  </a:ext>
                </a:extLst>
              </p:cNvPr>
              <p:cNvSpPr/>
              <p:nvPr/>
            </p:nvSpPr>
            <p:spPr>
              <a:xfrm flipV="1">
                <a:off x="6335537" y="1987570"/>
                <a:ext cx="5148000" cy="432558"/>
              </a:xfrm>
              <a:prstGeom prst="snip2SameRect">
                <a:avLst/>
              </a:prstGeom>
              <a:solidFill>
                <a:srgbClr val="70309F"/>
              </a:solidFill>
              <a:ln>
                <a:noFill/>
              </a:ln>
              <a:effectLst>
                <a:softEdge rad="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269" name="CaixaDeTexto 268">
                <a:extLst>
                  <a:ext uri="{FF2B5EF4-FFF2-40B4-BE49-F238E27FC236}">
                    <a16:creationId xmlns:a16="http://schemas.microsoft.com/office/drawing/2014/main" id="{839218E2-D013-5FA7-83BF-C8E3DCAB0756}"/>
                  </a:ext>
                </a:extLst>
              </p:cNvPr>
              <p:cNvSpPr txBox="1"/>
              <p:nvPr/>
            </p:nvSpPr>
            <p:spPr>
              <a:xfrm>
                <a:off x="6446067" y="2052944"/>
                <a:ext cx="496800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1200" b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Itau Display    "/>
                  </a:rPr>
                  <a:t>+ ações específicas/áreas</a:t>
                </a:r>
                <a:endParaRPr lang="pt-BR" sz="1200"/>
              </a:p>
            </p:txBody>
          </p:sp>
        </p:grpSp>
        <p:sp>
          <p:nvSpPr>
            <p:cNvPr id="29" name="Triângulo isósceles 28">
              <a:extLst>
                <a:ext uri="{FF2B5EF4-FFF2-40B4-BE49-F238E27FC236}">
                  <a16:creationId xmlns:a16="http://schemas.microsoft.com/office/drawing/2014/main" id="{6294363E-8F88-C31C-65F0-B6A04B5131D7}"/>
                </a:ext>
              </a:extLst>
            </p:cNvPr>
            <p:cNvSpPr/>
            <p:nvPr/>
          </p:nvSpPr>
          <p:spPr>
            <a:xfrm>
              <a:off x="6094572" y="3531276"/>
              <a:ext cx="522990" cy="432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0" name="Triângulo isósceles 29">
              <a:extLst>
                <a:ext uri="{FF2B5EF4-FFF2-40B4-BE49-F238E27FC236}">
                  <a16:creationId xmlns:a16="http://schemas.microsoft.com/office/drawing/2014/main" id="{AFB6E331-E34C-3B86-3716-6329B4B7D5A4}"/>
                </a:ext>
              </a:extLst>
            </p:cNvPr>
            <p:cNvSpPr/>
            <p:nvPr/>
          </p:nvSpPr>
          <p:spPr>
            <a:xfrm>
              <a:off x="6095620" y="3001281"/>
              <a:ext cx="522990" cy="432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1" name="Triângulo isósceles 30">
              <a:extLst>
                <a:ext uri="{FF2B5EF4-FFF2-40B4-BE49-F238E27FC236}">
                  <a16:creationId xmlns:a16="http://schemas.microsoft.com/office/drawing/2014/main" id="{509DAD01-C1D1-B989-64BC-06809016F06B}"/>
                </a:ext>
              </a:extLst>
            </p:cNvPr>
            <p:cNvSpPr/>
            <p:nvPr/>
          </p:nvSpPr>
          <p:spPr>
            <a:xfrm>
              <a:off x="6074042" y="2500103"/>
              <a:ext cx="522990" cy="432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24" name="Triângulo isósceles 223">
              <a:extLst>
                <a:ext uri="{FF2B5EF4-FFF2-40B4-BE49-F238E27FC236}">
                  <a16:creationId xmlns:a16="http://schemas.microsoft.com/office/drawing/2014/main" id="{89B07229-E8DC-4C53-5DBF-07F640F487C5}"/>
                </a:ext>
              </a:extLst>
            </p:cNvPr>
            <p:cNvSpPr/>
            <p:nvPr/>
          </p:nvSpPr>
          <p:spPr>
            <a:xfrm>
              <a:off x="6060743" y="1981728"/>
              <a:ext cx="522990" cy="432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29" name="Triângulo isósceles 228">
              <a:extLst>
                <a:ext uri="{FF2B5EF4-FFF2-40B4-BE49-F238E27FC236}">
                  <a16:creationId xmlns:a16="http://schemas.microsoft.com/office/drawing/2014/main" id="{DD6333A6-0625-04CA-14CD-FCF310E03BB7}"/>
                </a:ext>
              </a:extLst>
            </p:cNvPr>
            <p:cNvSpPr/>
            <p:nvPr/>
          </p:nvSpPr>
          <p:spPr>
            <a:xfrm>
              <a:off x="11240616" y="3555878"/>
              <a:ext cx="522990" cy="432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40" name="Triângulo isósceles 239">
              <a:extLst>
                <a:ext uri="{FF2B5EF4-FFF2-40B4-BE49-F238E27FC236}">
                  <a16:creationId xmlns:a16="http://schemas.microsoft.com/office/drawing/2014/main" id="{1D7306F9-B852-DF2B-C47B-3AC03337401D}"/>
                </a:ext>
              </a:extLst>
            </p:cNvPr>
            <p:cNvSpPr/>
            <p:nvPr/>
          </p:nvSpPr>
          <p:spPr>
            <a:xfrm>
              <a:off x="11241664" y="3025883"/>
              <a:ext cx="522990" cy="432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41" name="Triângulo isósceles 240">
              <a:extLst>
                <a:ext uri="{FF2B5EF4-FFF2-40B4-BE49-F238E27FC236}">
                  <a16:creationId xmlns:a16="http://schemas.microsoft.com/office/drawing/2014/main" id="{0CD0FFE6-540F-65F6-103B-68F8112A8B03}"/>
                </a:ext>
              </a:extLst>
            </p:cNvPr>
            <p:cNvSpPr/>
            <p:nvPr/>
          </p:nvSpPr>
          <p:spPr>
            <a:xfrm>
              <a:off x="11220086" y="2509715"/>
              <a:ext cx="522990" cy="432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44" name="Triângulo isósceles 243">
              <a:extLst>
                <a:ext uri="{FF2B5EF4-FFF2-40B4-BE49-F238E27FC236}">
                  <a16:creationId xmlns:a16="http://schemas.microsoft.com/office/drawing/2014/main" id="{836B9D6E-97DC-9340-D876-759783DEFF4F}"/>
                </a:ext>
              </a:extLst>
            </p:cNvPr>
            <p:cNvSpPr/>
            <p:nvPr/>
          </p:nvSpPr>
          <p:spPr>
            <a:xfrm>
              <a:off x="11206787" y="2006330"/>
              <a:ext cx="522990" cy="432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pic>
          <p:nvPicPr>
            <p:cNvPr id="249" name="Picture 2" descr="Equipe Vetor ícone, ícones Da Equipe, Grupo, Liderança Imagem PNG e Vetor  Para Download Gratuito | Conjunto de ícones, Icones redes sociais, Vetores">
              <a:extLst>
                <a:ext uri="{FF2B5EF4-FFF2-40B4-BE49-F238E27FC236}">
                  <a16:creationId xmlns:a16="http://schemas.microsoft.com/office/drawing/2014/main" id="{D842D780-EB19-4128-416C-A248A25C79E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screen">
              <a:clrChange>
                <a:clrFrom>
                  <a:srgbClr val="F5F5F5"/>
                </a:clrFrom>
                <a:clrTo>
                  <a:srgbClr val="F5F5F5">
                    <a:alpha val="0"/>
                  </a:srgbClr>
                </a:clrTo>
              </a:clrChange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475478" y="3044858"/>
              <a:ext cx="396000" cy="39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4" name="Picture 2" descr="Equipe Vetor ícone, ícones Da Equipe, Grupo, Liderança Imagem PNG e Vetor  Para Download Gratuito | Conjunto de ícones, Icones redes sociais, Vetores">
              <a:extLst>
                <a:ext uri="{FF2B5EF4-FFF2-40B4-BE49-F238E27FC236}">
                  <a16:creationId xmlns:a16="http://schemas.microsoft.com/office/drawing/2014/main" id="{462F6453-7544-F897-9C5A-6722C520E3D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screen">
              <a:clrChange>
                <a:clrFrom>
                  <a:srgbClr val="F5F5F5"/>
                </a:clrFrom>
                <a:clrTo>
                  <a:srgbClr val="F5F5F5">
                    <a:alpha val="0"/>
                  </a:srgbClr>
                </a:clrTo>
              </a:clrChange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481885" y="2531419"/>
              <a:ext cx="396000" cy="39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7" name="Picture 2" descr="Equipe Vetor ícone, ícones Da Equipe, Grupo, Liderança Imagem PNG e Vetor  Para Download Gratuito | Conjunto de ícones, Icones redes sociais, Vetores">
              <a:extLst>
                <a:ext uri="{FF2B5EF4-FFF2-40B4-BE49-F238E27FC236}">
                  <a16:creationId xmlns:a16="http://schemas.microsoft.com/office/drawing/2014/main" id="{A1DEF486-42B0-E5BF-E0B9-1672BB9C90F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screen">
              <a:clrChange>
                <a:clrFrom>
                  <a:srgbClr val="F5F5F5"/>
                </a:clrFrom>
                <a:clrTo>
                  <a:srgbClr val="F5F5F5">
                    <a:alpha val="0"/>
                  </a:srgbClr>
                </a:clrTo>
              </a:clrChange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466158" y="2011386"/>
              <a:ext cx="396000" cy="39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76" name="CaixaDeTexto 275">
            <a:extLst>
              <a:ext uri="{FF2B5EF4-FFF2-40B4-BE49-F238E27FC236}">
                <a16:creationId xmlns:a16="http://schemas.microsoft.com/office/drawing/2014/main" id="{1E312FA0-5CE2-F75C-22F1-C535FE975F38}"/>
              </a:ext>
            </a:extLst>
          </p:cNvPr>
          <p:cNvSpPr txBox="1"/>
          <p:nvPr/>
        </p:nvSpPr>
        <p:spPr>
          <a:xfrm>
            <a:off x="5372821" y="1550384"/>
            <a:ext cx="14535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>
                <a:solidFill>
                  <a:srgbClr val="575757"/>
                </a:solidFill>
                <a:latin typeface="Itau Display "/>
                <a:cs typeface="Itau Display XBold" panose="020B0803020204020204" pitchFamily="34" charset="0"/>
              </a:rPr>
              <a:t>Hub OPs</a:t>
            </a:r>
          </a:p>
        </p:txBody>
      </p:sp>
      <p:cxnSp>
        <p:nvCxnSpPr>
          <p:cNvPr id="277" name="Conector reto 276">
            <a:extLst>
              <a:ext uri="{FF2B5EF4-FFF2-40B4-BE49-F238E27FC236}">
                <a16:creationId xmlns:a16="http://schemas.microsoft.com/office/drawing/2014/main" id="{8D6D4C61-32D0-BE63-9421-27CBEE687396}"/>
              </a:ext>
            </a:extLst>
          </p:cNvPr>
          <p:cNvCxnSpPr/>
          <p:nvPr/>
        </p:nvCxnSpPr>
        <p:spPr>
          <a:xfrm>
            <a:off x="3070747" y="1910689"/>
            <a:ext cx="6012000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78" name="Conector reto 277">
            <a:extLst>
              <a:ext uri="{FF2B5EF4-FFF2-40B4-BE49-F238E27FC236}">
                <a16:creationId xmlns:a16="http://schemas.microsoft.com/office/drawing/2014/main" id="{024A7330-FECE-9927-19E3-7B190F2302DB}"/>
              </a:ext>
            </a:extLst>
          </p:cNvPr>
          <p:cNvCxnSpPr>
            <a:cxnSpLocks/>
          </p:cNvCxnSpPr>
          <p:nvPr/>
        </p:nvCxnSpPr>
        <p:spPr>
          <a:xfrm rot="16200000">
            <a:off x="6044430" y="1855315"/>
            <a:ext cx="108000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79" name="CaixaDeTexto 278">
            <a:extLst>
              <a:ext uri="{FF2B5EF4-FFF2-40B4-BE49-F238E27FC236}">
                <a16:creationId xmlns:a16="http://schemas.microsoft.com/office/drawing/2014/main" id="{0F5AA8DA-24AD-6C10-F1EA-573FCE2852F9}"/>
              </a:ext>
            </a:extLst>
          </p:cNvPr>
          <p:cNvSpPr txBox="1"/>
          <p:nvPr/>
        </p:nvSpPr>
        <p:spPr>
          <a:xfrm rot="2976416">
            <a:off x="11043" y="3637297"/>
            <a:ext cx="2817674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50">
                <a:solidFill>
                  <a:srgbClr val="D49500"/>
                </a:solidFill>
                <a:latin typeface="Itau Display "/>
              </a:rPr>
              <a:t>Especialização: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pt-BR" sz="1050">
                <a:solidFill>
                  <a:srgbClr val="D49500"/>
                </a:solidFill>
                <a:latin typeface="Itau Display "/>
              </a:rPr>
              <a:t>do básico ao avançado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pt-BR" sz="1050">
                <a:solidFill>
                  <a:srgbClr val="D49500"/>
                </a:solidFill>
                <a:latin typeface="Itau Display "/>
              </a:rPr>
              <a:t>nível crescente de aplicação prática</a:t>
            </a:r>
          </a:p>
        </p:txBody>
      </p:sp>
      <p:cxnSp>
        <p:nvCxnSpPr>
          <p:cNvPr id="280" name="Conector de Seta Reta 279">
            <a:extLst>
              <a:ext uri="{FF2B5EF4-FFF2-40B4-BE49-F238E27FC236}">
                <a16:creationId xmlns:a16="http://schemas.microsoft.com/office/drawing/2014/main" id="{7A170661-B442-268B-E0B7-310E1C387999}"/>
              </a:ext>
            </a:extLst>
          </p:cNvPr>
          <p:cNvCxnSpPr>
            <a:cxnSpLocks/>
          </p:cNvCxnSpPr>
          <p:nvPr/>
        </p:nvCxnSpPr>
        <p:spPr>
          <a:xfrm>
            <a:off x="488013" y="2351688"/>
            <a:ext cx="2244008" cy="262291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1" name="CaixaDeTexto 280">
            <a:extLst>
              <a:ext uri="{FF2B5EF4-FFF2-40B4-BE49-F238E27FC236}">
                <a16:creationId xmlns:a16="http://schemas.microsoft.com/office/drawing/2014/main" id="{EA9E27BE-E98A-9517-4FA9-30ECB31F84BA}"/>
              </a:ext>
            </a:extLst>
          </p:cNvPr>
          <p:cNvSpPr txBox="1"/>
          <p:nvPr/>
        </p:nvSpPr>
        <p:spPr>
          <a:xfrm>
            <a:off x="10173581" y="6000869"/>
            <a:ext cx="127943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50">
                <a:solidFill>
                  <a:srgbClr val="D49500"/>
                </a:solidFill>
                <a:latin typeface="Itau Display "/>
              </a:rPr>
              <a:t>Atuação de experts do negócio</a:t>
            </a:r>
          </a:p>
        </p:txBody>
      </p:sp>
      <p:pic>
        <p:nvPicPr>
          <p:cNvPr id="282" name="Picture 2" descr="Equipe Vetor ícone, ícones Da Equipe, Grupo, Liderança Imagem PNG e Vetor  Para Download Gratuito | Conjunto de ícones, Icones redes sociais, Vetores">
            <a:extLst>
              <a:ext uri="{FF2B5EF4-FFF2-40B4-BE49-F238E27FC236}">
                <a16:creationId xmlns:a16="http://schemas.microsoft.com/office/drawing/2014/main" id="{C8EB33FC-33E7-E769-4EB6-0CEF54A6AF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clrChange>
              <a:clrFrom>
                <a:srgbClr val="F5F5F5"/>
              </a:clrFrom>
              <a:clrTo>
                <a:srgbClr val="F5F5F5">
                  <a:alpha val="0"/>
                </a:srgbClr>
              </a:clrTo>
            </a:clrChange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2610" y="6023401"/>
            <a:ext cx="396000" cy="3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3" name="Imagem 8">
            <a:extLst>
              <a:ext uri="{FF2B5EF4-FFF2-40B4-BE49-F238E27FC236}">
                <a16:creationId xmlns:a16="http://schemas.microsoft.com/office/drawing/2014/main" id="{36ABFCC2-5AA5-ADA9-74FB-B5D265EFE2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9112" y="5957876"/>
            <a:ext cx="468000" cy="4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238111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Imagem 38">
            <a:extLst>
              <a:ext uri="{FF2B5EF4-FFF2-40B4-BE49-F238E27FC236}">
                <a16:creationId xmlns:a16="http://schemas.microsoft.com/office/drawing/2014/main" id="{712CAFE5-EA2E-4ECB-9C94-9AF75091942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8872" y="2569548"/>
            <a:ext cx="2187912" cy="1230100"/>
          </a:xfrm>
          <a:prstGeom prst="rect">
            <a:avLst/>
          </a:prstGeom>
          <a:ln w="19050">
            <a:noFill/>
          </a:ln>
        </p:spPr>
      </p:pic>
      <p:pic>
        <p:nvPicPr>
          <p:cNvPr id="40" name="Imagem 39">
            <a:extLst>
              <a:ext uri="{FF2B5EF4-FFF2-40B4-BE49-F238E27FC236}">
                <a16:creationId xmlns:a16="http://schemas.microsoft.com/office/drawing/2014/main" id="{8ED58D3B-F97C-58D6-8731-7D92F9338AB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4884" y="3194613"/>
            <a:ext cx="2190609" cy="1231616"/>
          </a:xfrm>
          <a:prstGeom prst="rect">
            <a:avLst/>
          </a:prstGeom>
          <a:ln>
            <a:noFill/>
          </a:ln>
        </p:spPr>
      </p:pic>
      <p:sp>
        <p:nvSpPr>
          <p:cNvPr id="41" name="Espaço Reservado para Número de Slide 3">
            <a:extLst>
              <a:ext uri="{FF2B5EF4-FFF2-40B4-BE49-F238E27FC236}">
                <a16:creationId xmlns:a16="http://schemas.microsoft.com/office/drawing/2014/main" id="{48332E7E-324E-E312-667D-3F148F7C1AEC}"/>
              </a:ext>
            </a:extLst>
          </p:cNvPr>
          <p:cNvSpPr txBox="1">
            <a:spLocks/>
          </p:cNvSpPr>
          <p:nvPr/>
        </p:nvSpPr>
        <p:spPr>
          <a:xfrm>
            <a:off x="5847142" y="6401859"/>
            <a:ext cx="629920" cy="3556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200" kern="1200">
                <a:solidFill>
                  <a:srgbClr val="F0AE2E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36E348F-B942-403B-B49B-B4FE521F49C5}" type="slidenum">
              <a:rPr lang="pt-BR" smtClean="0">
                <a:latin typeface="Aptos" panose="02110004020202020204"/>
              </a:rPr>
              <a:pPr/>
              <a:t>48</a:t>
            </a:fld>
            <a:endParaRPr lang="pt-BR">
              <a:latin typeface="Aptos" panose="02110004020202020204"/>
            </a:endParaRPr>
          </a:p>
        </p:txBody>
      </p:sp>
      <p:grpSp>
        <p:nvGrpSpPr>
          <p:cNvPr id="42" name="Agrupar 41">
            <a:extLst>
              <a:ext uri="{FF2B5EF4-FFF2-40B4-BE49-F238E27FC236}">
                <a16:creationId xmlns:a16="http://schemas.microsoft.com/office/drawing/2014/main" id="{02985BB1-B77E-7BDD-B336-C3EA7428B856}"/>
              </a:ext>
            </a:extLst>
          </p:cNvPr>
          <p:cNvGrpSpPr/>
          <p:nvPr/>
        </p:nvGrpSpPr>
        <p:grpSpPr>
          <a:xfrm>
            <a:off x="797427" y="972795"/>
            <a:ext cx="10729350" cy="1040704"/>
            <a:chOff x="907423" y="1078416"/>
            <a:chExt cx="10729350" cy="1040704"/>
          </a:xfrm>
        </p:grpSpPr>
        <p:sp>
          <p:nvSpPr>
            <p:cNvPr id="43" name="Retângulo: Cantos Arredondados 42">
              <a:extLst>
                <a:ext uri="{FF2B5EF4-FFF2-40B4-BE49-F238E27FC236}">
                  <a16:creationId xmlns:a16="http://schemas.microsoft.com/office/drawing/2014/main" id="{C6E9226D-CDA7-4438-53FC-7669BBF67D11}"/>
                </a:ext>
              </a:extLst>
            </p:cNvPr>
            <p:cNvSpPr/>
            <p:nvPr/>
          </p:nvSpPr>
          <p:spPr>
            <a:xfrm>
              <a:off x="1168662" y="1078416"/>
              <a:ext cx="9224755" cy="1018116"/>
            </a:xfrm>
            <a:prstGeom prst="roundRect">
              <a:avLst/>
            </a:prstGeom>
            <a:noFill/>
            <a:ln w="19050" cap="flat" cmpd="sng" algn="ctr">
              <a:gradFill flip="none" rotWithShape="1">
                <a:gsLst>
                  <a:gs pos="0">
                    <a:sysClr val="window" lastClr="FFFFFF"/>
                  </a:gs>
                  <a:gs pos="83000">
                    <a:srgbClr val="FFB601"/>
                  </a:gs>
                  <a:gs pos="40000">
                    <a:srgbClr val="FF6600"/>
                  </a:gs>
                </a:gsLst>
                <a:lin ang="2700000" scaled="1"/>
                <a:tileRect/>
              </a:gra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44" name="CaixaDeTexto 43">
              <a:extLst>
                <a:ext uri="{FF2B5EF4-FFF2-40B4-BE49-F238E27FC236}">
                  <a16:creationId xmlns:a16="http://schemas.microsoft.com/office/drawing/2014/main" id="{BDD5E9ED-2046-E1BD-4BB5-A3249EF9CA73}"/>
                </a:ext>
              </a:extLst>
            </p:cNvPr>
            <p:cNvSpPr txBox="1"/>
            <p:nvPr/>
          </p:nvSpPr>
          <p:spPr>
            <a:xfrm>
              <a:off x="7045354" y="1258393"/>
              <a:ext cx="281495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rgbClr val="E8E8E8">
                      <a:lumMod val="25000"/>
                    </a:srgbClr>
                  </a:solidFill>
                  <a:effectLst/>
                  <a:uLnTx/>
                  <a:uFillTx/>
                  <a:latin typeface="Itau Display" panose="020B0503020204020204" pitchFamily="34" charset="0"/>
                  <a:cs typeface="Itau Display" panose="020B0503020204020204" pitchFamily="34" charset="0"/>
                </a:rPr>
                <a:t>participaram de treinamentos desde 2011</a:t>
              </a:r>
            </a:p>
          </p:txBody>
        </p:sp>
        <p:sp>
          <p:nvSpPr>
            <p:cNvPr id="45" name="juntos?">
              <a:extLst>
                <a:ext uri="{FF2B5EF4-FFF2-40B4-BE49-F238E27FC236}">
                  <a16:creationId xmlns:a16="http://schemas.microsoft.com/office/drawing/2014/main" id="{0693AE88-B818-8926-3915-104BDD635BCC}"/>
                </a:ext>
              </a:extLst>
            </p:cNvPr>
            <p:cNvSpPr txBox="1"/>
            <p:nvPr/>
          </p:nvSpPr>
          <p:spPr>
            <a:xfrm>
              <a:off x="5056585" y="1386290"/>
              <a:ext cx="2494596" cy="576823"/>
            </a:xfrm>
            <a:prstGeom prst="rect">
              <a:avLst/>
            </a:prstGeom>
            <a:ln w="12700">
              <a:miter lim="400000"/>
            </a:ln>
            <a:effectLst>
              <a:glow rad="101600">
                <a:srgbClr val="0F9ED5">
                  <a:satMod val="175000"/>
                  <a:alpha val="40000"/>
                </a:srgbClr>
              </a:glow>
              <a:softEdge rad="0"/>
            </a:effectLst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58546" tIns="58546" rIns="58546" bIns="58546">
              <a:spAutoFit/>
            </a:bodyPr>
            <a:lstStyle>
              <a:lvl1pPr algn="l" defTabSz="782212">
                <a:lnSpc>
                  <a:spcPct val="70000"/>
                </a:lnSpc>
                <a:defRPr sz="25000">
                  <a:solidFill>
                    <a:srgbClr val="FFFFFF"/>
                  </a:solidFill>
                  <a:latin typeface="Itau Display Black"/>
                  <a:ea typeface="Itau Display Black"/>
                  <a:cs typeface="Itau Display Black"/>
                  <a:sym typeface="Itau Display Black"/>
                </a:defRPr>
              </a:lvl1pPr>
            </a:lstStyle>
            <a:p>
              <a:pPr marL="0" marR="0" lvl="0" indent="0" algn="ctr" defTabSz="586587" eaLnBrk="1" fontAlgn="auto" latinLnBrk="0" hangingPunct="0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>
                  <a:ln w="31750">
                    <a:solidFill>
                      <a:srgbClr val="FFFFFF"/>
                    </a:solidFill>
                  </a:ln>
                  <a:noFill/>
                </a:defRPr>
              </a:pPr>
              <a:r>
                <a:rPr kumimoji="0" lang="pt-BR" sz="4000" b="0" i="0" u="none" strike="noStrike" kern="0" cap="none" spc="0" normalizeH="0" baseline="0" noProof="0" dirty="0">
                  <a:ln w="50800"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Itau Display Black"/>
                  <a:sym typeface="Itau Display Black"/>
                </a:rPr>
                <a:t>~50 mil </a:t>
              </a:r>
            </a:p>
          </p:txBody>
        </p:sp>
        <p:sp>
          <p:nvSpPr>
            <p:cNvPr id="46" name="juntos?">
              <a:extLst>
                <a:ext uri="{FF2B5EF4-FFF2-40B4-BE49-F238E27FC236}">
                  <a16:creationId xmlns:a16="http://schemas.microsoft.com/office/drawing/2014/main" id="{8972E34B-8D3A-A2A0-BCB3-ED3200461723}"/>
                </a:ext>
              </a:extLst>
            </p:cNvPr>
            <p:cNvSpPr txBox="1"/>
            <p:nvPr/>
          </p:nvSpPr>
          <p:spPr>
            <a:xfrm>
              <a:off x="907423" y="1354033"/>
              <a:ext cx="2494596" cy="576823"/>
            </a:xfrm>
            <a:prstGeom prst="rect">
              <a:avLst/>
            </a:prstGeom>
            <a:ln w="12700">
              <a:miter lim="400000"/>
            </a:ln>
            <a:effectLst>
              <a:glow rad="101600">
                <a:srgbClr val="0F9ED5">
                  <a:satMod val="175000"/>
                  <a:alpha val="40000"/>
                </a:srgbClr>
              </a:glow>
              <a:softEdge rad="0"/>
            </a:effectLst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58546" tIns="58546" rIns="58546" bIns="58546">
              <a:spAutoFit/>
            </a:bodyPr>
            <a:lstStyle>
              <a:lvl1pPr algn="l" defTabSz="782212">
                <a:lnSpc>
                  <a:spcPct val="70000"/>
                </a:lnSpc>
                <a:defRPr sz="25000">
                  <a:solidFill>
                    <a:srgbClr val="FFFFFF"/>
                  </a:solidFill>
                  <a:latin typeface="Itau Display Black"/>
                  <a:ea typeface="Itau Display Black"/>
                  <a:cs typeface="Itau Display Black"/>
                  <a:sym typeface="Itau Display Black"/>
                </a:defRPr>
              </a:lvl1pPr>
            </a:lstStyle>
            <a:p>
              <a:pPr marL="0" marR="0" lvl="0" indent="0" algn="ctr" defTabSz="586587" eaLnBrk="1" fontAlgn="auto" latinLnBrk="0" hangingPunct="0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>
                  <a:ln w="31750">
                    <a:solidFill>
                      <a:srgbClr val="FFFFFF"/>
                    </a:solidFill>
                  </a:ln>
                  <a:noFill/>
                </a:defRPr>
              </a:pPr>
              <a:r>
                <a:rPr kumimoji="0" lang="pt-BR" sz="4000" b="0" i="0" u="none" strike="noStrike" kern="0" cap="none" spc="0" normalizeH="0" baseline="0" noProof="0" dirty="0">
                  <a:ln w="50800"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Itau Display Black"/>
                  <a:sym typeface="Itau Display Black"/>
                </a:rPr>
                <a:t>~3.000</a:t>
              </a:r>
            </a:p>
          </p:txBody>
        </p:sp>
        <p:sp>
          <p:nvSpPr>
            <p:cNvPr id="47" name="CaixaDeTexto 46">
              <a:extLst>
                <a:ext uri="{FF2B5EF4-FFF2-40B4-BE49-F238E27FC236}">
                  <a16:creationId xmlns:a16="http://schemas.microsoft.com/office/drawing/2014/main" id="{54476559-AC87-4F2C-C937-7DE96C17796C}"/>
                </a:ext>
              </a:extLst>
            </p:cNvPr>
            <p:cNvSpPr txBox="1"/>
            <p:nvPr/>
          </p:nvSpPr>
          <p:spPr>
            <a:xfrm>
              <a:off x="2733702" y="1258393"/>
              <a:ext cx="257765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8E8E8">
                      <a:lumMod val="25000"/>
                    </a:srgbClr>
                  </a:solidFill>
                  <a:effectLst/>
                  <a:uLnTx/>
                  <a:uFillTx/>
                  <a:latin typeface="Itau Display" panose="020B0503020204020204" pitchFamily="34" charset="0"/>
                  <a:cs typeface="Itau Display" panose="020B0503020204020204" pitchFamily="34" charset="0"/>
                </a:rPr>
                <a:t>participaram de treinamentos em 2023</a:t>
              </a:r>
            </a:p>
          </p:txBody>
        </p:sp>
        <p:sp>
          <p:nvSpPr>
            <p:cNvPr id="48" name="Gráfico 13">
              <a:extLst>
                <a:ext uri="{FF2B5EF4-FFF2-40B4-BE49-F238E27FC236}">
                  <a16:creationId xmlns:a16="http://schemas.microsoft.com/office/drawing/2014/main" id="{ABF572A4-DF69-9769-68E7-FE316F2C7A8A}"/>
                </a:ext>
              </a:extLst>
            </p:cNvPr>
            <p:cNvSpPr/>
            <p:nvPr/>
          </p:nvSpPr>
          <p:spPr>
            <a:xfrm>
              <a:off x="9665757" y="1078416"/>
              <a:ext cx="1971016" cy="1040704"/>
            </a:xfrm>
            <a:prstGeom prst="roundRect">
              <a:avLst/>
            </a:prstGeom>
            <a:gradFill>
              <a:gsLst>
                <a:gs pos="68000">
                  <a:srgbClr val="FF6600"/>
                </a:gs>
                <a:gs pos="100000">
                  <a:srgbClr val="FFB601"/>
                </a:gs>
              </a:gsLst>
              <a:lin ang="5400000" scaled="1"/>
            </a:gradFill>
            <a:ln w="433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</a:endParaRPr>
            </a:p>
          </p:txBody>
        </p:sp>
        <p:pic>
          <p:nvPicPr>
            <p:cNvPr id="49" name="Imagem 48">
              <a:extLst>
                <a:ext uri="{FF2B5EF4-FFF2-40B4-BE49-F238E27FC236}">
                  <a16:creationId xmlns:a16="http://schemas.microsoft.com/office/drawing/2014/main" id="{1D459472-82C9-90EE-8178-BEA3D299EE2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26212" y="1386290"/>
              <a:ext cx="1512133" cy="452417"/>
            </a:xfrm>
            <a:prstGeom prst="rect">
              <a:avLst/>
            </a:prstGeom>
          </p:spPr>
        </p:pic>
        <p:cxnSp>
          <p:nvCxnSpPr>
            <p:cNvPr id="50" name="Conector reto 49">
              <a:extLst>
                <a:ext uri="{FF2B5EF4-FFF2-40B4-BE49-F238E27FC236}">
                  <a16:creationId xmlns:a16="http://schemas.microsoft.com/office/drawing/2014/main" id="{752D67ED-D0D0-190F-CAD8-B3A29FC62C90}"/>
                </a:ext>
              </a:extLst>
            </p:cNvPr>
            <p:cNvCxnSpPr>
              <a:cxnSpLocks/>
            </p:cNvCxnSpPr>
            <p:nvPr/>
          </p:nvCxnSpPr>
          <p:spPr>
            <a:xfrm>
              <a:off x="5231832" y="1232079"/>
              <a:ext cx="0" cy="646331"/>
            </a:xfrm>
            <a:prstGeom prst="line">
              <a:avLst/>
            </a:prstGeom>
            <a:noFill/>
            <a:ln w="12700" cap="flat" cmpd="sng" algn="ctr">
              <a:solidFill>
                <a:srgbClr val="E8E8E8">
                  <a:lumMod val="25000"/>
                </a:srgbClr>
              </a:solidFill>
              <a:prstDash val="solid"/>
              <a:miter lim="800000"/>
            </a:ln>
            <a:effectLst/>
          </p:spPr>
        </p:cxnSp>
      </p:grpSp>
      <p:sp>
        <p:nvSpPr>
          <p:cNvPr id="51" name="Elipse 50">
            <a:extLst>
              <a:ext uri="{FF2B5EF4-FFF2-40B4-BE49-F238E27FC236}">
                <a16:creationId xmlns:a16="http://schemas.microsoft.com/office/drawing/2014/main" id="{F8352BCE-5FA5-A4A3-5AD2-F2B2F6789E5F}"/>
              </a:ext>
            </a:extLst>
          </p:cNvPr>
          <p:cNvSpPr/>
          <p:nvPr/>
        </p:nvSpPr>
        <p:spPr>
          <a:xfrm>
            <a:off x="895561" y="5853119"/>
            <a:ext cx="208556" cy="208556"/>
          </a:xfrm>
          <a:prstGeom prst="ellipse">
            <a:avLst/>
          </a:prstGeom>
          <a:noFill/>
          <a:ln w="285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52" name="Imagem 51" descr="Texto&#10;&#10;Descrição gerada automaticamente">
            <a:extLst>
              <a:ext uri="{FF2B5EF4-FFF2-40B4-BE49-F238E27FC236}">
                <a16:creationId xmlns:a16="http://schemas.microsoft.com/office/drawing/2014/main" id="{A5EDB721-5E0D-A7CA-BA1C-7B99CC0AA70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7313" y="3052278"/>
            <a:ext cx="2044416" cy="2305405"/>
          </a:xfrm>
          <a:prstGeom prst="rect">
            <a:avLst/>
          </a:prstGeom>
        </p:spPr>
      </p:pic>
      <p:pic>
        <p:nvPicPr>
          <p:cNvPr id="53" name="Imagem 52">
            <a:extLst>
              <a:ext uri="{FF2B5EF4-FFF2-40B4-BE49-F238E27FC236}">
                <a16:creationId xmlns:a16="http://schemas.microsoft.com/office/drawing/2014/main" id="{9C29C8EB-5E1A-09F5-4C01-D5E61DF9A7E1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0599" y="2637420"/>
            <a:ext cx="2789638" cy="1214514"/>
          </a:xfrm>
          <a:prstGeom prst="rect">
            <a:avLst/>
          </a:prstGeom>
          <a:ln>
            <a:solidFill>
              <a:sysClr val="window" lastClr="FFFFFF">
                <a:lumMod val="85000"/>
              </a:sysClr>
            </a:solidFill>
          </a:ln>
        </p:spPr>
      </p:pic>
      <p:sp>
        <p:nvSpPr>
          <p:cNvPr id="54" name="juntos?">
            <a:extLst>
              <a:ext uri="{FF2B5EF4-FFF2-40B4-BE49-F238E27FC236}">
                <a16:creationId xmlns:a16="http://schemas.microsoft.com/office/drawing/2014/main" id="{B3FA9C34-12DC-66B7-D5EB-C4BD7E722DE2}"/>
              </a:ext>
            </a:extLst>
          </p:cNvPr>
          <p:cNvSpPr txBox="1"/>
          <p:nvPr/>
        </p:nvSpPr>
        <p:spPr>
          <a:xfrm>
            <a:off x="229001" y="1964313"/>
            <a:ext cx="1941672" cy="672233"/>
          </a:xfrm>
          <a:prstGeom prst="rect">
            <a:avLst/>
          </a:prstGeom>
          <a:ln w="12700">
            <a:noFill/>
            <a:miter lim="400000"/>
          </a:ln>
          <a:effectLst>
            <a:softEdge rad="0"/>
          </a:effectLst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8546" tIns="58546" rIns="58546" bIns="58546">
            <a:spAutoFit/>
          </a:bodyPr>
          <a:lstStyle>
            <a:lvl1pPr algn="l" defTabSz="782212">
              <a:lnSpc>
                <a:spcPct val="70000"/>
              </a:lnSpc>
              <a:defRPr sz="25000">
                <a:solidFill>
                  <a:srgbClr val="FFFFFF"/>
                </a:solidFill>
                <a:latin typeface="Itau Display Black"/>
                <a:ea typeface="Itau Display Black"/>
                <a:cs typeface="Itau Display Black"/>
                <a:sym typeface="Itau Display Black"/>
              </a:defRPr>
            </a:lvl1pPr>
          </a:lstStyle>
          <a:p>
            <a:pPr defTabSz="586587" hangingPunct="0">
              <a:lnSpc>
                <a:spcPct val="100000"/>
              </a:lnSpc>
              <a:defRPr>
                <a:ln w="31750">
                  <a:solidFill>
                    <a:srgbClr val="FFFFFF"/>
                  </a:solidFill>
                </a:ln>
                <a:noFill/>
              </a:defRPr>
            </a:pPr>
            <a:r>
              <a:rPr lang="pt-BR" sz="1800" b="1" kern="0" dirty="0">
                <a:ln w="50800">
                  <a:noFill/>
                </a:ln>
                <a:solidFill>
                  <a:srgbClr val="FF6903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Treinamento </a:t>
            </a:r>
          </a:p>
          <a:p>
            <a:pPr defTabSz="586587" hangingPunct="0">
              <a:lnSpc>
                <a:spcPct val="100000"/>
              </a:lnSpc>
              <a:defRPr>
                <a:ln w="31750">
                  <a:solidFill>
                    <a:srgbClr val="FFFFFF"/>
                  </a:solidFill>
                </a:ln>
                <a:noFill/>
              </a:defRPr>
            </a:pPr>
            <a:r>
              <a:rPr lang="pt-BR" sz="1800" b="1" kern="0" dirty="0">
                <a:ln w="50800">
                  <a:noFill/>
                </a:ln>
                <a:solidFill>
                  <a:srgbClr val="FF6903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gamificado</a:t>
            </a:r>
          </a:p>
        </p:txBody>
      </p:sp>
      <p:sp>
        <p:nvSpPr>
          <p:cNvPr id="55" name="juntos?">
            <a:extLst>
              <a:ext uri="{FF2B5EF4-FFF2-40B4-BE49-F238E27FC236}">
                <a16:creationId xmlns:a16="http://schemas.microsoft.com/office/drawing/2014/main" id="{E3DE0EEB-2FAE-CA3F-3461-7246644DA05C}"/>
              </a:ext>
            </a:extLst>
          </p:cNvPr>
          <p:cNvSpPr txBox="1"/>
          <p:nvPr/>
        </p:nvSpPr>
        <p:spPr>
          <a:xfrm>
            <a:off x="5482806" y="4638707"/>
            <a:ext cx="2494596" cy="395234"/>
          </a:xfrm>
          <a:prstGeom prst="rect">
            <a:avLst/>
          </a:prstGeom>
          <a:ln w="12700">
            <a:miter lim="400000"/>
          </a:ln>
          <a:effectLst>
            <a:glow rad="101600">
              <a:srgbClr val="0F9ED5">
                <a:satMod val="175000"/>
                <a:alpha val="40000"/>
              </a:srgbClr>
            </a:glow>
            <a:softEdge rad="0"/>
          </a:effectLst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8546" tIns="58546" rIns="58546" bIns="58546">
            <a:spAutoFit/>
          </a:bodyPr>
          <a:lstStyle>
            <a:lvl1pPr algn="l" defTabSz="782212">
              <a:lnSpc>
                <a:spcPct val="70000"/>
              </a:lnSpc>
              <a:defRPr sz="25000">
                <a:solidFill>
                  <a:srgbClr val="FFFFFF"/>
                </a:solidFill>
                <a:latin typeface="Itau Display Black"/>
                <a:ea typeface="Itau Display Black"/>
                <a:cs typeface="Itau Display Black"/>
                <a:sym typeface="Itau Display Black"/>
              </a:defRPr>
            </a:lvl1pPr>
          </a:lstStyle>
          <a:p>
            <a:pPr marL="0" marR="0" lvl="0" indent="0" algn="l" defTabSz="586587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ln w="31750">
                  <a:solidFill>
                    <a:srgbClr val="FFFFFF"/>
                  </a:solidFill>
                </a:ln>
                <a:noFill/>
              </a:defRPr>
            </a:pPr>
            <a:r>
              <a:rPr kumimoji="0" lang="pt-BR" sz="1800" b="1" i="0" u="none" strike="noStrike" kern="0" cap="none" spc="0" normalizeH="0" baseline="0" noProof="0" dirty="0">
                <a:ln w="50800">
                  <a:noFill/>
                </a:ln>
                <a:solidFill>
                  <a:srgbClr val="FF6903"/>
                </a:solidFill>
                <a:effectLst/>
                <a:uLnTx/>
                <a:uFillTx/>
                <a:latin typeface="Itau Display" panose="020B0503020204020204" pitchFamily="34" charset="0"/>
                <a:cs typeface="Itau Display" panose="020B0503020204020204" pitchFamily="34" charset="0"/>
                <a:sym typeface="Itau Display Black"/>
              </a:rPr>
              <a:t>Trilha Kaizen</a:t>
            </a:r>
          </a:p>
        </p:txBody>
      </p:sp>
      <p:sp>
        <p:nvSpPr>
          <p:cNvPr id="56" name="juntos?">
            <a:extLst>
              <a:ext uri="{FF2B5EF4-FFF2-40B4-BE49-F238E27FC236}">
                <a16:creationId xmlns:a16="http://schemas.microsoft.com/office/drawing/2014/main" id="{D90DF58B-EF93-2922-663B-E8E3A2BC9069}"/>
              </a:ext>
            </a:extLst>
          </p:cNvPr>
          <p:cNvSpPr txBox="1"/>
          <p:nvPr/>
        </p:nvSpPr>
        <p:spPr>
          <a:xfrm>
            <a:off x="263207" y="4565992"/>
            <a:ext cx="2117676" cy="672233"/>
          </a:xfrm>
          <a:prstGeom prst="rect">
            <a:avLst/>
          </a:prstGeom>
          <a:ln w="12700">
            <a:miter lim="400000"/>
          </a:ln>
          <a:effectLst>
            <a:glow rad="101600">
              <a:srgbClr val="0F9ED5">
                <a:satMod val="175000"/>
                <a:alpha val="40000"/>
              </a:srgbClr>
            </a:glow>
            <a:softEdge rad="0"/>
          </a:effectLst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8546" tIns="58546" rIns="58546" bIns="58546">
            <a:spAutoFit/>
          </a:bodyPr>
          <a:lstStyle>
            <a:lvl1pPr algn="l" defTabSz="782212">
              <a:lnSpc>
                <a:spcPct val="70000"/>
              </a:lnSpc>
              <a:defRPr sz="25000">
                <a:solidFill>
                  <a:srgbClr val="FFFFFF"/>
                </a:solidFill>
                <a:latin typeface="Itau Display Black"/>
                <a:ea typeface="Itau Display Black"/>
                <a:cs typeface="Itau Display Black"/>
                <a:sym typeface="Itau Display Black"/>
              </a:defRPr>
            </a:lvl1pPr>
          </a:lstStyle>
          <a:p>
            <a:pPr marL="0" marR="0" lvl="0" indent="0" algn="l" defTabSz="586587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ln w="31750">
                  <a:solidFill>
                    <a:srgbClr val="FFFFFF"/>
                  </a:solidFill>
                </a:ln>
                <a:noFill/>
              </a:defRPr>
            </a:pPr>
            <a:r>
              <a:rPr kumimoji="0" lang="pt-BR" sz="1800" b="1" i="0" u="none" strike="noStrike" kern="0" cap="none" spc="0" normalizeH="0" baseline="0" noProof="0" dirty="0">
                <a:ln w="50800">
                  <a:noFill/>
                </a:ln>
                <a:solidFill>
                  <a:srgbClr val="FF6903"/>
                </a:solidFill>
                <a:effectLst/>
                <a:uLnTx/>
                <a:uFillTx/>
                <a:latin typeface="Itau Display" panose="020B0503020204020204" pitchFamily="34" charset="0"/>
                <a:cs typeface="Itau Display" panose="020B0503020204020204" pitchFamily="34" charset="0"/>
                <a:sym typeface="Itau Display Black"/>
              </a:rPr>
              <a:t>Parcerias Trilha da Qualidade e MSP</a:t>
            </a:r>
          </a:p>
        </p:txBody>
      </p:sp>
      <p:sp>
        <p:nvSpPr>
          <p:cNvPr id="57" name="juntos?">
            <a:extLst>
              <a:ext uri="{FF2B5EF4-FFF2-40B4-BE49-F238E27FC236}">
                <a16:creationId xmlns:a16="http://schemas.microsoft.com/office/drawing/2014/main" id="{9CC28449-CBA9-F3AD-64E4-02E680657A4E}"/>
              </a:ext>
            </a:extLst>
          </p:cNvPr>
          <p:cNvSpPr txBox="1"/>
          <p:nvPr/>
        </p:nvSpPr>
        <p:spPr>
          <a:xfrm>
            <a:off x="6150599" y="1981081"/>
            <a:ext cx="2741267" cy="672233"/>
          </a:xfrm>
          <a:prstGeom prst="rect">
            <a:avLst/>
          </a:prstGeom>
          <a:ln w="12700">
            <a:noFill/>
            <a:miter lim="400000"/>
          </a:ln>
          <a:effectLst>
            <a:softEdge rad="0"/>
          </a:effectLst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8546" tIns="58546" rIns="58546" bIns="58546">
            <a:spAutoFit/>
          </a:bodyPr>
          <a:lstStyle>
            <a:lvl1pPr algn="l" defTabSz="782212">
              <a:lnSpc>
                <a:spcPct val="70000"/>
              </a:lnSpc>
              <a:defRPr sz="25000">
                <a:solidFill>
                  <a:srgbClr val="FFFFFF"/>
                </a:solidFill>
                <a:latin typeface="Itau Display Black"/>
                <a:ea typeface="Itau Display Black"/>
                <a:cs typeface="Itau Display Black"/>
                <a:sym typeface="Itau Display Black"/>
              </a:defRPr>
            </a:lvl1pPr>
          </a:lstStyle>
          <a:p>
            <a:pPr defTabSz="586587" hangingPunct="0">
              <a:lnSpc>
                <a:spcPct val="100000"/>
              </a:lnSpc>
              <a:defRPr>
                <a:ln w="31750">
                  <a:solidFill>
                    <a:srgbClr val="FFFFFF"/>
                  </a:solidFill>
                </a:ln>
                <a:noFill/>
              </a:defRPr>
            </a:pPr>
            <a:r>
              <a:rPr lang="pt-BR" sz="1800" b="1" kern="0" dirty="0">
                <a:ln w="50800">
                  <a:noFill/>
                </a:ln>
                <a:solidFill>
                  <a:srgbClr val="FF6903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Sessões de </a:t>
            </a:r>
          </a:p>
          <a:p>
            <a:pPr defTabSz="586587" hangingPunct="0">
              <a:lnSpc>
                <a:spcPct val="100000"/>
              </a:lnSpc>
              <a:defRPr>
                <a:ln w="31750">
                  <a:solidFill>
                    <a:srgbClr val="FFFFFF"/>
                  </a:solidFill>
                </a:ln>
                <a:noFill/>
              </a:defRPr>
            </a:pPr>
            <a:r>
              <a:rPr lang="pt-BR" sz="1800" b="1" kern="0" dirty="0">
                <a:ln w="50800">
                  <a:noFill/>
                </a:ln>
                <a:solidFill>
                  <a:srgbClr val="FF6903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Design Thinking </a:t>
            </a:r>
          </a:p>
        </p:txBody>
      </p:sp>
      <p:sp>
        <p:nvSpPr>
          <p:cNvPr id="58" name="juntos?">
            <a:extLst>
              <a:ext uri="{FF2B5EF4-FFF2-40B4-BE49-F238E27FC236}">
                <a16:creationId xmlns:a16="http://schemas.microsoft.com/office/drawing/2014/main" id="{A960606A-B926-7B98-B585-2FCB1452C539}"/>
              </a:ext>
            </a:extLst>
          </p:cNvPr>
          <p:cNvSpPr txBox="1"/>
          <p:nvPr/>
        </p:nvSpPr>
        <p:spPr>
          <a:xfrm>
            <a:off x="3116905" y="2104951"/>
            <a:ext cx="2494596" cy="395234"/>
          </a:xfrm>
          <a:prstGeom prst="rect">
            <a:avLst/>
          </a:prstGeom>
          <a:ln w="12700">
            <a:noFill/>
            <a:miter lim="400000"/>
          </a:ln>
          <a:effectLst>
            <a:softEdge rad="0"/>
          </a:effectLst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8546" tIns="58546" rIns="58546" bIns="58546">
            <a:spAutoFit/>
          </a:bodyPr>
          <a:lstStyle>
            <a:lvl1pPr algn="l" defTabSz="782212">
              <a:lnSpc>
                <a:spcPct val="70000"/>
              </a:lnSpc>
              <a:defRPr sz="25000">
                <a:solidFill>
                  <a:srgbClr val="FFFFFF"/>
                </a:solidFill>
                <a:latin typeface="Itau Display Black"/>
                <a:ea typeface="Itau Display Black"/>
                <a:cs typeface="Itau Display Black"/>
                <a:sym typeface="Itau Display Black"/>
              </a:defRPr>
            </a:lvl1pPr>
          </a:lstStyle>
          <a:p>
            <a:pPr defTabSz="586587" hangingPunct="0">
              <a:lnSpc>
                <a:spcPct val="100000"/>
              </a:lnSpc>
              <a:defRPr>
                <a:ln w="31750">
                  <a:solidFill>
                    <a:srgbClr val="FFFFFF"/>
                  </a:solidFill>
                </a:ln>
                <a:noFill/>
              </a:defRPr>
            </a:pPr>
            <a:r>
              <a:rPr lang="pt-BR" sz="1800" b="1" kern="0">
                <a:ln w="50800">
                  <a:noFill/>
                </a:ln>
                <a:solidFill>
                  <a:srgbClr val="FF6903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OFM</a:t>
            </a:r>
          </a:p>
        </p:txBody>
      </p:sp>
      <p:sp>
        <p:nvSpPr>
          <p:cNvPr id="59" name="juntos?">
            <a:extLst>
              <a:ext uri="{FF2B5EF4-FFF2-40B4-BE49-F238E27FC236}">
                <a16:creationId xmlns:a16="http://schemas.microsoft.com/office/drawing/2014/main" id="{8342D29C-5235-2CEB-522E-305E3FA4C1CC}"/>
              </a:ext>
            </a:extLst>
          </p:cNvPr>
          <p:cNvSpPr txBox="1"/>
          <p:nvPr/>
        </p:nvSpPr>
        <p:spPr>
          <a:xfrm>
            <a:off x="2451993" y="4662940"/>
            <a:ext cx="2494596" cy="395234"/>
          </a:xfrm>
          <a:prstGeom prst="rect">
            <a:avLst/>
          </a:prstGeom>
          <a:ln w="12700">
            <a:miter lim="400000"/>
          </a:ln>
          <a:effectLst>
            <a:glow rad="101600">
              <a:srgbClr val="0F9ED5">
                <a:satMod val="175000"/>
                <a:alpha val="40000"/>
              </a:srgbClr>
            </a:glow>
            <a:softEdge rad="0"/>
          </a:effectLst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8546" tIns="58546" rIns="58546" bIns="58546">
            <a:spAutoFit/>
          </a:bodyPr>
          <a:lstStyle>
            <a:lvl1pPr algn="l" defTabSz="782212">
              <a:lnSpc>
                <a:spcPct val="70000"/>
              </a:lnSpc>
              <a:defRPr sz="25000">
                <a:solidFill>
                  <a:srgbClr val="FFFFFF"/>
                </a:solidFill>
                <a:latin typeface="Itau Display Black"/>
                <a:ea typeface="Itau Display Black"/>
                <a:cs typeface="Itau Display Black"/>
                <a:sym typeface="Itau Display Black"/>
              </a:defRPr>
            </a:lvl1pPr>
          </a:lstStyle>
          <a:p>
            <a:pPr marL="0" marR="0" lvl="0" indent="0" algn="ctr" defTabSz="586587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ln w="31750">
                  <a:solidFill>
                    <a:srgbClr val="FFFFFF"/>
                  </a:solidFill>
                </a:ln>
                <a:noFill/>
              </a:defRPr>
            </a:pPr>
            <a:r>
              <a:rPr kumimoji="0" lang="pt-BR" sz="1800" b="1" i="0" u="none" strike="noStrike" kern="0" cap="none" spc="0" normalizeH="0" baseline="0" noProof="0">
                <a:ln w="50800">
                  <a:noFill/>
                </a:ln>
                <a:solidFill>
                  <a:srgbClr val="FF6903"/>
                </a:solidFill>
                <a:effectLst/>
                <a:uLnTx/>
                <a:uFillTx/>
                <a:latin typeface="Itau Display" panose="020B0503020204020204" pitchFamily="34" charset="0"/>
                <a:cs typeface="Itau Display" panose="020B0503020204020204" pitchFamily="34" charset="0"/>
                <a:sym typeface="Itau Display Black"/>
              </a:rPr>
              <a:t>Trilha Lean</a:t>
            </a:r>
          </a:p>
        </p:txBody>
      </p:sp>
      <p:pic>
        <p:nvPicPr>
          <p:cNvPr id="60" name="Imagem 59">
            <a:extLst>
              <a:ext uri="{FF2B5EF4-FFF2-40B4-BE49-F238E27FC236}">
                <a16:creationId xmlns:a16="http://schemas.microsoft.com/office/drawing/2014/main" id="{2EDBEBAD-5EE9-1101-961D-E8736FAB20C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119"/>
          <a:stretch/>
        </p:blipFill>
        <p:spPr>
          <a:xfrm>
            <a:off x="5494145" y="5014722"/>
            <a:ext cx="2146079" cy="1442466"/>
          </a:xfrm>
          <a:prstGeom prst="rect">
            <a:avLst/>
          </a:prstGeom>
          <a:ln>
            <a:solidFill>
              <a:sysClr val="window" lastClr="FFFFFF">
                <a:lumMod val="85000"/>
              </a:sysClr>
            </a:solidFill>
          </a:ln>
        </p:spPr>
      </p:pic>
      <p:pic>
        <p:nvPicPr>
          <p:cNvPr id="61" name="Imagem 60">
            <a:extLst>
              <a:ext uri="{FF2B5EF4-FFF2-40B4-BE49-F238E27FC236}">
                <a16:creationId xmlns:a16="http://schemas.microsoft.com/office/drawing/2014/main" id="{BFBBB836-5AFF-F018-70D9-4FB1C0544C27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7314" y="5189039"/>
            <a:ext cx="756000" cy="756000"/>
          </a:xfrm>
          <a:prstGeom prst="rect">
            <a:avLst/>
          </a:prstGeom>
        </p:spPr>
      </p:pic>
      <p:pic>
        <p:nvPicPr>
          <p:cNvPr id="62" name="Imagem 61">
            <a:extLst>
              <a:ext uri="{FF2B5EF4-FFF2-40B4-BE49-F238E27FC236}">
                <a16:creationId xmlns:a16="http://schemas.microsoft.com/office/drawing/2014/main" id="{C612D951-07C3-5C1B-B611-085A0DCBCCC5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2962870" y="5189039"/>
            <a:ext cx="756000" cy="756000"/>
          </a:xfrm>
          <a:prstGeom prst="rect">
            <a:avLst/>
          </a:prstGeom>
        </p:spPr>
      </p:pic>
      <p:pic>
        <p:nvPicPr>
          <p:cNvPr id="63" name="Imagem 62">
            <a:extLst>
              <a:ext uri="{FF2B5EF4-FFF2-40B4-BE49-F238E27FC236}">
                <a16:creationId xmlns:a16="http://schemas.microsoft.com/office/drawing/2014/main" id="{6E09EA98-58B2-F2F2-AF5C-0073C598C2D7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0425" y="5917917"/>
            <a:ext cx="756000" cy="756000"/>
          </a:xfrm>
          <a:prstGeom prst="rect">
            <a:avLst/>
          </a:prstGeom>
        </p:spPr>
      </p:pic>
      <p:pic>
        <p:nvPicPr>
          <p:cNvPr id="64" name="Picture 4">
            <a:extLst>
              <a:ext uri="{FF2B5EF4-FFF2-40B4-BE49-F238E27FC236}">
                <a16:creationId xmlns:a16="http://schemas.microsoft.com/office/drawing/2014/main" id="{857D20C7-9C81-2181-92BE-10DD6065A1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874" y="5236951"/>
            <a:ext cx="723600" cy="72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2">
            <a:extLst>
              <a:ext uri="{FF2B5EF4-FFF2-40B4-BE49-F238E27FC236}">
                <a16:creationId xmlns:a16="http://schemas.microsoft.com/office/drawing/2014/main" id="{A7C4EF4F-F478-0F12-49B5-8D334857E90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112942" y="2526892"/>
            <a:ext cx="2494596" cy="12268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Imagem 65">
            <a:extLst>
              <a:ext uri="{FF2B5EF4-FFF2-40B4-BE49-F238E27FC236}">
                <a16:creationId xmlns:a16="http://schemas.microsoft.com/office/drawing/2014/main" id="{4FCD7108-93A3-FDDC-6166-6613BF42D057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59472" y="5465967"/>
            <a:ext cx="2146079" cy="1207950"/>
          </a:xfrm>
          <a:prstGeom prst="rect">
            <a:avLst/>
          </a:prstGeom>
          <a:ln>
            <a:solidFill>
              <a:sysClr val="window" lastClr="FFFFFF">
                <a:lumMod val="85000"/>
              </a:sysClr>
            </a:solidFill>
          </a:ln>
        </p:spPr>
      </p:pic>
      <p:pic>
        <p:nvPicPr>
          <p:cNvPr id="67" name="Imagem 66" descr="Diagrama&#10;&#10;Descrição gerada automaticamente">
            <a:extLst>
              <a:ext uri="{FF2B5EF4-FFF2-40B4-BE49-F238E27FC236}">
                <a16:creationId xmlns:a16="http://schemas.microsoft.com/office/drawing/2014/main" id="{B9D36355-C52E-B9E7-2042-C1FDA4A70D15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6209" y="5236951"/>
            <a:ext cx="723600" cy="723600"/>
          </a:xfrm>
          <a:prstGeom prst="rect">
            <a:avLst/>
          </a:prstGeom>
        </p:spPr>
      </p:pic>
      <p:pic>
        <p:nvPicPr>
          <p:cNvPr id="68" name="Imagem 67" descr="Uma imagem contendo objeto, relógio, placa&#10;&#10;Descrição gerada automaticamente">
            <a:extLst>
              <a:ext uri="{FF2B5EF4-FFF2-40B4-BE49-F238E27FC236}">
                <a16:creationId xmlns:a16="http://schemas.microsoft.com/office/drawing/2014/main" id="{ED4F16D6-C4AD-333E-6277-7AB1B6948E8F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269" y="5950317"/>
            <a:ext cx="723600" cy="723600"/>
          </a:xfrm>
          <a:prstGeom prst="rect">
            <a:avLst/>
          </a:prstGeom>
        </p:spPr>
      </p:pic>
      <p:pic>
        <p:nvPicPr>
          <p:cNvPr id="69" name="Imagem 68">
            <a:extLst>
              <a:ext uri="{FF2B5EF4-FFF2-40B4-BE49-F238E27FC236}">
                <a16:creationId xmlns:a16="http://schemas.microsoft.com/office/drawing/2014/main" id="{FA485C62-5471-8538-0084-0489EF196ECD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14258" y="5310186"/>
            <a:ext cx="1137139" cy="1356210"/>
          </a:xfrm>
          <a:prstGeom prst="rect">
            <a:avLst/>
          </a:prstGeom>
          <a:ln>
            <a:solidFill>
              <a:sysClr val="window" lastClr="FFFFFF">
                <a:lumMod val="85000"/>
              </a:sysClr>
            </a:solidFill>
          </a:ln>
        </p:spPr>
      </p:pic>
      <p:sp>
        <p:nvSpPr>
          <p:cNvPr id="70" name="juntos?">
            <a:extLst>
              <a:ext uri="{FF2B5EF4-FFF2-40B4-BE49-F238E27FC236}">
                <a16:creationId xmlns:a16="http://schemas.microsoft.com/office/drawing/2014/main" id="{B927F61C-083C-6F63-D3E2-25705654FC20}"/>
              </a:ext>
            </a:extLst>
          </p:cNvPr>
          <p:cNvSpPr txBox="1"/>
          <p:nvPr/>
        </p:nvSpPr>
        <p:spPr>
          <a:xfrm>
            <a:off x="9806756" y="4577453"/>
            <a:ext cx="2146079" cy="672233"/>
          </a:xfrm>
          <a:prstGeom prst="rect">
            <a:avLst/>
          </a:prstGeom>
          <a:ln w="12700">
            <a:miter lim="400000"/>
          </a:ln>
          <a:effectLst>
            <a:glow rad="101600">
              <a:srgbClr val="0F9ED5">
                <a:satMod val="175000"/>
                <a:alpha val="40000"/>
              </a:srgbClr>
            </a:glow>
            <a:softEdge rad="0"/>
          </a:effectLst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8546" tIns="58546" rIns="58546" bIns="58546">
            <a:spAutoFit/>
          </a:bodyPr>
          <a:lstStyle>
            <a:lvl1pPr algn="l" defTabSz="782212">
              <a:lnSpc>
                <a:spcPct val="70000"/>
              </a:lnSpc>
              <a:defRPr sz="25000">
                <a:solidFill>
                  <a:srgbClr val="FFFFFF"/>
                </a:solidFill>
                <a:latin typeface="Itau Display Black"/>
                <a:ea typeface="Itau Display Black"/>
                <a:cs typeface="Itau Display Black"/>
                <a:sym typeface="Itau Display Black"/>
              </a:defRPr>
            </a:lvl1pPr>
          </a:lstStyle>
          <a:p>
            <a:pPr marL="0" marR="0" lvl="0" indent="0" algn="l" defTabSz="586587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ln w="31750">
                  <a:solidFill>
                    <a:srgbClr val="FFFFFF"/>
                  </a:solidFill>
                </a:ln>
                <a:noFill/>
              </a:defRPr>
            </a:pPr>
            <a:r>
              <a:rPr kumimoji="0" lang="pt-BR" sz="1800" b="1" i="0" u="none" strike="noStrike" kern="0" cap="none" spc="0" normalizeH="0" baseline="0" noProof="0" dirty="0">
                <a:ln w="50800">
                  <a:noFill/>
                </a:ln>
                <a:solidFill>
                  <a:srgbClr val="FF6903"/>
                </a:solidFill>
                <a:effectLst/>
                <a:uLnTx/>
                <a:uFillTx/>
                <a:latin typeface="Itau Display" panose="020B0503020204020204" pitchFamily="34" charset="0"/>
                <a:cs typeface="Itau Display" panose="020B0503020204020204" pitchFamily="34" charset="0"/>
                <a:sym typeface="Itau Display Black"/>
              </a:rPr>
              <a:t>Guia de </a:t>
            </a:r>
          </a:p>
          <a:p>
            <a:pPr marL="0" marR="0" lvl="0" indent="0" algn="l" defTabSz="586587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ln w="31750">
                  <a:solidFill>
                    <a:srgbClr val="FFFFFF"/>
                  </a:solidFill>
                </a:ln>
                <a:noFill/>
              </a:defRPr>
            </a:pPr>
            <a:r>
              <a:rPr kumimoji="0" lang="pt-BR" sz="1800" b="1" i="0" u="none" strike="noStrike" kern="0" cap="none" spc="0" normalizeH="0" baseline="0" noProof="0" dirty="0">
                <a:ln w="50800">
                  <a:noFill/>
                </a:ln>
                <a:solidFill>
                  <a:srgbClr val="FF6903"/>
                </a:solidFill>
                <a:effectLst/>
                <a:uLnTx/>
                <a:uFillTx/>
                <a:latin typeface="Itau Display" panose="020B0503020204020204" pitchFamily="34" charset="0"/>
                <a:cs typeface="Itau Display" panose="020B0503020204020204" pitchFamily="34" charset="0"/>
                <a:sym typeface="Itau Display Black"/>
              </a:rPr>
              <a:t>ferramentas KPO</a:t>
            </a:r>
          </a:p>
        </p:txBody>
      </p:sp>
      <p:sp>
        <p:nvSpPr>
          <p:cNvPr id="71" name="CaixaDeTexto 70">
            <a:extLst>
              <a:ext uri="{FF2B5EF4-FFF2-40B4-BE49-F238E27FC236}">
                <a16:creationId xmlns:a16="http://schemas.microsoft.com/office/drawing/2014/main" id="{1B7D5096-D6E5-AAA1-1DB0-3D279385CA5A}"/>
              </a:ext>
            </a:extLst>
          </p:cNvPr>
          <p:cNvSpPr txBox="1"/>
          <p:nvPr/>
        </p:nvSpPr>
        <p:spPr>
          <a:xfrm>
            <a:off x="9388872" y="2183116"/>
            <a:ext cx="1126912" cy="27699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rtlCol="0">
            <a:spAutoFit/>
          </a:bodyPr>
          <a:lstStyle/>
          <a:p>
            <a:pPr>
              <a:defRPr/>
            </a:pPr>
            <a:r>
              <a:rPr lang="pt-BR" b="1" kern="0" dirty="0">
                <a:ln w="50800">
                  <a:noFill/>
                </a:ln>
                <a:solidFill>
                  <a:srgbClr val="FF6903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Itau Display Black"/>
              </a:rPr>
              <a:t>Workshops</a:t>
            </a:r>
          </a:p>
        </p:txBody>
      </p:sp>
      <p:pic>
        <p:nvPicPr>
          <p:cNvPr id="72" name="Imagem 71">
            <a:extLst>
              <a:ext uri="{FF2B5EF4-FFF2-40B4-BE49-F238E27FC236}">
                <a16:creationId xmlns:a16="http://schemas.microsoft.com/office/drawing/2014/main" id="{D0DCB02B-24B5-4B3B-A122-0F2A7B6A41E8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439" y="2609104"/>
            <a:ext cx="2207718" cy="1185974"/>
          </a:xfrm>
          <a:prstGeom prst="rect">
            <a:avLst/>
          </a:prstGeom>
        </p:spPr>
      </p:pic>
      <p:pic>
        <p:nvPicPr>
          <p:cNvPr id="73" name="Imagem 72">
            <a:extLst>
              <a:ext uri="{FF2B5EF4-FFF2-40B4-BE49-F238E27FC236}">
                <a16:creationId xmlns:a16="http://schemas.microsoft.com/office/drawing/2014/main" id="{8AF7CC60-C8DE-166B-3863-C4FC4841EFCE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745" y="3197001"/>
            <a:ext cx="2187912" cy="1215815"/>
          </a:xfrm>
          <a:prstGeom prst="rect">
            <a:avLst/>
          </a:prstGeom>
        </p:spPr>
      </p:pic>
      <p:pic>
        <p:nvPicPr>
          <p:cNvPr id="74" name="Picture 2">
            <a:extLst>
              <a:ext uri="{FF2B5EF4-FFF2-40B4-BE49-F238E27FC236}">
                <a16:creationId xmlns:a16="http://schemas.microsoft.com/office/drawing/2014/main" id="{BFCD1A65-04A3-884C-69F6-D9F57BF47B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1071" y="5855697"/>
            <a:ext cx="836542" cy="830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4">
            <a:extLst>
              <a:ext uri="{FF2B5EF4-FFF2-40B4-BE49-F238E27FC236}">
                <a16:creationId xmlns:a16="http://schemas.microsoft.com/office/drawing/2014/main" id="{6B09FFE1-927F-A42E-BE29-F5AA3DF60CA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656"/>
          <a:stretch/>
        </p:blipFill>
        <p:spPr bwMode="auto">
          <a:xfrm>
            <a:off x="4335677" y="5880401"/>
            <a:ext cx="821290" cy="877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6" name="Google Shape;181;p7">
            <a:extLst>
              <a:ext uri="{FF2B5EF4-FFF2-40B4-BE49-F238E27FC236}">
                <a16:creationId xmlns:a16="http://schemas.microsoft.com/office/drawing/2014/main" id="{00D74204-4A59-F6B7-DC1A-2A7DB0C2A45B}"/>
              </a:ext>
            </a:extLst>
          </p:cNvPr>
          <p:cNvSpPr txBox="1"/>
          <p:nvPr/>
        </p:nvSpPr>
        <p:spPr>
          <a:xfrm>
            <a:off x="482600" y="310634"/>
            <a:ext cx="6096000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pt-BR" sz="2400" b="1" i="0" u="none" strike="noStrike" cap="none" dirty="0">
                <a:solidFill>
                  <a:srgbClr val="8F53FF"/>
                </a:solidFill>
                <a:latin typeface="Poppins"/>
                <a:ea typeface="Poppins"/>
                <a:cs typeface="Poppins"/>
                <a:sym typeface="Poppins"/>
              </a:rPr>
              <a:t>Capacitações...</a:t>
            </a:r>
            <a:endParaRPr sz="24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0571948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Google Shape;181;p7">
            <a:extLst>
              <a:ext uri="{FF2B5EF4-FFF2-40B4-BE49-F238E27FC236}">
                <a16:creationId xmlns:a16="http://schemas.microsoft.com/office/drawing/2014/main" id="{00D74204-4A59-F6B7-DC1A-2A7DB0C2A45B}"/>
              </a:ext>
            </a:extLst>
          </p:cNvPr>
          <p:cNvSpPr txBox="1"/>
          <p:nvPr/>
        </p:nvSpPr>
        <p:spPr>
          <a:xfrm>
            <a:off x="482600" y="310634"/>
            <a:ext cx="6096000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pt-BR" sz="2400" b="1" dirty="0">
                <a:solidFill>
                  <a:srgbClr val="8F53FF"/>
                </a:solidFill>
                <a:latin typeface="Poppins"/>
                <a:ea typeface="Poppins"/>
                <a:cs typeface="Poppins"/>
                <a:sym typeface="Poppins"/>
              </a:rPr>
              <a:t>Nossa jornada até aqui</a:t>
            </a:r>
            <a:r>
              <a:rPr lang="pt-BR" sz="2400" b="1" i="0" u="none" strike="noStrike" cap="none" dirty="0">
                <a:solidFill>
                  <a:srgbClr val="8F53FF"/>
                </a:solidFill>
                <a:latin typeface="Poppins"/>
                <a:ea typeface="Poppins"/>
                <a:cs typeface="Poppins"/>
                <a:sym typeface="Poppins"/>
              </a:rPr>
              <a:t>...</a:t>
            </a:r>
            <a:endParaRPr sz="24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50" name="Imagem 349" descr="Texto&#10;&#10;Descrição gerada automaticamente">
            <a:extLst>
              <a:ext uri="{FF2B5EF4-FFF2-40B4-BE49-F238E27FC236}">
                <a16:creationId xmlns:a16="http://schemas.microsoft.com/office/drawing/2014/main" id="{4C1A5A12-0E7A-7D70-535C-9A860B1957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73789" y="2575166"/>
            <a:ext cx="2044416" cy="2305405"/>
          </a:xfrm>
          <a:prstGeom prst="rect">
            <a:avLst/>
          </a:prstGeom>
        </p:spPr>
      </p:pic>
      <p:grpSp>
        <p:nvGrpSpPr>
          <p:cNvPr id="362" name="Agrupar 361">
            <a:extLst>
              <a:ext uri="{FF2B5EF4-FFF2-40B4-BE49-F238E27FC236}">
                <a16:creationId xmlns:a16="http://schemas.microsoft.com/office/drawing/2014/main" id="{72EEA4F3-980D-23C1-84A9-C568F70D7286}"/>
              </a:ext>
            </a:extLst>
          </p:cNvPr>
          <p:cNvGrpSpPr/>
          <p:nvPr/>
        </p:nvGrpSpPr>
        <p:grpSpPr>
          <a:xfrm>
            <a:off x="261589" y="1422267"/>
            <a:ext cx="11794936" cy="1341375"/>
            <a:chOff x="334399" y="2093565"/>
            <a:chExt cx="11794936" cy="1341375"/>
          </a:xfrm>
        </p:grpSpPr>
        <p:sp>
          <p:nvSpPr>
            <p:cNvPr id="363" name="CaixaDeTexto 362">
              <a:extLst>
                <a:ext uri="{FF2B5EF4-FFF2-40B4-BE49-F238E27FC236}">
                  <a16:creationId xmlns:a16="http://schemas.microsoft.com/office/drawing/2014/main" id="{CD90BBF7-8BE6-3DAA-99CA-750F84065A49}"/>
                </a:ext>
              </a:extLst>
            </p:cNvPr>
            <p:cNvSpPr txBox="1"/>
            <p:nvPr/>
          </p:nvSpPr>
          <p:spPr>
            <a:xfrm rot="5400000">
              <a:off x="11304760" y="2610364"/>
              <a:ext cx="134137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pt-BR" sz="1400" b="1" kern="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Itau Display XBold" panose="020B0803020204020204" pitchFamily="34" charset="0"/>
                  <a:cs typeface="Itau Display XBold" panose="020B0803020204020204" pitchFamily="34" charset="0"/>
                </a:rPr>
                <a:t>Evolução</a:t>
              </a:r>
              <a:endParaRPr lang="pt-BR" sz="1400" b="1" kern="0" dirty="0">
                <a:solidFill>
                  <a:srgbClr val="00B050"/>
                </a:solidFill>
                <a:latin typeface="Itau Display XBold" panose="020B0803020204020204" pitchFamily="34" charset="0"/>
                <a:cs typeface="Itau Display XBold" panose="020B0803020204020204" pitchFamily="34" charset="0"/>
              </a:endParaRPr>
            </a:p>
          </p:txBody>
        </p:sp>
        <p:sp>
          <p:nvSpPr>
            <p:cNvPr id="364" name="Seta para a Direita 11">
              <a:extLst>
                <a:ext uri="{FF2B5EF4-FFF2-40B4-BE49-F238E27FC236}">
                  <a16:creationId xmlns:a16="http://schemas.microsoft.com/office/drawing/2014/main" id="{AAFEC157-5997-2D9A-DDEC-202112EC3D31}"/>
                </a:ext>
              </a:extLst>
            </p:cNvPr>
            <p:cNvSpPr/>
            <p:nvPr/>
          </p:nvSpPr>
          <p:spPr>
            <a:xfrm>
              <a:off x="634772" y="2662380"/>
              <a:ext cx="11160000" cy="135400"/>
            </a:xfrm>
            <a:prstGeom prst="rightArrow">
              <a:avLst/>
            </a:prstGeom>
            <a:solidFill>
              <a:srgbClr val="96969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pt-BR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65" name="Isosceles Triangle 1">
              <a:extLst>
                <a:ext uri="{FF2B5EF4-FFF2-40B4-BE49-F238E27FC236}">
                  <a16:creationId xmlns:a16="http://schemas.microsoft.com/office/drawing/2014/main" id="{8D6AD14C-463A-7823-C455-0EC5A46021CC}"/>
                </a:ext>
              </a:extLst>
            </p:cNvPr>
            <p:cNvSpPr/>
            <p:nvPr/>
          </p:nvSpPr>
          <p:spPr>
            <a:xfrm rot="10800000">
              <a:off x="405527" y="2093565"/>
              <a:ext cx="1260141" cy="457198"/>
            </a:xfrm>
            <a:custGeom>
              <a:avLst/>
              <a:gdLst/>
              <a:ahLst/>
              <a:cxnLst/>
              <a:rect l="l" t="t" r="r" b="b"/>
              <a:pathLst>
                <a:path w="1080000" h="1368874">
                  <a:moveTo>
                    <a:pt x="1080000" y="1368874"/>
                  </a:moveTo>
                  <a:lnTo>
                    <a:pt x="0" y="1368874"/>
                  </a:lnTo>
                  <a:lnTo>
                    <a:pt x="0" y="288874"/>
                  </a:lnTo>
                  <a:lnTo>
                    <a:pt x="372453" y="288874"/>
                  </a:lnTo>
                  <a:lnTo>
                    <a:pt x="540000" y="0"/>
                  </a:lnTo>
                  <a:lnTo>
                    <a:pt x="707547" y="288874"/>
                  </a:lnTo>
                  <a:lnTo>
                    <a:pt x="1080000" y="288874"/>
                  </a:lnTo>
                  <a:close/>
                </a:path>
              </a:pathLst>
            </a:custGeom>
            <a:solidFill>
              <a:srgbClr val="404040"/>
            </a:solidFill>
            <a:ln w="889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286">
                <a:defRPr/>
              </a:pPr>
              <a:endParaRPr lang="ko-KR" altLang="en-US" sz="2700" kern="0">
                <a:solidFill>
                  <a:prstClr val="white"/>
                </a:solidFill>
                <a:latin typeface="Calibri" panose="020F0502020204030204"/>
                <a:ea typeface="맑은 고딕" panose="020B0503020000020004" pitchFamily="34" charset="-127"/>
              </a:endParaRPr>
            </a:p>
          </p:txBody>
        </p:sp>
        <p:sp>
          <p:nvSpPr>
            <p:cNvPr id="366" name="CaixaDeTexto 365">
              <a:extLst>
                <a:ext uri="{FF2B5EF4-FFF2-40B4-BE49-F238E27FC236}">
                  <a16:creationId xmlns:a16="http://schemas.microsoft.com/office/drawing/2014/main" id="{B4E67260-6243-B17D-C87F-EB58B3E4FDD8}"/>
                </a:ext>
              </a:extLst>
            </p:cNvPr>
            <p:cNvSpPr txBox="1"/>
            <p:nvPr/>
          </p:nvSpPr>
          <p:spPr>
            <a:xfrm>
              <a:off x="642011" y="2108692"/>
              <a:ext cx="108763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pt-BR" sz="1400" kern="0">
                  <a:solidFill>
                    <a:prstClr val="white"/>
                  </a:solidFill>
                  <a:latin typeface="Itau Display Light" panose="020B0403020204020204" pitchFamily="34" charset="0"/>
                  <a:cs typeface="Itau Display Light" panose="020B0403020204020204" pitchFamily="34" charset="0"/>
                </a:rPr>
                <a:t>criação</a:t>
              </a:r>
            </a:p>
          </p:txBody>
        </p:sp>
        <p:sp>
          <p:nvSpPr>
            <p:cNvPr id="367" name="Isosceles Triangle 1">
              <a:extLst>
                <a:ext uri="{FF2B5EF4-FFF2-40B4-BE49-F238E27FC236}">
                  <a16:creationId xmlns:a16="http://schemas.microsoft.com/office/drawing/2014/main" id="{826FC2F1-7561-B07B-CD6C-DDAD3633199C}"/>
                </a:ext>
              </a:extLst>
            </p:cNvPr>
            <p:cNvSpPr/>
            <p:nvPr/>
          </p:nvSpPr>
          <p:spPr>
            <a:xfrm>
              <a:off x="1388299" y="2926903"/>
              <a:ext cx="1260141" cy="457198"/>
            </a:xfrm>
            <a:custGeom>
              <a:avLst/>
              <a:gdLst/>
              <a:ahLst/>
              <a:cxnLst/>
              <a:rect l="l" t="t" r="r" b="b"/>
              <a:pathLst>
                <a:path w="1080000" h="1368874">
                  <a:moveTo>
                    <a:pt x="1080000" y="1368874"/>
                  </a:moveTo>
                  <a:lnTo>
                    <a:pt x="0" y="1368874"/>
                  </a:lnTo>
                  <a:lnTo>
                    <a:pt x="0" y="288874"/>
                  </a:lnTo>
                  <a:lnTo>
                    <a:pt x="372453" y="288874"/>
                  </a:lnTo>
                  <a:lnTo>
                    <a:pt x="540000" y="0"/>
                  </a:lnTo>
                  <a:lnTo>
                    <a:pt x="707547" y="288874"/>
                  </a:lnTo>
                  <a:lnTo>
                    <a:pt x="1080000" y="288874"/>
                  </a:lnTo>
                  <a:close/>
                </a:path>
              </a:pathLst>
            </a:custGeom>
            <a:solidFill>
              <a:srgbClr val="404040"/>
            </a:solidFill>
            <a:ln w="889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286">
                <a:defRPr/>
              </a:pPr>
              <a:endParaRPr lang="ko-KR" altLang="en-US" sz="2700" kern="0">
                <a:solidFill>
                  <a:prstClr val="white"/>
                </a:solidFill>
                <a:latin typeface="Calibri" panose="020F0502020204030204"/>
                <a:ea typeface="맑은 고딕" panose="020B0503020000020004" pitchFamily="34" charset="-127"/>
              </a:endParaRPr>
            </a:p>
          </p:txBody>
        </p:sp>
        <p:sp>
          <p:nvSpPr>
            <p:cNvPr id="368" name="CaixaDeTexto 367">
              <a:extLst>
                <a:ext uri="{FF2B5EF4-FFF2-40B4-BE49-F238E27FC236}">
                  <a16:creationId xmlns:a16="http://schemas.microsoft.com/office/drawing/2014/main" id="{E00816E6-2F7C-B06F-F14F-BDC7BD206D2C}"/>
                </a:ext>
              </a:extLst>
            </p:cNvPr>
            <p:cNvSpPr txBox="1"/>
            <p:nvPr/>
          </p:nvSpPr>
          <p:spPr>
            <a:xfrm>
              <a:off x="1548517" y="3052345"/>
              <a:ext cx="108763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pt-BR" sz="1400" kern="0">
                  <a:solidFill>
                    <a:prstClr val="white"/>
                  </a:solidFill>
                  <a:latin typeface="Itau Display Light" panose="020B0403020204020204" pitchFamily="34" charset="0"/>
                  <a:cs typeface="Itau Display Light" panose="020B0403020204020204" pitchFamily="34" charset="0"/>
                </a:rPr>
                <a:t>expansão</a:t>
              </a:r>
            </a:p>
          </p:txBody>
        </p:sp>
        <p:sp>
          <p:nvSpPr>
            <p:cNvPr id="369" name="Isosceles Triangle 1">
              <a:extLst>
                <a:ext uri="{FF2B5EF4-FFF2-40B4-BE49-F238E27FC236}">
                  <a16:creationId xmlns:a16="http://schemas.microsoft.com/office/drawing/2014/main" id="{A48A3B5E-EC81-F063-2F58-016BAECC5637}"/>
                </a:ext>
              </a:extLst>
            </p:cNvPr>
            <p:cNvSpPr/>
            <p:nvPr/>
          </p:nvSpPr>
          <p:spPr>
            <a:xfrm rot="10800000">
              <a:off x="2541424" y="2112116"/>
              <a:ext cx="1260141" cy="457198"/>
            </a:xfrm>
            <a:custGeom>
              <a:avLst/>
              <a:gdLst/>
              <a:ahLst/>
              <a:cxnLst/>
              <a:rect l="l" t="t" r="r" b="b"/>
              <a:pathLst>
                <a:path w="1080000" h="1368874">
                  <a:moveTo>
                    <a:pt x="1080000" y="1368874"/>
                  </a:moveTo>
                  <a:lnTo>
                    <a:pt x="0" y="1368874"/>
                  </a:lnTo>
                  <a:lnTo>
                    <a:pt x="0" y="288874"/>
                  </a:lnTo>
                  <a:lnTo>
                    <a:pt x="372453" y="288874"/>
                  </a:lnTo>
                  <a:lnTo>
                    <a:pt x="540000" y="0"/>
                  </a:lnTo>
                  <a:lnTo>
                    <a:pt x="707547" y="288874"/>
                  </a:lnTo>
                  <a:lnTo>
                    <a:pt x="1080000" y="288874"/>
                  </a:lnTo>
                  <a:close/>
                </a:path>
              </a:pathLst>
            </a:custGeom>
            <a:solidFill>
              <a:srgbClr val="404040"/>
            </a:solidFill>
            <a:ln w="889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286">
                <a:defRPr/>
              </a:pPr>
              <a:endParaRPr lang="ko-KR" altLang="en-US" sz="2700" kern="0">
                <a:solidFill>
                  <a:prstClr val="white"/>
                </a:solidFill>
                <a:latin typeface="Calibri" panose="020F0502020204030204"/>
                <a:ea typeface="맑은 고딕" panose="020B0503020000020004" pitchFamily="34" charset="-127"/>
              </a:endParaRPr>
            </a:p>
          </p:txBody>
        </p:sp>
        <p:sp>
          <p:nvSpPr>
            <p:cNvPr id="370" name="CaixaDeTexto 369">
              <a:extLst>
                <a:ext uri="{FF2B5EF4-FFF2-40B4-BE49-F238E27FC236}">
                  <a16:creationId xmlns:a16="http://schemas.microsoft.com/office/drawing/2014/main" id="{89399F8A-1142-D42A-D6F1-DD97A9B9F3B9}"/>
                </a:ext>
              </a:extLst>
            </p:cNvPr>
            <p:cNvSpPr txBox="1"/>
            <p:nvPr/>
          </p:nvSpPr>
          <p:spPr>
            <a:xfrm>
              <a:off x="2542958" y="2128276"/>
              <a:ext cx="145113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pt-BR" sz="1400" kern="0">
                  <a:solidFill>
                    <a:prstClr val="white"/>
                  </a:solidFill>
                  <a:latin typeface="Itau Display Light" panose="020B0403020204020204" pitchFamily="34" charset="0"/>
                  <a:cs typeface="Itau Display Light" panose="020B0403020204020204" pitchFamily="34" charset="0"/>
                </a:rPr>
                <a:t>conhecimento</a:t>
              </a:r>
            </a:p>
          </p:txBody>
        </p:sp>
        <p:sp>
          <p:nvSpPr>
            <p:cNvPr id="371" name="CaixaDeTexto 370">
              <a:extLst>
                <a:ext uri="{FF2B5EF4-FFF2-40B4-BE49-F238E27FC236}">
                  <a16:creationId xmlns:a16="http://schemas.microsoft.com/office/drawing/2014/main" id="{8B9005A6-94AD-284B-0B0C-826AEB90C9BA}"/>
                </a:ext>
              </a:extLst>
            </p:cNvPr>
            <p:cNvSpPr txBox="1"/>
            <p:nvPr/>
          </p:nvSpPr>
          <p:spPr>
            <a:xfrm>
              <a:off x="3724012" y="3027564"/>
              <a:ext cx="1087630" cy="307777"/>
            </a:xfrm>
            <a:prstGeom prst="rect">
              <a:avLst/>
            </a:prstGeom>
            <a:solidFill>
              <a:srgbClr val="404040"/>
            </a:solidFill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pt-BR" sz="1400" kern="0" dirty="0">
                  <a:solidFill>
                    <a:prstClr val="white"/>
                  </a:solidFill>
                  <a:latin typeface="Itau Display Light" panose="020B0403020204020204" pitchFamily="34" charset="0"/>
                  <a:cs typeface="Itau Display Light" panose="020B0403020204020204" pitchFamily="34" charset="0"/>
                </a:rPr>
                <a:t>otimização</a:t>
              </a:r>
            </a:p>
          </p:txBody>
        </p:sp>
        <p:sp>
          <p:nvSpPr>
            <p:cNvPr id="372" name="Isosceles Triangle 1">
              <a:extLst>
                <a:ext uri="{FF2B5EF4-FFF2-40B4-BE49-F238E27FC236}">
                  <a16:creationId xmlns:a16="http://schemas.microsoft.com/office/drawing/2014/main" id="{A85E5C33-44D1-9802-0F9C-F3090FFBB61F}"/>
                </a:ext>
              </a:extLst>
            </p:cNvPr>
            <p:cNvSpPr/>
            <p:nvPr/>
          </p:nvSpPr>
          <p:spPr>
            <a:xfrm rot="10800000">
              <a:off x="4644818" y="2112115"/>
              <a:ext cx="1260141" cy="457198"/>
            </a:xfrm>
            <a:custGeom>
              <a:avLst/>
              <a:gdLst/>
              <a:ahLst/>
              <a:cxnLst/>
              <a:rect l="l" t="t" r="r" b="b"/>
              <a:pathLst>
                <a:path w="1080000" h="1368874">
                  <a:moveTo>
                    <a:pt x="1080000" y="1368874"/>
                  </a:moveTo>
                  <a:lnTo>
                    <a:pt x="0" y="1368874"/>
                  </a:lnTo>
                  <a:lnTo>
                    <a:pt x="0" y="288874"/>
                  </a:lnTo>
                  <a:lnTo>
                    <a:pt x="372453" y="288874"/>
                  </a:lnTo>
                  <a:lnTo>
                    <a:pt x="540000" y="0"/>
                  </a:lnTo>
                  <a:lnTo>
                    <a:pt x="707547" y="288874"/>
                  </a:lnTo>
                  <a:lnTo>
                    <a:pt x="1080000" y="288874"/>
                  </a:lnTo>
                  <a:close/>
                </a:path>
              </a:pathLst>
            </a:custGeom>
            <a:solidFill>
              <a:srgbClr val="404040"/>
            </a:solidFill>
            <a:ln w="889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286">
                <a:defRPr/>
              </a:pPr>
              <a:endParaRPr lang="ko-KR" altLang="en-US" sz="2700" kern="0" dirty="0">
                <a:solidFill>
                  <a:prstClr val="white"/>
                </a:solidFill>
                <a:latin typeface="Calibri" panose="020F0502020204030204"/>
                <a:ea typeface="맑은 고딕" panose="020B0503020000020004" pitchFamily="34" charset="-127"/>
              </a:endParaRPr>
            </a:p>
          </p:txBody>
        </p:sp>
        <p:sp>
          <p:nvSpPr>
            <p:cNvPr id="373" name="CaixaDeTexto 372">
              <a:extLst>
                <a:ext uri="{FF2B5EF4-FFF2-40B4-BE49-F238E27FC236}">
                  <a16:creationId xmlns:a16="http://schemas.microsoft.com/office/drawing/2014/main" id="{F58FB7BE-1C32-7E51-C4B7-D626C3162CA3}"/>
                </a:ext>
              </a:extLst>
            </p:cNvPr>
            <p:cNvSpPr txBox="1"/>
            <p:nvPr/>
          </p:nvSpPr>
          <p:spPr>
            <a:xfrm>
              <a:off x="4652087" y="2131975"/>
              <a:ext cx="145113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pt-BR" sz="1400" kern="0" dirty="0">
                  <a:solidFill>
                    <a:prstClr val="white"/>
                  </a:solidFill>
                  <a:latin typeface="Itau Display Light" panose="020B0403020204020204" pitchFamily="34" charset="0"/>
                  <a:cs typeface="Itau Display Light" panose="020B0403020204020204" pitchFamily="34" charset="0"/>
                </a:rPr>
                <a:t>escalabilidade</a:t>
              </a:r>
            </a:p>
          </p:txBody>
        </p:sp>
        <p:sp>
          <p:nvSpPr>
            <p:cNvPr id="374" name="Isosceles Triangle 1">
              <a:extLst>
                <a:ext uri="{FF2B5EF4-FFF2-40B4-BE49-F238E27FC236}">
                  <a16:creationId xmlns:a16="http://schemas.microsoft.com/office/drawing/2014/main" id="{2413C01A-8D1A-7DF6-26B4-1F9D1F1410DA}"/>
                </a:ext>
              </a:extLst>
            </p:cNvPr>
            <p:cNvSpPr/>
            <p:nvPr/>
          </p:nvSpPr>
          <p:spPr>
            <a:xfrm>
              <a:off x="5732260" y="2926898"/>
              <a:ext cx="1260141" cy="457198"/>
            </a:xfrm>
            <a:custGeom>
              <a:avLst/>
              <a:gdLst/>
              <a:ahLst/>
              <a:cxnLst/>
              <a:rect l="l" t="t" r="r" b="b"/>
              <a:pathLst>
                <a:path w="1080000" h="1368874">
                  <a:moveTo>
                    <a:pt x="1080000" y="1368874"/>
                  </a:moveTo>
                  <a:lnTo>
                    <a:pt x="0" y="1368874"/>
                  </a:lnTo>
                  <a:lnTo>
                    <a:pt x="0" y="288874"/>
                  </a:lnTo>
                  <a:lnTo>
                    <a:pt x="372453" y="288874"/>
                  </a:lnTo>
                  <a:lnTo>
                    <a:pt x="540000" y="0"/>
                  </a:lnTo>
                  <a:lnTo>
                    <a:pt x="707547" y="288874"/>
                  </a:lnTo>
                  <a:lnTo>
                    <a:pt x="1080000" y="288874"/>
                  </a:lnTo>
                  <a:close/>
                </a:path>
              </a:pathLst>
            </a:custGeom>
            <a:solidFill>
              <a:srgbClr val="404040"/>
            </a:solidFill>
            <a:ln w="889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286">
                <a:defRPr/>
              </a:pPr>
              <a:endParaRPr lang="ko-KR" altLang="en-US" sz="2700" kern="0">
                <a:solidFill>
                  <a:prstClr val="white"/>
                </a:solidFill>
                <a:latin typeface="Calibri" panose="020F0502020204030204"/>
                <a:ea typeface="맑은 고딕" panose="020B0503020000020004" pitchFamily="34" charset="-127"/>
              </a:endParaRPr>
            </a:p>
          </p:txBody>
        </p:sp>
        <p:sp>
          <p:nvSpPr>
            <p:cNvPr id="375" name="CaixaDeTexto 374">
              <a:extLst>
                <a:ext uri="{FF2B5EF4-FFF2-40B4-BE49-F238E27FC236}">
                  <a16:creationId xmlns:a16="http://schemas.microsoft.com/office/drawing/2014/main" id="{7E215F9B-2CEA-E5DB-A767-7915EC02277C}"/>
                </a:ext>
              </a:extLst>
            </p:cNvPr>
            <p:cNvSpPr txBox="1"/>
            <p:nvPr/>
          </p:nvSpPr>
          <p:spPr>
            <a:xfrm>
              <a:off x="5748106" y="3064378"/>
              <a:ext cx="131554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pt-BR" sz="1400" kern="0" dirty="0">
                  <a:solidFill>
                    <a:prstClr val="white"/>
                  </a:solidFill>
                  <a:latin typeface="Itau Display Light" panose="020B0403020204020204" pitchFamily="34" charset="0"/>
                  <a:cs typeface="Itau Display Light" panose="020B0403020204020204" pitchFamily="34" charset="0"/>
                </a:rPr>
                <a:t>capilaridade</a:t>
              </a:r>
            </a:p>
          </p:txBody>
        </p:sp>
        <p:sp>
          <p:nvSpPr>
            <p:cNvPr id="376" name="Isosceles Triangle 1">
              <a:extLst>
                <a:ext uri="{FF2B5EF4-FFF2-40B4-BE49-F238E27FC236}">
                  <a16:creationId xmlns:a16="http://schemas.microsoft.com/office/drawing/2014/main" id="{1E184970-F4CC-9436-04D1-EBD464E29DBA}"/>
                </a:ext>
              </a:extLst>
            </p:cNvPr>
            <p:cNvSpPr/>
            <p:nvPr/>
          </p:nvSpPr>
          <p:spPr>
            <a:xfrm>
              <a:off x="7890174" y="2926894"/>
              <a:ext cx="1260141" cy="457198"/>
            </a:xfrm>
            <a:custGeom>
              <a:avLst/>
              <a:gdLst/>
              <a:ahLst/>
              <a:cxnLst/>
              <a:rect l="l" t="t" r="r" b="b"/>
              <a:pathLst>
                <a:path w="1080000" h="1368874">
                  <a:moveTo>
                    <a:pt x="1080000" y="1368874"/>
                  </a:moveTo>
                  <a:lnTo>
                    <a:pt x="0" y="1368874"/>
                  </a:lnTo>
                  <a:lnTo>
                    <a:pt x="0" y="288874"/>
                  </a:lnTo>
                  <a:lnTo>
                    <a:pt x="372453" y="288874"/>
                  </a:lnTo>
                  <a:lnTo>
                    <a:pt x="540000" y="0"/>
                  </a:lnTo>
                  <a:lnTo>
                    <a:pt x="707547" y="288874"/>
                  </a:lnTo>
                  <a:lnTo>
                    <a:pt x="1080000" y="288874"/>
                  </a:lnTo>
                  <a:close/>
                </a:path>
              </a:pathLst>
            </a:custGeom>
            <a:solidFill>
              <a:srgbClr val="404040"/>
            </a:solidFill>
            <a:ln w="889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286">
                <a:defRPr/>
              </a:pPr>
              <a:endParaRPr lang="ko-KR" altLang="en-US" sz="2700" kern="0">
                <a:solidFill>
                  <a:prstClr val="white"/>
                </a:solidFill>
                <a:latin typeface="Calibri" panose="020F0502020204030204"/>
                <a:ea typeface="맑은 고딕" panose="020B0503020000020004" pitchFamily="34" charset="-127"/>
              </a:endParaRPr>
            </a:p>
          </p:txBody>
        </p:sp>
        <p:sp>
          <p:nvSpPr>
            <p:cNvPr id="377" name="CaixaDeTexto 376">
              <a:extLst>
                <a:ext uri="{FF2B5EF4-FFF2-40B4-BE49-F238E27FC236}">
                  <a16:creationId xmlns:a16="http://schemas.microsoft.com/office/drawing/2014/main" id="{7A11ED57-0B80-A1A2-8759-B1CD5C4414CC}"/>
                </a:ext>
              </a:extLst>
            </p:cNvPr>
            <p:cNvSpPr txBox="1"/>
            <p:nvPr/>
          </p:nvSpPr>
          <p:spPr>
            <a:xfrm>
              <a:off x="7865395" y="3052336"/>
              <a:ext cx="130260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pt-BR" sz="1400" kern="0" dirty="0">
                  <a:solidFill>
                    <a:prstClr val="white"/>
                  </a:solidFill>
                  <a:latin typeface="Itau Display Light" panose="020B0403020204020204" pitchFamily="34" charset="0"/>
                  <a:cs typeface="Itau Display Light" panose="020B0403020204020204" pitchFamily="34" charset="0"/>
                </a:rPr>
                <a:t>transformação</a:t>
              </a:r>
            </a:p>
          </p:txBody>
        </p:sp>
        <p:sp>
          <p:nvSpPr>
            <p:cNvPr id="378" name="Isosceles Triangle 1">
              <a:extLst>
                <a:ext uri="{FF2B5EF4-FFF2-40B4-BE49-F238E27FC236}">
                  <a16:creationId xmlns:a16="http://schemas.microsoft.com/office/drawing/2014/main" id="{BBAD79D3-7400-EB40-1033-21D00BE32C6A}"/>
                </a:ext>
              </a:extLst>
            </p:cNvPr>
            <p:cNvSpPr/>
            <p:nvPr/>
          </p:nvSpPr>
          <p:spPr>
            <a:xfrm rot="10800000">
              <a:off x="6797429" y="2103087"/>
              <a:ext cx="1260141" cy="457198"/>
            </a:xfrm>
            <a:custGeom>
              <a:avLst/>
              <a:gdLst/>
              <a:ahLst/>
              <a:cxnLst/>
              <a:rect l="l" t="t" r="r" b="b"/>
              <a:pathLst>
                <a:path w="1080000" h="1368874">
                  <a:moveTo>
                    <a:pt x="1080000" y="1368874"/>
                  </a:moveTo>
                  <a:lnTo>
                    <a:pt x="0" y="1368874"/>
                  </a:lnTo>
                  <a:lnTo>
                    <a:pt x="0" y="288874"/>
                  </a:lnTo>
                  <a:lnTo>
                    <a:pt x="372453" y="288874"/>
                  </a:lnTo>
                  <a:lnTo>
                    <a:pt x="540000" y="0"/>
                  </a:lnTo>
                  <a:lnTo>
                    <a:pt x="707547" y="288874"/>
                  </a:lnTo>
                  <a:lnTo>
                    <a:pt x="1080000" y="288874"/>
                  </a:lnTo>
                  <a:close/>
                </a:path>
              </a:pathLst>
            </a:custGeom>
            <a:solidFill>
              <a:srgbClr val="404040"/>
            </a:solidFill>
            <a:ln w="889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286">
                <a:defRPr/>
              </a:pPr>
              <a:endParaRPr lang="ko-KR" altLang="en-US" sz="2700" kern="0">
                <a:solidFill>
                  <a:prstClr val="white"/>
                </a:solidFill>
                <a:latin typeface="Calibri" panose="020F0502020204030204"/>
                <a:ea typeface="맑은 고딕" panose="020B0503020000020004" pitchFamily="34" charset="-127"/>
              </a:endParaRPr>
            </a:p>
          </p:txBody>
        </p:sp>
        <p:sp>
          <p:nvSpPr>
            <p:cNvPr id="379" name="CaixaDeTexto 378">
              <a:extLst>
                <a:ext uri="{FF2B5EF4-FFF2-40B4-BE49-F238E27FC236}">
                  <a16:creationId xmlns:a16="http://schemas.microsoft.com/office/drawing/2014/main" id="{C654B031-4BBC-8BB4-683E-D89329EE5AF9}"/>
                </a:ext>
              </a:extLst>
            </p:cNvPr>
            <p:cNvSpPr txBox="1"/>
            <p:nvPr/>
          </p:nvSpPr>
          <p:spPr>
            <a:xfrm>
              <a:off x="6870080" y="2121562"/>
              <a:ext cx="145113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pt-BR" sz="1400" kern="0" dirty="0">
                  <a:solidFill>
                    <a:prstClr val="white"/>
                  </a:solidFill>
                  <a:latin typeface="Itau Display Light" panose="020B0403020204020204" pitchFamily="34" charset="0"/>
                  <a:cs typeface="Itau Display Light" panose="020B0403020204020204" pitchFamily="34" charset="0"/>
                </a:rPr>
                <a:t>evolução</a:t>
              </a:r>
            </a:p>
          </p:txBody>
        </p:sp>
        <p:sp>
          <p:nvSpPr>
            <p:cNvPr id="380" name="Isosceles Triangle 1">
              <a:extLst>
                <a:ext uri="{FF2B5EF4-FFF2-40B4-BE49-F238E27FC236}">
                  <a16:creationId xmlns:a16="http://schemas.microsoft.com/office/drawing/2014/main" id="{EF61C5EB-ABE7-2347-C47D-FF79E9674E5B}"/>
                </a:ext>
              </a:extLst>
            </p:cNvPr>
            <p:cNvSpPr/>
            <p:nvPr/>
          </p:nvSpPr>
          <p:spPr>
            <a:xfrm rot="10800000">
              <a:off x="8967631" y="2103759"/>
              <a:ext cx="1260141" cy="457198"/>
            </a:xfrm>
            <a:custGeom>
              <a:avLst/>
              <a:gdLst/>
              <a:ahLst/>
              <a:cxnLst/>
              <a:rect l="l" t="t" r="r" b="b"/>
              <a:pathLst>
                <a:path w="1080000" h="1368874">
                  <a:moveTo>
                    <a:pt x="1080000" y="1368874"/>
                  </a:moveTo>
                  <a:lnTo>
                    <a:pt x="0" y="1368874"/>
                  </a:lnTo>
                  <a:lnTo>
                    <a:pt x="0" y="288874"/>
                  </a:lnTo>
                  <a:lnTo>
                    <a:pt x="372453" y="288874"/>
                  </a:lnTo>
                  <a:lnTo>
                    <a:pt x="540000" y="0"/>
                  </a:lnTo>
                  <a:lnTo>
                    <a:pt x="707547" y="288874"/>
                  </a:lnTo>
                  <a:lnTo>
                    <a:pt x="1080000" y="288874"/>
                  </a:lnTo>
                  <a:close/>
                </a:path>
              </a:pathLst>
            </a:custGeom>
            <a:solidFill>
              <a:srgbClr val="404040"/>
            </a:solidFill>
            <a:ln w="889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286">
                <a:defRPr/>
              </a:pPr>
              <a:endParaRPr lang="ko-KR" altLang="en-US" sz="2700" kern="0">
                <a:solidFill>
                  <a:prstClr val="white"/>
                </a:solidFill>
                <a:latin typeface="Calibri" panose="020F0502020204030204"/>
                <a:ea typeface="맑은 고딕" panose="020B0503020000020004" pitchFamily="34" charset="-127"/>
              </a:endParaRPr>
            </a:p>
          </p:txBody>
        </p:sp>
        <p:sp>
          <p:nvSpPr>
            <p:cNvPr id="381" name="CaixaDeTexto 380">
              <a:extLst>
                <a:ext uri="{FF2B5EF4-FFF2-40B4-BE49-F238E27FC236}">
                  <a16:creationId xmlns:a16="http://schemas.microsoft.com/office/drawing/2014/main" id="{77769326-EEA1-9B59-F3E6-D03CFBC95131}"/>
                </a:ext>
              </a:extLst>
            </p:cNvPr>
            <p:cNvSpPr txBox="1"/>
            <p:nvPr/>
          </p:nvSpPr>
          <p:spPr>
            <a:xfrm>
              <a:off x="8987221" y="2143598"/>
              <a:ext cx="126472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pt-BR" sz="1400" kern="0" dirty="0">
                  <a:solidFill>
                    <a:prstClr val="white"/>
                  </a:solidFill>
                  <a:latin typeface="Itau Display Light" panose="020B0403020204020204" pitchFamily="34" charset="0"/>
                  <a:cs typeface="Itau Display Light" panose="020B0403020204020204" pitchFamily="34" charset="0"/>
                </a:rPr>
                <a:t>cultura</a:t>
              </a:r>
            </a:p>
          </p:txBody>
        </p:sp>
        <p:sp>
          <p:nvSpPr>
            <p:cNvPr id="382" name="Hexágono 381">
              <a:extLst>
                <a:ext uri="{FF2B5EF4-FFF2-40B4-BE49-F238E27FC236}">
                  <a16:creationId xmlns:a16="http://schemas.microsoft.com/office/drawing/2014/main" id="{5C9B81B3-4619-0779-FC6D-B8CBED25A729}"/>
                </a:ext>
              </a:extLst>
            </p:cNvPr>
            <p:cNvSpPr/>
            <p:nvPr/>
          </p:nvSpPr>
          <p:spPr>
            <a:xfrm>
              <a:off x="863145" y="2597138"/>
              <a:ext cx="283883" cy="252000"/>
            </a:xfrm>
            <a:prstGeom prst="hexagon">
              <a:avLst/>
            </a:prstGeom>
            <a:solidFill>
              <a:srgbClr val="EA7523"/>
            </a:solidFill>
            <a:ln w="5715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pt-BR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83" name="Hexágono 382">
              <a:extLst>
                <a:ext uri="{FF2B5EF4-FFF2-40B4-BE49-F238E27FC236}">
                  <a16:creationId xmlns:a16="http://schemas.microsoft.com/office/drawing/2014/main" id="{3578B128-4C5E-E66D-1C61-94FFD567D12F}"/>
                </a:ext>
              </a:extLst>
            </p:cNvPr>
            <p:cNvSpPr/>
            <p:nvPr/>
          </p:nvSpPr>
          <p:spPr>
            <a:xfrm>
              <a:off x="5152803" y="2597138"/>
              <a:ext cx="283883" cy="252000"/>
            </a:xfrm>
            <a:prstGeom prst="hexagon">
              <a:avLst/>
            </a:prstGeom>
            <a:solidFill>
              <a:srgbClr val="EA7523"/>
            </a:solidFill>
            <a:ln w="5715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pt-BR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84" name="Hexágono 383">
              <a:extLst>
                <a:ext uri="{FF2B5EF4-FFF2-40B4-BE49-F238E27FC236}">
                  <a16:creationId xmlns:a16="http://schemas.microsoft.com/office/drawing/2014/main" id="{2FD1B938-8FF3-1678-89CA-738A59F2E5B1}"/>
                </a:ext>
              </a:extLst>
            </p:cNvPr>
            <p:cNvSpPr/>
            <p:nvPr/>
          </p:nvSpPr>
          <p:spPr>
            <a:xfrm>
              <a:off x="8370047" y="2597138"/>
              <a:ext cx="283883" cy="252000"/>
            </a:xfrm>
            <a:prstGeom prst="hexagon">
              <a:avLst/>
            </a:prstGeom>
            <a:solidFill>
              <a:srgbClr val="EA7523"/>
            </a:solidFill>
            <a:ln w="5715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pt-BR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85" name="Hexágono 384">
              <a:extLst>
                <a:ext uri="{FF2B5EF4-FFF2-40B4-BE49-F238E27FC236}">
                  <a16:creationId xmlns:a16="http://schemas.microsoft.com/office/drawing/2014/main" id="{4AA2F296-1D91-5D93-BA9A-BC472E184B43}"/>
                </a:ext>
              </a:extLst>
            </p:cNvPr>
            <p:cNvSpPr/>
            <p:nvPr/>
          </p:nvSpPr>
          <p:spPr>
            <a:xfrm>
              <a:off x="7297632" y="2597138"/>
              <a:ext cx="283883" cy="252000"/>
            </a:xfrm>
            <a:prstGeom prst="hexagon">
              <a:avLst/>
            </a:prstGeom>
            <a:solidFill>
              <a:srgbClr val="EA7523"/>
            </a:solidFill>
            <a:ln w="5715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pt-BR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86" name="Hexágono 385">
              <a:extLst>
                <a:ext uri="{FF2B5EF4-FFF2-40B4-BE49-F238E27FC236}">
                  <a16:creationId xmlns:a16="http://schemas.microsoft.com/office/drawing/2014/main" id="{C557EC44-5FF8-5B78-E79A-19E934F6EA77}"/>
                </a:ext>
              </a:extLst>
            </p:cNvPr>
            <p:cNvSpPr/>
            <p:nvPr/>
          </p:nvSpPr>
          <p:spPr>
            <a:xfrm>
              <a:off x="1935559" y="2597138"/>
              <a:ext cx="283883" cy="252000"/>
            </a:xfrm>
            <a:prstGeom prst="hexagon">
              <a:avLst/>
            </a:prstGeom>
            <a:solidFill>
              <a:srgbClr val="EA7523"/>
            </a:solidFill>
            <a:ln w="5715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pt-BR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87" name="Hexágono 386">
              <a:extLst>
                <a:ext uri="{FF2B5EF4-FFF2-40B4-BE49-F238E27FC236}">
                  <a16:creationId xmlns:a16="http://schemas.microsoft.com/office/drawing/2014/main" id="{14AACD7F-0A62-47DE-9984-954867FA950F}"/>
                </a:ext>
              </a:extLst>
            </p:cNvPr>
            <p:cNvSpPr/>
            <p:nvPr/>
          </p:nvSpPr>
          <p:spPr>
            <a:xfrm>
              <a:off x="3007974" y="2597138"/>
              <a:ext cx="283883" cy="252000"/>
            </a:xfrm>
            <a:prstGeom prst="hexagon">
              <a:avLst/>
            </a:prstGeom>
            <a:solidFill>
              <a:srgbClr val="EA7523"/>
            </a:solidFill>
            <a:ln w="5715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pt-BR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88" name="Hexágono 387">
              <a:extLst>
                <a:ext uri="{FF2B5EF4-FFF2-40B4-BE49-F238E27FC236}">
                  <a16:creationId xmlns:a16="http://schemas.microsoft.com/office/drawing/2014/main" id="{4D712852-426B-528D-4173-402FC6ED2FC1}"/>
                </a:ext>
              </a:extLst>
            </p:cNvPr>
            <p:cNvSpPr/>
            <p:nvPr/>
          </p:nvSpPr>
          <p:spPr>
            <a:xfrm>
              <a:off x="4080389" y="2597138"/>
              <a:ext cx="283883" cy="252000"/>
            </a:xfrm>
            <a:prstGeom prst="hexagon">
              <a:avLst/>
            </a:prstGeom>
            <a:solidFill>
              <a:srgbClr val="EA7523"/>
            </a:solidFill>
            <a:ln w="5715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pt-BR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89" name="Hexágono 388">
              <a:extLst>
                <a:ext uri="{FF2B5EF4-FFF2-40B4-BE49-F238E27FC236}">
                  <a16:creationId xmlns:a16="http://schemas.microsoft.com/office/drawing/2014/main" id="{55167D9F-6C48-9869-EC3D-C23ED8BA5C7A}"/>
                </a:ext>
              </a:extLst>
            </p:cNvPr>
            <p:cNvSpPr/>
            <p:nvPr/>
          </p:nvSpPr>
          <p:spPr>
            <a:xfrm>
              <a:off x="6225218" y="2597138"/>
              <a:ext cx="283883" cy="252000"/>
            </a:xfrm>
            <a:prstGeom prst="hexagon">
              <a:avLst/>
            </a:prstGeom>
            <a:solidFill>
              <a:srgbClr val="EA7523"/>
            </a:solidFill>
            <a:ln w="5715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pt-BR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90" name="Hexágono 389">
              <a:extLst>
                <a:ext uri="{FF2B5EF4-FFF2-40B4-BE49-F238E27FC236}">
                  <a16:creationId xmlns:a16="http://schemas.microsoft.com/office/drawing/2014/main" id="{3BFFB484-1E22-4257-A619-9A1EA6F0482C}"/>
                </a:ext>
              </a:extLst>
            </p:cNvPr>
            <p:cNvSpPr/>
            <p:nvPr/>
          </p:nvSpPr>
          <p:spPr>
            <a:xfrm>
              <a:off x="9442459" y="2597138"/>
              <a:ext cx="283883" cy="252000"/>
            </a:xfrm>
            <a:prstGeom prst="hexagon">
              <a:avLst/>
            </a:prstGeom>
            <a:solidFill>
              <a:srgbClr val="EA7523"/>
            </a:solidFill>
            <a:ln w="5715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pt-BR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91" name="CaixaDeTexto 390">
              <a:extLst>
                <a:ext uri="{FF2B5EF4-FFF2-40B4-BE49-F238E27FC236}">
                  <a16:creationId xmlns:a16="http://schemas.microsoft.com/office/drawing/2014/main" id="{1D52C99B-AF6F-6F3C-D20B-DD855ABB8B04}"/>
                </a:ext>
              </a:extLst>
            </p:cNvPr>
            <p:cNvSpPr txBox="1"/>
            <p:nvPr/>
          </p:nvSpPr>
          <p:spPr>
            <a:xfrm>
              <a:off x="334399" y="2872947"/>
              <a:ext cx="134137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pt-BR" sz="1600" b="1" kern="0">
                  <a:solidFill>
                    <a:prstClr val="black">
                      <a:lumMod val="50000"/>
                      <a:lumOff val="50000"/>
                    </a:prstClr>
                  </a:solidFill>
                  <a:latin typeface="Itau Display XBold" panose="020B0803020204020204" pitchFamily="34" charset="0"/>
                  <a:cs typeface="Itau Display XBold" panose="020B0803020204020204" pitchFamily="34" charset="0"/>
                </a:rPr>
                <a:t>2011</a:t>
              </a:r>
              <a:endParaRPr lang="pt-BR" sz="1600" b="1" kern="0">
                <a:solidFill>
                  <a:srgbClr val="00B050"/>
                </a:solidFill>
                <a:latin typeface="Itau Display XBold" panose="020B0803020204020204" pitchFamily="34" charset="0"/>
                <a:cs typeface="Itau Display XBold" panose="020B0803020204020204" pitchFamily="34" charset="0"/>
              </a:endParaRPr>
            </a:p>
          </p:txBody>
        </p:sp>
        <p:sp>
          <p:nvSpPr>
            <p:cNvPr id="392" name="CaixaDeTexto 391">
              <a:extLst>
                <a:ext uri="{FF2B5EF4-FFF2-40B4-BE49-F238E27FC236}">
                  <a16:creationId xmlns:a16="http://schemas.microsoft.com/office/drawing/2014/main" id="{A2EEF5D7-9307-183B-D494-6BEEC4CCD017}"/>
                </a:ext>
              </a:extLst>
            </p:cNvPr>
            <p:cNvSpPr txBox="1"/>
            <p:nvPr/>
          </p:nvSpPr>
          <p:spPr>
            <a:xfrm>
              <a:off x="1398870" y="2300009"/>
              <a:ext cx="134137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pt-BR" sz="1600" b="1" kern="0">
                  <a:solidFill>
                    <a:prstClr val="black">
                      <a:lumMod val="50000"/>
                      <a:lumOff val="50000"/>
                    </a:prstClr>
                  </a:solidFill>
                  <a:latin typeface="Itau Display XBold" panose="020B0803020204020204" pitchFamily="34" charset="0"/>
                  <a:cs typeface="Itau Display XBold" panose="020B0803020204020204" pitchFamily="34" charset="0"/>
                </a:rPr>
                <a:t>2013</a:t>
              </a:r>
              <a:endParaRPr lang="pt-BR" sz="1600" b="1" kern="0">
                <a:solidFill>
                  <a:srgbClr val="00B050"/>
                </a:solidFill>
                <a:latin typeface="Itau Display XBold" panose="020B0803020204020204" pitchFamily="34" charset="0"/>
                <a:cs typeface="Itau Display XBold" panose="020B0803020204020204" pitchFamily="34" charset="0"/>
              </a:endParaRPr>
            </a:p>
          </p:txBody>
        </p:sp>
        <p:sp>
          <p:nvSpPr>
            <p:cNvPr id="393" name="CaixaDeTexto 392">
              <a:extLst>
                <a:ext uri="{FF2B5EF4-FFF2-40B4-BE49-F238E27FC236}">
                  <a16:creationId xmlns:a16="http://schemas.microsoft.com/office/drawing/2014/main" id="{E8A52235-9F35-73FA-849D-3C340FB5A8D2}"/>
                </a:ext>
              </a:extLst>
            </p:cNvPr>
            <p:cNvSpPr txBox="1"/>
            <p:nvPr/>
          </p:nvSpPr>
          <p:spPr>
            <a:xfrm>
              <a:off x="2496874" y="2878143"/>
              <a:ext cx="134137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pt-BR" sz="1600" b="1" kern="0">
                  <a:solidFill>
                    <a:prstClr val="black">
                      <a:lumMod val="50000"/>
                      <a:lumOff val="50000"/>
                    </a:prstClr>
                  </a:solidFill>
                  <a:latin typeface="Itau Display XBold" panose="020B0803020204020204" pitchFamily="34" charset="0"/>
                  <a:cs typeface="Itau Display XBold" panose="020B0803020204020204" pitchFamily="34" charset="0"/>
                </a:rPr>
                <a:t>2014</a:t>
              </a:r>
              <a:endParaRPr lang="pt-BR" sz="1600" b="1" kern="0">
                <a:solidFill>
                  <a:srgbClr val="00B050"/>
                </a:solidFill>
                <a:latin typeface="Itau Display XBold" panose="020B0803020204020204" pitchFamily="34" charset="0"/>
                <a:cs typeface="Itau Display XBold" panose="020B0803020204020204" pitchFamily="34" charset="0"/>
              </a:endParaRPr>
            </a:p>
          </p:txBody>
        </p:sp>
        <p:sp>
          <p:nvSpPr>
            <p:cNvPr id="394" name="CaixaDeTexto 393">
              <a:extLst>
                <a:ext uri="{FF2B5EF4-FFF2-40B4-BE49-F238E27FC236}">
                  <a16:creationId xmlns:a16="http://schemas.microsoft.com/office/drawing/2014/main" id="{7A50A7ED-16B3-6C0B-DFAA-9309159164F7}"/>
                </a:ext>
              </a:extLst>
            </p:cNvPr>
            <p:cNvSpPr txBox="1"/>
            <p:nvPr/>
          </p:nvSpPr>
          <p:spPr>
            <a:xfrm>
              <a:off x="3547986" y="2257912"/>
              <a:ext cx="134137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pt-BR" sz="1600" b="1" kern="0">
                  <a:solidFill>
                    <a:prstClr val="black">
                      <a:lumMod val="50000"/>
                      <a:lumOff val="50000"/>
                    </a:prstClr>
                  </a:solidFill>
                  <a:latin typeface="Itau Display XBold" panose="020B0803020204020204" pitchFamily="34" charset="0"/>
                  <a:cs typeface="Itau Display XBold" panose="020B0803020204020204" pitchFamily="34" charset="0"/>
                </a:rPr>
                <a:t>2015</a:t>
              </a:r>
              <a:endParaRPr lang="pt-BR" sz="1600" b="1" kern="0">
                <a:solidFill>
                  <a:srgbClr val="00B050"/>
                </a:solidFill>
                <a:latin typeface="Itau Display XBold" panose="020B0803020204020204" pitchFamily="34" charset="0"/>
                <a:cs typeface="Itau Display XBold" panose="020B0803020204020204" pitchFamily="34" charset="0"/>
              </a:endParaRPr>
            </a:p>
          </p:txBody>
        </p:sp>
        <p:sp>
          <p:nvSpPr>
            <p:cNvPr id="395" name="CaixaDeTexto 394">
              <a:extLst>
                <a:ext uri="{FF2B5EF4-FFF2-40B4-BE49-F238E27FC236}">
                  <a16:creationId xmlns:a16="http://schemas.microsoft.com/office/drawing/2014/main" id="{26EF9A30-1A38-2FE1-BFCF-1AC8D4BB0B67}"/>
                </a:ext>
              </a:extLst>
            </p:cNvPr>
            <p:cNvSpPr txBox="1"/>
            <p:nvPr/>
          </p:nvSpPr>
          <p:spPr>
            <a:xfrm>
              <a:off x="4600192" y="2836156"/>
              <a:ext cx="134137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pt-BR" sz="1600" b="1" kern="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Itau Display XBold" panose="020B0803020204020204" pitchFamily="34" charset="0"/>
                  <a:cs typeface="Itau Display XBold" panose="020B0803020204020204" pitchFamily="34" charset="0"/>
                </a:rPr>
                <a:t>2017</a:t>
              </a:r>
              <a:endParaRPr lang="pt-BR" sz="1600" b="1" kern="0" dirty="0">
                <a:solidFill>
                  <a:srgbClr val="00B050"/>
                </a:solidFill>
                <a:latin typeface="Itau Display XBold" panose="020B0803020204020204" pitchFamily="34" charset="0"/>
                <a:cs typeface="Itau Display XBold" panose="020B0803020204020204" pitchFamily="34" charset="0"/>
              </a:endParaRPr>
            </a:p>
          </p:txBody>
        </p:sp>
        <p:sp>
          <p:nvSpPr>
            <p:cNvPr id="396" name="CaixaDeTexto 395">
              <a:extLst>
                <a:ext uri="{FF2B5EF4-FFF2-40B4-BE49-F238E27FC236}">
                  <a16:creationId xmlns:a16="http://schemas.microsoft.com/office/drawing/2014/main" id="{B057E8D8-C997-26F3-866F-7794372DB0D3}"/>
                </a:ext>
              </a:extLst>
            </p:cNvPr>
            <p:cNvSpPr txBox="1"/>
            <p:nvPr/>
          </p:nvSpPr>
          <p:spPr>
            <a:xfrm>
              <a:off x="5699469" y="2281640"/>
              <a:ext cx="134137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pt-BR" sz="1600" b="1" kern="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Itau Display XBold" panose="020B0803020204020204" pitchFamily="34" charset="0"/>
                  <a:cs typeface="Itau Display XBold" panose="020B0803020204020204" pitchFamily="34" charset="0"/>
                </a:rPr>
                <a:t>2018</a:t>
              </a:r>
              <a:endParaRPr lang="pt-BR" sz="1600" b="1" kern="0" dirty="0">
                <a:solidFill>
                  <a:srgbClr val="00B050"/>
                </a:solidFill>
                <a:latin typeface="Itau Display XBold" panose="020B0803020204020204" pitchFamily="34" charset="0"/>
                <a:cs typeface="Itau Display XBold" panose="020B0803020204020204" pitchFamily="34" charset="0"/>
              </a:endParaRPr>
            </a:p>
          </p:txBody>
        </p:sp>
        <p:sp>
          <p:nvSpPr>
            <p:cNvPr id="397" name="CaixaDeTexto 396">
              <a:extLst>
                <a:ext uri="{FF2B5EF4-FFF2-40B4-BE49-F238E27FC236}">
                  <a16:creationId xmlns:a16="http://schemas.microsoft.com/office/drawing/2014/main" id="{DE04E520-68E4-B7A0-F761-6DE5028B013F}"/>
                </a:ext>
              </a:extLst>
            </p:cNvPr>
            <p:cNvSpPr txBox="1"/>
            <p:nvPr/>
          </p:nvSpPr>
          <p:spPr>
            <a:xfrm>
              <a:off x="6767467" y="2859296"/>
              <a:ext cx="134137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pt-BR" sz="1600" b="1" kern="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Itau Display XBold" panose="020B0803020204020204" pitchFamily="34" charset="0"/>
                  <a:cs typeface="Itau Display XBold" panose="020B0803020204020204" pitchFamily="34" charset="0"/>
                </a:rPr>
                <a:t>2019</a:t>
              </a:r>
              <a:endParaRPr lang="pt-BR" sz="1600" b="1" kern="0" dirty="0">
                <a:solidFill>
                  <a:srgbClr val="00B050"/>
                </a:solidFill>
                <a:latin typeface="Itau Display XBold" panose="020B0803020204020204" pitchFamily="34" charset="0"/>
                <a:cs typeface="Itau Display XBold" panose="020B0803020204020204" pitchFamily="34" charset="0"/>
              </a:endParaRPr>
            </a:p>
          </p:txBody>
        </p:sp>
        <p:sp>
          <p:nvSpPr>
            <p:cNvPr id="398" name="CaixaDeTexto 397">
              <a:extLst>
                <a:ext uri="{FF2B5EF4-FFF2-40B4-BE49-F238E27FC236}">
                  <a16:creationId xmlns:a16="http://schemas.microsoft.com/office/drawing/2014/main" id="{03F06B31-4785-173B-E816-23C566A9C2B3}"/>
                </a:ext>
              </a:extLst>
            </p:cNvPr>
            <p:cNvSpPr txBox="1"/>
            <p:nvPr/>
          </p:nvSpPr>
          <p:spPr>
            <a:xfrm>
              <a:off x="7835415" y="2301766"/>
              <a:ext cx="134137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pt-BR" sz="1600" b="1" kern="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Itau Display XBold" panose="020B0803020204020204" pitchFamily="34" charset="0"/>
                  <a:cs typeface="Itau Display XBold" panose="020B0803020204020204" pitchFamily="34" charset="0"/>
                </a:rPr>
                <a:t>2021</a:t>
              </a:r>
              <a:endParaRPr lang="pt-BR" sz="1600" b="1" kern="0" dirty="0">
                <a:solidFill>
                  <a:srgbClr val="00B050"/>
                </a:solidFill>
                <a:latin typeface="Itau Display XBold" panose="020B0803020204020204" pitchFamily="34" charset="0"/>
                <a:cs typeface="Itau Display XBold" panose="020B0803020204020204" pitchFamily="34" charset="0"/>
              </a:endParaRPr>
            </a:p>
          </p:txBody>
        </p:sp>
        <p:sp>
          <p:nvSpPr>
            <p:cNvPr id="399" name="CaixaDeTexto 398">
              <a:extLst>
                <a:ext uri="{FF2B5EF4-FFF2-40B4-BE49-F238E27FC236}">
                  <a16:creationId xmlns:a16="http://schemas.microsoft.com/office/drawing/2014/main" id="{7FA3AA01-34E5-3942-D364-91992DD7D49E}"/>
                </a:ext>
              </a:extLst>
            </p:cNvPr>
            <p:cNvSpPr txBox="1"/>
            <p:nvPr/>
          </p:nvSpPr>
          <p:spPr>
            <a:xfrm>
              <a:off x="8933137" y="2846503"/>
              <a:ext cx="134137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pt-BR" sz="1600" b="1" kern="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Itau Display XBold" panose="020B0803020204020204" pitchFamily="34" charset="0"/>
                  <a:cs typeface="Itau Display XBold" panose="020B0803020204020204" pitchFamily="34" charset="0"/>
                </a:rPr>
                <a:t>2022</a:t>
              </a:r>
              <a:endParaRPr lang="pt-BR" sz="1600" b="1" kern="0" dirty="0">
                <a:solidFill>
                  <a:srgbClr val="00B050"/>
                </a:solidFill>
                <a:latin typeface="Itau Display XBold" panose="020B0803020204020204" pitchFamily="34" charset="0"/>
                <a:cs typeface="Itau Display XBold" panose="020B0803020204020204" pitchFamily="34" charset="0"/>
              </a:endParaRPr>
            </a:p>
          </p:txBody>
        </p:sp>
        <p:sp>
          <p:nvSpPr>
            <p:cNvPr id="400" name="CaixaDeTexto 399">
              <a:extLst>
                <a:ext uri="{FF2B5EF4-FFF2-40B4-BE49-F238E27FC236}">
                  <a16:creationId xmlns:a16="http://schemas.microsoft.com/office/drawing/2014/main" id="{89397D1B-1EA5-0BAE-000B-A614737882C2}"/>
                </a:ext>
              </a:extLst>
            </p:cNvPr>
            <p:cNvSpPr txBox="1"/>
            <p:nvPr/>
          </p:nvSpPr>
          <p:spPr>
            <a:xfrm>
              <a:off x="10090897" y="2277488"/>
              <a:ext cx="134137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pt-BR" sz="1600" b="1" kern="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Itau Display XBold" panose="020B0803020204020204" pitchFamily="34" charset="0"/>
                  <a:cs typeface="Itau Display XBold" panose="020B0803020204020204" pitchFamily="34" charset="0"/>
                </a:rPr>
                <a:t>2023/24</a:t>
              </a:r>
              <a:endParaRPr lang="pt-BR" sz="1600" b="1" kern="0" dirty="0">
                <a:solidFill>
                  <a:srgbClr val="00B050"/>
                </a:solidFill>
                <a:latin typeface="Itau Display XBold" panose="020B0803020204020204" pitchFamily="34" charset="0"/>
                <a:cs typeface="Itau Display XBold" panose="020B0803020204020204" pitchFamily="34" charset="0"/>
              </a:endParaRPr>
            </a:p>
          </p:txBody>
        </p:sp>
        <p:sp>
          <p:nvSpPr>
            <p:cNvPr id="401" name="Hexágono 400">
              <a:extLst>
                <a:ext uri="{FF2B5EF4-FFF2-40B4-BE49-F238E27FC236}">
                  <a16:creationId xmlns:a16="http://schemas.microsoft.com/office/drawing/2014/main" id="{D7FDFBE2-8CA0-D389-4E2F-42C2F94857E5}"/>
                </a:ext>
              </a:extLst>
            </p:cNvPr>
            <p:cNvSpPr/>
            <p:nvPr/>
          </p:nvSpPr>
          <p:spPr>
            <a:xfrm>
              <a:off x="10619990" y="2597138"/>
              <a:ext cx="283883" cy="252000"/>
            </a:xfrm>
            <a:prstGeom prst="hexagon">
              <a:avLst/>
            </a:prstGeom>
            <a:solidFill>
              <a:srgbClr val="EA7523"/>
            </a:solidFill>
            <a:ln w="5715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pt-BR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402" name="CaixaDeTexto 401">
              <a:extLst>
                <a:ext uri="{FF2B5EF4-FFF2-40B4-BE49-F238E27FC236}">
                  <a16:creationId xmlns:a16="http://schemas.microsoft.com/office/drawing/2014/main" id="{2623CC5A-31E2-CA12-176A-25B662C721DC}"/>
                </a:ext>
              </a:extLst>
            </p:cNvPr>
            <p:cNvSpPr txBox="1"/>
            <p:nvPr/>
          </p:nvSpPr>
          <p:spPr>
            <a:xfrm>
              <a:off x="10110668" y="2846503"/>
              <a:ext cx="134137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endParaRPr lang="pt-BR" sz="1600" b="1" kern="0">
                <a:solidFill>
                  <a:srgbClr val="00B050"/>
                </a:solidFill>
                <a:latin typeface="Itau Display XBold" panose="020B0803020204020204" pitchFamily="34" charset="0"/>
                <a:cs typeface="Itau Display XBold" panose="020B0803020204020204" pitchFamily="34" charset="0"/>
              </a:endParaRPr>
            </a:p>
          </p:txBody>
        </p:sp>
        <p:sp>
          <p:nvSpPr>
            <p:cNvPr id="403" name="Isosceles Triangle 1">
              <a:extLst>
                <a:ext uri="{FF2B5EF4-FFF2-40B4-BE49-F238E27FC236}">
                  <a16:creationId xmlns:a16="http://schemas.microsoft.com/office/drawing/2014/main" id="{CA870F5A-DFAC-A440-7697-D7765C6542E2}"/>
                </a:ext>
              </a:extLst>
            </p:cNvPr>
            <p:cNvSpPr/>
            <p:nvPr/>
          </p:nvSpPr>
          <p:spPr>
            <a:xfrm>
              <a:off x="10156014" y="2926894"/>
              <a:ext cx="1260141" cy="457198"/>
            </a:xfrm>
            <a:custGeom>
              <a:avLst/>
              <a:gdLst/>
              <a:ahLst/>
              <a:cxnLst/>
              <a:rect l="l" t="t" r="r" b="b"/>
              <a:pathLst>
                <a:path w="1080000" h="1368874">
                  <a:moveTo>
                    <a:pt x="1080000" y="1368874"/>
                  </a:moveTo>
                  <a:lnTo>
                    <a:pt x="0" y="1368874"/>
                  </a:lnTo>
                  <a:lnTo>
                    <a:pt x="0" y="288874"/>
                  </a:lnTo>
                  <a:lnTo>
                    <a:pt x="372453" y="288874"/>
                  </a:lnTo>
                  <a:lnTo>
                    <a:pt x="540000" y="0"/>
                  </a:lnTo>
                  <a:lnTo>
                    <a:pt x="707547" y="288874"/>
                  </a:lnTo>
                  <a:lnTo>
                    <a:pt x="1080000" y="288874"/>
                  </a:lnTo>
                  <a:close/>
                </a:path>
              </a:pathLst>
            </a:custGeom>
            <a:solidFill>
              <a:srgbClr val="404040"/>
            </a:solidFill>
            <a:ln w="889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286">
                <a:defRPr/>
              </a:pPr>
              <a:endParaRPr lang="ko-KR" altLang="en-US" sz="2700" kern="0">
                <a:solidFill>
                  <a:prstClr val="white"/>
                </a:solidFill>
                <a:latin typeface="Calibri" panose="020F0502020204030204"/>
                <a:ea typeface="맑은 고딕" panose="020B0503020000020004" pitchFamily="34" charset="-127"/>
              </a:endParaRPr>
            </a:p>
          </p:txBody>
        </p:sp>
        <p:sp>
          <p:nvSpPr>
            <p:cNvPr id="404" name="CaixaDeTexto 403">
              <a:extLst>
                <a:ext uri="{FF2B5EF4-FFF2-40B4-BE49-F238E27FC236}">
                  <a16:creationId xmlns:a16="http://schemas.microsoft.com/office/drawing/2014/main" id="{AF4D8C3A-DDAA-457E-CCAA-8B4F70E02256}"/>
                </a:ext>
              </a:extLst>
            </p:cNvPr>
            <p:cNvSpPr txBox="1"/>
            <p:nvPr/>
          </p:nvSpPr>
          <p:spPr>
            <a:xfrm>
              <a:off x="10041569" y="3052336"/>
              <a:ext cx="151870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pt-BR" sz="1400" kern="0" dirty="0">
                  <a:solidFill>
                    <a:prstClr val="white"/>
                  </a:solidFill>
                  <a:latin typeface="Itau Display Light" panose="020B0403020204020204" pitchFamily="34" charset="0"/>
                  <a:cs typeface="Itau Display Light" panose="020B0403020204020204" pitchFamily="34" charset="0"/>
                </a:rPr>
                <a:t>experiência</a:t>
              </a:r>
            </a:p>
          </p:txBody>
        </p:sp>
      </p:grpSp>
      <p:pic>
        <p:nvPicPr>
          <p:cNvPr id="464" name="Imagem 463">
            <a:extLst>
              <a:ext uri="{FF2B5EF4-FFF2-40B4-BE49-F238E27FC236}">
                <a16:creationId xmlns:a16="http://schemas.microsoft.com/office/drawing/2014/main" id="{36460773-5B91-BA5E-A42E-C0BA1AC36EE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390" r="6829" b="19356"/>
          <a:stretch/>
        </p:blipFill>
        <p:spPr>
          <a:xfrm>
            <a:off x="342775" y="3018198"/>
            <a:ext cx="11543065" cy="3065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02557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>
            <a:extLst>
              <a:ext uri="{FF2B5EF4-FFF2-40B4-BE49-F238E27FC236}">
                <a16:creationId xmlns:a16="http://schemas.microsoft.com/office/drawing/2014/main" id="{93CE8142-24D3-2959-D5DC-5BCD90E7CFC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666" r="4791" b="2778"/>
          <a:stretch/>
        </p:blipFill>
        <p:spPr>
          <a:xfrm>
            <a:off x="0" y="-1"/>
            <a:ext cx="12192000" cy="6883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192265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Imagem relacionada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479550" y="-1277506"/>
            <a:ext cx="14452600" cy="8930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aixaDeTexto 4"/>
          <p:cNvSpPr txBox="1"/>
          <p:nvPr/>
        </p:nvSpPr>
        <p:spPr>
          <a:xfrm>
            <a:off x="-2742445" y="394276"/>
            <a:ext cx="7924045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000" b="0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  </a:t>
            </a:r>
            <a:r>
              <a:rPr kumimoji="0" lang="pt-BR" sz="40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Sonhando grande,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0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começando pequeno e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0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crescendo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0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Itau Display Light" panose="020B0403020204020204" pitchFamily="34" charset="0"/>
                <a:ea typeface="+mn-ea"/>
                <a:cs typeface="Itau Display Light" panose="020B0403020204020204" pitchFamily="34" charset="0"/>
              </a:rPr>
              <a:t>aceleradamente!</a:t>
            </a:r>
          </a:p>
        </p:txBody>
      </p:sp>
      <p:sp>
        <p:nvSpPr>
          <p:cNvPr id="6" name="Retângulo 5"/>
          <p:cNvSpPr/>
          <p:nvPr/>
        </p:nvSpPr>
        <p:spPr>
          <a:xfrm>
            <a:off x="5181600" y="2074947"/>
            <a:ext cx="915635" cy="18620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5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Itau Display Black" panose="020B0903020204020204" pitchFamily="34" charset="0"/>
                <a:ea typeface="+mn-ea"/>
                <a:cs typeface="Itau Display Black" panose="020B0903020204020204" pitchFamily="34" charset="0"/>
              </a:rPr>
              <a:t>”</a:t>
            </a:r>
            <a:endParaRPr kumimoji="0" lang="pt-BR" sz="115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Itau Display Black" panose="020B0903020204020204" pitchFamily="34" charset="0"/>
              <a:ea typeface="+mn-ea"/>
              <a:cs typeface="Itau Display Black" panose="020B0903020204020204" pitchFamily="34" charset="0"/>
            </a:endParaRPr>
          </a:p>
        </p:txBody>
      </p:sp>
      <p:sp>
        <p:nvSpPr>
          <p:cNvPr id="7" name="Retângulo 6"/>
          <p:cNvSpPr/>
          <p:nvPr/>
        </p:nvSpPr>
        <p:spPr>
          <a:xfrm>
            <a:off x="155535" y="-190500"/>
            <a:ext cx="1159292" cy="18620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5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Itau Display Black" panose="020B0903020204020204" pitchFamily="34" charset="0"/>
                <a:ea typeface="+mn-ea"/>
                <a:cs typeface="Itau Display Black" panose="020B0903020204020204" pitchFamily="34" charset="0"/>
              </a:rPr>
              <a:t> “</a:t>
            </a:r>
          </a:p>
        </p:txBody>
      </p:sp>
      <p:sp>
        <p:nvSpPr>
          <p:cNvPr id="8" name="Espaço Reservado para Texto 1"/>
          <p:cNvSpPr txBox="1">
            <a:spLocks/>
          </p:cNvSpPr>
          <p:nvPr/>
        </p:nvSpPr>
        <p:spPr>
          <a:xfrm>
            <a:off x="354411" y="6263174"/>
            <a:ext cx="10224161" cy="44078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#HRL</a:t>
            </a:r>
          </a:p>
        </p:txBody>
      </p:sp>
    </p:spTree>
    <p:extLst>
      <p:ext uri="{BB962C8B-B14F-4D97-AF65-F5344CB8AC3E}">
        <p14:creationId xmlns:p14="http://schemas.microsoft.com/office/powerpoint/2010/main" val="4199942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>
            <a:extLst>
              <a:ext uri="{FF2B5EF4-FFF2-40B4-BE49-F238E27FC236}">
                <a16:creationId xmlns:a16="http://schemas.microsoft.com/office/drawing/2014/main" id="{B1A9624F-F0FD-3DE5-109C-585437F57F8F}"/>
              </a:ext>
            </a:extLst>
          </p:cNvPr>
          <p:cNvSpPr txBox="1"/>
          <p:nvPr/>
        </p:nvSpPr>
        <p:spPr>
          <a:xfrm>
            <a:off x="9151731" y="4235190"/>
            <a:ext cx="2998224" cy="6606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 Condensed Bold"/>
              </a:rPr>
              <a:t>https://www.linkedin.com/in/heitorruizleonel/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B4C70208-5E22-FA1D-2C38-7F77920A89B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530" y="2463408"/>
            <a:ext cx="2230060" cy="1931185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7174" name="Picture 6">
            <a:extLst>
              <a:ext uri="{FF2B5EF4-FFF2-40B4-BE49-F238E27FC236}">
                <a16:creationId xmlns:a16="http://schemas.microsoft.com/office/drawing/2014/main" id="{FE3F0208-63E2-77B1-0733-801517A867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4167" y="2732324"/>
            <a:ext cx="1393352" cy="1393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m 5" descr="Código QR&#10;&#10;Descrição gerada automaticamente">
            <a:extLst>
              <a:ext uri="{FF2B5EF4-FFF2-40B4-BE49-F238E27FC236}">
                <a16:creationId xmlns:a16="http://schemas.microsoft.com/office/drawing/2014/main" id="{CAFC4D16-EEC9-F46F-F348-4C35D69BA06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2016" y="539914"/>
            <a:ext cx="6067968" cy="5778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047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>
            <a:extLst>
              <a:ext uri="{FF2B5EF4-FFF2-40B4-BE49-F238E27FC236}">
                <a16:creationId xmlns:a16="http://schemas.microsoft.com/office/drawing/2014/main" id="{37105D94-9608-BD3C-F390-188F4D68EBCE}"/>
              </a:ext>
            </a:extLst>
          </p:cNvPr>
          <p:cNvSpPr/>
          <p:nvPr/>
        </p:nvSpPr>
        <p:spPr>
          <a:xfrm>
            <a:off x="6770523" y="3542527"/>
            <a:ext cx="5419890" cy="3316251"/>
          </a:xfrm>
          <a:prstGeom prst="rect">
            <a:avLst/>
          </a:prstGeom>
          <a:gradFill>
            <a:gsLst>
              <a:gs pos="100000">
                <a:schemeClr val="bg2">
                  <a:lumMod val="85000"/>
                </a:schemeClr>
              </a:gs>
              <a:gs pos="61000">
                <a:schemeClr val="bg1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607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>
              <a:solidFill>
                <a:srgbClr val="FFFFFF"/>
              </a:solidFill>
              <a:latin typeface="Lato Light"/>
            </a:endParaRP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6E06CF65-7933-E41E-5574-5DB51519A38F}"/>
              </a:ext>
            </a:extLst>
          </p:cNvPr>
          <p:cNvSpPr/>
          <p:nvPr/>
        </p:nvSpPr>
        <p:spPr>
          <a:xfrm rot="10800000">
            <a:off x="1587" y="-1360"/>
            <a:ext cx="5419890" cy="3316251"/>
          </a:xfrm>
          <a:prstGeom prst="rect">
            <a:avLst/>
          </a:prstGeom>
          <a:gradFill>
            <a:gsLst>
              <a:gs pos="100000">
                <a:schemeClr val="bg2">
                  <a:lumMod val="85000"/>
                </a:schemeClr>
              </a:gs>
              <a:gs pos="61000">
                <a:schemeClr val="bg1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607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>
              <a:solidFill>
                <a:srgbClr val="FFFFFF"/>
              </a:solidFill>
              <a:latin typeface="Lato Light"/>
            </a:endParaRPr>
          </a:p>
        </p:txBody>
      </p:sp>
      <p:sp>
        <p:nvSpPr>
          <p:cNvPr id="7" name="Freeform: Shape 12">
            <a:extLst>
              <a:ext uri="{FF2B5EF4-FFF2-40B4-BE49-F238E27FC236}">
                <a16:creationId xmlns:a16="http://schemas.microsoft.com/office/drawing/2014/main" id="{0EC09ED0-375D-AC2D-50C1-2A759F06F031}"/>
              </a:ext>
            </a:extLst>
          </p:cNvPr>
          <p:cNvSpPr/>
          <p:nvPr/>
        </p:nvSpPr>
        <p:spPr>
          <a:xfrm>
            <a:off x="9594849" y="152400"/>
            <a:ext cx="3389313" cy="6858000"/>
          </a:xfrm>
          <a:custGeom>
            <a:avLst/>
            <a:gdLst>
              <a:gd name="connsiteX0" fmla="*/ 10388351 w 13918267"/>
              <a:gd name="connsiteY0" fmla="*/ 0 h 13715998"/>
              <a:gd name="connsiteX1" fmla="*/ 13918267 w 13918267"/>
              <a:gd name="connsiteY1" fmla="*/ 0 h 13715998"/>
              <a:gd name="connsiteX2" fmla="*/ 13918267 w 13918267"/>
              <a:gd name="connsiteY2" fmla="*/ 2089359 h 13715998"/>
              <a:gd name="connsiteX3" fmla="*/ 5112374 w 13918267"/>
              <a:gd name="connsiteY3" fmla="*/ 13715998 h 13715998"/>
              <a:gd name="connsiteX4" fmla="*/ 0 w 13918267"/>
              <a:gd name="connsiteY4" fmla="*/ 13715998 h 13715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18267" h="13715998">
                <a:moveTo>
                  <a:pt x="10388351" y="0"/>
                </a:moveTo>
                <a:lnTo>
                  <a:pt x="13918267" y="0"/>
                </a:lnTo>
                <a:lnTo>
                  <a:pt x="13918267" y="2089359"/>
                </a:lnTo>
                <a:lnTo>
                  <a:pt x="5112374" y="13715998"/>
                </a:lnTo>
                <a:lnTo>
                  <a:pt x="0" y="13715998"/>
                </a:lnTo>
                <a:close/>
              </a:path>
            </a:pathLst>
          </a:custGeom>
          <a:solidFill>
            <a:srgbClr val="8F5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217">
              <a:defRPr/>
            </a:pPr>
            <a:endParaRPr lang="ru-RU">
              <a:solidFill>
                <a:srgbClr val="FFFFFF"/>
              </a:solidFill>
              <a:latin typeface="Lato Light"/>
            </a:endParaRP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A0FE0BCC-BF14-1EA0-027A-20957CAE494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5300" y="-152400"/>
            <a:ext cx="1790700" cy="1790700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7923CA2E-7DD8-20D4-2E35-76D17957BA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300" y="1658534"/>
            <a:ext cx="3177336" cy="2703218"/>
          </a:xfrm>
          <a:prstGeom prst="rect">
            <a:avLst/>
          </a:prstGeom>
        </p:spPr>
      </p:pic>
      <p:sp>
        <p:nvSpPr>
          <p:cNvPr id="17" name="CaixaDeTexto 16">
            <a:extLst>
              <a:ext uri="{FF2B5EF4-FFF2-40B4-BE49-F238E27FC236}">
                <a16:creationId xmlns:a16="http://schemas.microsoft.com/office/drawing/2014/main" id="{19CC8B37-D093-B29D-251D-516543578779}"/>
              </a:ext>
            </a:extLst>
          </p:cNvPr>
          <p:cNvSpPr txBox="1"/>
          <p:nvPr/>
        </p:nvSpPr>
        <p:spPr>
          <a:xfrm>
            <a:off x="3890031" y="1686704"/>
            <a:ext cx="5516728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algn="l" rtl="0" fontAlgn="base"/>
            <a:r>
              <a:rPr lang="pt-BR" sz="2400" b="0" i="0" u="none" strike="noStrike" dirty="0">
                <a:solidFill>
                  <a:srgbClr val="7C2AE8"/>
                </a:solidFill>
                <a:effectLst/>
                <a:latin typeface="Poppins" panose="00000500000000000000" pitchFamily="2" charset="0"/>
              </a:rPr>
              <a:t>Treinamento:</a:t>
            </a:r>
            <a:br>
              <a:rPr lang="pt-BR" sz="3400" b="1" i="0" u="none" strike="noStrike" dirty="0">
                <a:solidFill>
                  <a:srgbClr val="7C2AE8"/>
                </a:solidFill>
                <a:effectLst/>
                <a:latin typeface="Poppins" panose="00000500000000000000" pitchFamily="2" charset="0"/>
              </a:rPr>
            </a:br>
            <a:r>
              <a:rPr lang="pt-BR" sz="4000" b="1" i="0" u="none" strike="noStrike" dirty="0">
                <a:solidFill>
                  <a:srgbClr val="7C2AE8"/>
                </a:solidFill>
                <a:effectLst/>
                <a:latin typeface="Poppins" panose="00000500000000000000" pitchFamily="2" charset="0"/>
              </a:rPr>
              <a:t>Design </a:t>
            </a:r>
            <a:r>
              <a:rPr lang="pt-BR" sz="4000" b="1" i="0" u="none" strike="noStrike" dirty="0" err="1">
                <a:solidFill>
                  <a:srgbClr val="7C2AE8"/>
                </a:solidFill>
                <a:effectLst/>
                <a:latin typeface="Poppins" panose="00000500000000000000" pitchFamily="2" charset="0"/>
              </a:rPr>
              <a:t>Thinking</a:t>
            </a:r>
            <a:br>
              <a:rPr lang="pt-BR" sz="3400" b="1" i="0" u="none" strike="noStrike" dirty="0">
                <a:solidFill>
                  <a:srgbClr val="7C2AE8"/>
                </a:solidFill>
                <a:effectLst/>
                <a:latin typeface="Poppins" panose="00000500000000000000" pitchFamily="2" charset="0"/>
              </a:rPr>
            </a:br>
            <a:r>
              <a:rPr lang="pt-BR" sz="1400" b="1" i="0" u="none" strike="noStrike" dirty="0">
                <a:solidFill>
                  <a:srgbClr val="7C2AE8"/>
                </a:solidFill>
                <a:effectLst/>
                <a:latin typeface="Poppins" panose="00000500000000000000" pitchFamily="2" charset="0"/>
              </a:rPr>
              <a:t>28</a:t>
            </a:r>
            <a:r>
              <a:rPr lang="pt-BR" sz="1400" b="1" dirty="0">
                <a:solidFill>
                  <a:srgbClr val="7C2AE8"/>
                </a:solidFill>
                <a:latin typeface="Poppins" panose="00000500000000000000" pitchFamily="2" charset="0"/>
              </a:rPr>
              <a:t> de Setembro e 05</a:t>
            </a:r>
            <a:r>
              <a:rPr lang="pt-BR" sz="1400" b="1" i="0" u="none" strike="noStrike" dirty="0">
                <a:solidFill>
                  <a:srgbClr val="7C2AE8"/>
                </a:solidFill>
                <a:effectLst/>
                <a:latin typeface="Poppins" panose="00000500000000000000" pitchFamily="2" charset="0"/>
              </a:rPr>
              <a:t> de Outubro | 16 horas totais | Presencial em SP na Av. Paulista</a:t>
            </a:r>
          </a:p>
          <a:p>
            <a:pPr marL="0" marR="0" indent="0" algn="l" rtl="0" fontAlgn="base"/>
            <a:endParaRPr lang="pt-BR" sz="1400" b="1" i="0" u="none" strike="noStrike" dirty="0">
              <a:solidFill>
                <a:srgbClr val="7C2AE8"/>
              </a:solidFill>
              <a:effectLst/>
              <a:latin typeface="Itau Display Light"/>
            </a:endParaRPr>
          </a:p>
          <a:p>
            <a:pPr marL="0" marR="0" indent="0" algn="l" rtl="0" fontAlgn="base"/>
            <a:r>
              <a:rPr lang="pt-BR" sz="1400" b="0" i="0" dirty="0">
                <a:solidFill>
                  <a:srgbClr val="374151"/>
                </a:solidFill>
                <a:effectLst/>
                <a:latin typeface="Söhne"/>
              </a:rPr>
              <a:t>Desenvol</a:t>
            </a:r>
            <a:r>
              <a:rPr lang="pt-BR" sz="1400" dirty="0">
                <a:solidFill>
                  <a:srgbClr val="374151"/>
                </a:solidFill>
                <a:latin typeface="Söhne"/>
              </a:rPr>
              <a:t>va habilidades de empatia, pensamento crítico e prototipagem rápida para solucionar problemas complexos de forma inovadora. Descubra como esta abordagem pode impulsionar sua carreira e os seus projetos.</a:t>
            </a: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5A493CEF-6600-4A9B-951B-6BA2E4BCA05E}"/>
              </a:ext>
            </a:extLst>
          </p:cNvPr>
          <p:cNvSpPr txBox="1"/>
          <p:nvPr/>
        </p:nvSpPr>
        <p:spPr>
          <a:xfrm>
            <a:off x="602978" y="5769427"/>
            <a:ext cx="9099549" cy="369332"/>
          </a:xfrm>
          <a:prstGeom prst="rect">
            <a:avLst/>
          </a:prstGeom>
          <a:solidFill>
            <a:srgbClr val="00FF00"/>
          </a:solidFill>
        </p:spPr>
        <p:txBody>
          <a:bodyPr wrap="square">
            <a:spAutoFit/>
          </a:bodyPr>
          <a:lstStyle/>
          <a:p>
            <a:r>
              <a:rPr lang="pt-BR" dirty="0">
                <a:solidFill>
                  <a:schemeClr val="accent3"/>
                </a:solidFill>
                <a:latin typeface="Poppins" panose="00000500000000000000" pitchFamily="2" charset="0"/>
              </a:rPr>
              <a:t>Cupom: EBDI_30OFF</a:t>
            </a:r>
            <a:endParaRPr lang="pt-BR" dirty="0">
              <a:solidFill>
                <a:schemeClr val="accent3"/>
              </a:solidFill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2E2AD975-22D4-4F2C-8FAD-C552BB2C9E6C}"/>
              </a:ext>
            </a:extLst>
          </p:cNvPr>
          <p:cNvSpPr/>
          <p:nvPr/>
        </p:nvSpPr>
        <p:spPr>
          <a:xfrm>
            <a:off x="8801100" y="0"/>
            <a:ext cx="3389313" cy="7010400"/>
          </a:xfrm>
          <a:custGeom>
            <a:avLst/>
            <a:gdLst>
              <a:gd name="connsiteX0" fmla="*/ 10388351 w 13918267"/>
              <a:gd name="connsiteY0" fmla="*/ 0 h 13715998"/>
              <a:gd name="connsiteX1" fmla="*/ 13918267 w 13918267"/>
              <a:gd name="connsiteY1" fmla="*/ 0 h 13715998"/>
              <a:gd name="connsiteX2" fmla="*/ 13918267 w 13918267"/>
              <a:gd name="connsiteY2" fmla="*/ 2089359 h 13715998"/>
              <a:gd name="connsiteX3" fmla="*/ 5112374 w 13918267"/>
              <a:gd name="connsiteY3" fmla="*/ 13715998 h 13715998"/>
              <a:gd name="connsiteX4" fmla="*/ 0 w 13918267"/>
              <a:gd name="connsiteY4" fmla="*/ 13715998 h 13715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18267" h="13715998">
                <a:moveTo>
                  <a:pt x="10388351" y="0"/>
                </a:moveTo>
                <a:lnTo>
                  <a:pt x="13918267" y="0"/>
                </a:lnTo>
                <a:lnTo>
                  <a:pt x="13918267" y="2089359"/>
                </a:lnTo>
                <a:lnTo>
                  <a:pt x="5112374" y="13715998"/>
                </a:lnTo>
                <a:lnTo>
                  <a:pt x="0" y="1371599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217">
              <a:defRPr/>
            </a:pPr>
            <a:endParaRPr lang="ru-RU">
              <a:solidFill>
                <a:srgbClr val="FFFFFF"/>
              </a:solidFill>
              <a:latin typeface="Lato Light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63B76F29-EB2C-06E0-FD70-34059F79F8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87804" y="5089019"/>
            <a:ext cx="1713296" cy="1730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45358"/>
      </p:ext>
    </p:extLst>
  </p:cSld>
  <p:clrMapOvr>
    <a:masterClrMapping/>
  </p:clrMapOvr>
  <p:transition spd="slow">
    <p:push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B7D87BC7-5721-3A0E-81A7-D4D98BE62D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4199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3963B58F-0057-24C8-BC15-90962B88BC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6397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7E104686-23AC-1F6C-570D-93665E2CCF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22977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25946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0360CBF0-B745-41D3-FAD7-BCFAC6F5D4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0452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Personalizar 20">
      <a:dk1>
        <a:srgbClr val="000000"/>
      </a:dk1>
      <a:lt1>
        <a:srgbClr val="FEFFFE"/>
      </a:lt1>
      <a:dk2>
        <a:srgbClr val="7B28E7"/>
      </a:dk2>
      <a:lt2>
        <a:srgbClr val="FEFFFE"/>
      </a:lt2>
      <a:accent1>
        <a:srgbClr val="7C29E7"/>
      </a:accent1>
      <a:accent2>
        <a:srgbClr val="FAC401"/>
      </a:accent2>
      <a:accent3>
        <a:srgbClr val="7C29E7"/>
      </a:accent3>
      <a:accent4>
        <a:srgbClr val="ABAFD9"/>
      </a:accent4>
      <a:accent5>
        <a:srgbClr val="CFD9F0"/>
      </a:accent5>
      <a:accent6>
        <a:srgbClr val="090D1A"/>
      </a:accent6>
      <a:hlink>
        <a:srgbClr val="FAC401"/>
      </a:hlink>
      <a:folHlink>
        <a:srgbClr val="8C8C8C"/>
      </a:folHlink>
    </a:clrScheme>
    <a:fontScheme name="Custom 46">
      <a:majorFont>
        <a:latin typeface="Major Mono Display"/>
        <a:ea typeface=""/>
        <a:cs typeface=""/>
      </a:majorFont>
      <a:minorFont>
        <a:latin typeface="Poppi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Laranj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CORES DEFINIDAS - DGA">
    <a:dk1>
      <a:srgbClr val="606163"/>
    </a:dk1>
    <a:lt1>
      <a:sysClr val="window" lastClr="FFFFFF"/>
    </a:lt1>
    <a:dk2>
      <a:srgbClr val="004990"/>
    </a:dk2>
    <a:lt2>
      <a:srgbClr val="F3F3F3"/>
    </a:lt2>
    <a:accent1>
      <a:srgbClr val="606163"/>
    </a:accent1>
    <a:accent2>
      <a:srgbClr val="19458D"/>
    </a:accent2>
    <a:accent3>
      <a:srgbClr val="75C8A2"/>
    </a:accent3>
    <a:accent4>
      <a:srgbClr val="9B9C9D"/>
    </a:accent4>
    <a:accent5>
      <a:srgbClr val="5A89BA"/>
    </a:accent5>
    <a:accent6>
      <a:srgbClr val="A9E0C6"/>
    </a:accent6>
    <a:hlink>
      <a:srgbClr val="FF5900"/>
    </a:hlink>
    <a:folHlink>
      <a:srgbClr val="FF5900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CORES DEFINIDAS - DGA">
    <a:dk1>
      <a:srgbClr val="606163"/>
    </a:dk1>
    <a:lt1>
      <a:sysClr val="window" lastClr="FFFFFF"/>
    </a:lt1>
    <a:dk2>
      <a:srgbClr val="004990"/>
    </a:dk2>
    <a:lt2>
      <a:srgbClr val="F3F3F3"/>
    </a:lt2>
    <a:accent1>
      <a:srgbClr val="606163"/>
    </a:accent1>
    <a:accent2>
      <a:srgbClr val="19458D"/>
    </a:accent2>
    <a:accent3>
      <a:srgbClr val="75C8A2"/>
    </a:accent3>
    <a:accent4>
      <a:srgbClr val="9B9C9D"/>
    </a:accent4>
    <a:accent5>
      <a:srgbClr val="5A89BA"/>
    </a:accent5>
    <a:accent6>
      <a:srgbClr val="A9E0C6"/>
    </a:accent6>
    <a:hlink>
      <a:srgbClr val="FF5900"/>
    </a:hlink>
    <a:folHlink>
      <a:srgbClr val="FF5900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CORES DEFINIDAS - DGA">
    <a:dk1>
      <a:srgbClr val="606163"/>
    </a:dk1>
    <a:lt1>
      <a:sysClr val="window" lastClr="FFFFFF"/>
    </a:lt1>
    <a:dk2>
      <a:srgbClr val="004990"/>
    </a:dk2>
    <a:lt2>
      <a:srgbClr val="F3F3F3"/>
    </a:lt2>
    <a:accent1>
      <a:srgbClr val="606163"/>
    </a:accent1>
    <a:accent2>
      <a:srgbClr val="19458D"/>
    </a:accent2>
    <a:accent3>
      <a:srgbClr val="75C8A2"/>
    </a:accent3>
    <a:accent4>
      <a:srgbClr val="9B9C9D"/>
    </a:accent4>
    <a:accent5>
      <a:srgbClr val="5A89BA"/>
    </a:accent5>
    <a:accent6>
      <a:srgbClr val="A9E0C6"/>
    </a:accent6>
    <a:hlink>
      <a:srgbClr val="FF5900"/>
    </a:hlink>
    <a:folHlink>
      <a:srgbClr val="FF5900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CORES DEFINIDAS - DGA">
    <a:dk1>
      <a:srgbClr val="606163"/>
    </a:dk1>
    <a:lt1>
      <a:sysClr val="window" lastClr="FFFFFF"/>
    </a:lt1>
    <a:dk2>
      <a:srgbClr val="004990"/>
    </a:dk2>
    <a:lt2>
      <a:srgbClr val="F3F3F3"/>
    </a:lt2>
    <a:accent1>
      <a:srgbClr val="606163"/>
    </a:accent1>
    <a:accent2>
      <a:srgbClr val="19458D"/>
    </a:accent2>
    <a:accent3>
      <a:srgbClr val="75C8A2"/>
    </a:accent3>
    <a:accent4>
      <a:srgbClr val="9B9C9D"/>
    </a:accent4>
    <a:accent5>
      <a:srgbClr val="5A89BA"/>
    </a:accent5>
    <a:accent6>
      <a:srgbClr val="A9E0C6"/>
    </a:accent6>
    <a:hlink>
      <a:srgbClr val="FF5900"/>
    </a:hlink>
    <a:folHlink>
      <a:srgbClr val="FF5900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CORES DEFINIDAS - DGA">
    <a:dk1>
      <a:srgbClr val="606163"/>
    </a:dk1>
    <a:lt1>
      <a:sysClr val="window" lastClr="FFFFFF"/>
    </a:lt1>
    <a:dk2>
      <a:srgbClr val="004990"/>
    </a:dk2>
    <a:lt2>
      <a:srgbClr val="F3F3F3"/>
    </a:lt2>
    <a:accent1>
      <a:srgbClr val="606163"/>
    </a:accent1>
    <a:accent2>
      <a:srgbClr val="19458D"/>
    </a:accent2>
    <a:accent3>
      <a:srgbClr val="75C8A2"/>
    </a:accent3>
    <a:accent4>
      <a:srgbClr val="9B9C9D"/>
    </a:accent4>
    <a:accent5>
      <a:srgbClr val="5A89BA"/>
    </a:accent5>
    <a:accent6>
      <a:srgbClr val="A9E0C6"/>
    </a:accent6>
    <a:hlink>
      <a:srgbClr val="FF5900"/>
    </a:hlink>
    <a:folHlink>
      <a:srgbClr val="FF5900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372</TotalTime>
  <Words>4492</Words>
  <Application>Microsoft Office PowerPoint</Application>
  <PresentationFormat>Widescreen</PresentationFormat>
  <Paragraphs>897</Paragraphs>
  <Slides>52</Slides>
  <Notes>20</Notes>
  <HiddenSlides>2</HiddenSlides>
  <MMClips>1</MMClips>
  <ScaleCrop>false</ScaleCrop>
  <HeadingPairs>
    <vt:vector size="8" baseType="variant">
      <vt:variant>
        <vt:lpstr>Fontes usadas</vt:lpstr>
      </vt:variant>
      <vt:variant>
        <vt:i4>34</vt:i4>
      </vt:variant>
      <vt:variant>
        <vt:lpstr>Tema</vt:lpstr>
      </vt:variant>
      <vt:variant>
        <vt:i4>3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52</vt:i4>
      </vt:variant>
    </vt:vector>
  </HeadingPairs>
  <TitlesOfParts>
    <vt:vector size="90" baseType="lpstr">
      <vt:lpstr>Aptos</vt:lpstr>
      <vt:lpstr>Aptos Display</vt:lpstr>
      <vt:lpstr>Arial</vt:lpstr>
      <vt:lpstr>Calibri</vt:lpstr>
      <vt:lpstr>Calibri Light</vt:lpstr>
      <vt:lpstr>DIN Alternate Bold</vt:lpstr>
      <vt:lpstr>DIN Condensed Bold</vt:lpstr>
      <vt:lpstr>Gill Sans</vt:lpstr>
      <vt:lpstr>Helvetica Neue</vt:lpstr>
      <vt:lpstr>Itau Display</vt:lpstr>
      <vt:lpstr>Itau Display </vt:lpstr>
      <vt:lpstr>Itau Display    </vt:lpstr>
      <vt:lpstr>Itau Display Black</vt:lpstr>
      <vt:lpstr>Itau Display Bold</vt:lpstr>
      <vt:lpstr>Itau Display Heavy</vt:lpstr>
      <vt:lpstr>Itau Display Light</vt:lpstr>
      <vt:lpstr>Itau Display Pro</vt:lpstr>
      <vt:lpstr>Itau Display Pro App</vt:lpstr>
      <vt:lpstr>Itau Display Pro App Black</vt:lpstr>
      <vt:lpstr>Itau Display Pro App XBold</vt:lpstr>
      <vt:lpstr>Itau Display Pro Bold</vt:lpstr>
      <vt:lpstr>Itau Display Pro Heavy</vt:lpstr>
      <vt:lpstr>Itau Display Pro Regular</vt:lpstr>
      <vt:lpstr>Itau Display XBold</vt:lpstr>
      <vt:lpstr>Itau Text</vt:lpstr>
      <vt:lpstr>Itau Text Light</vt:lpstr>
      <vt:lpstr>Itau Text XBold</vt:lpstr>
      <vt:lpstr>Lato Light</vt:lpstr>
      <vt:lpstr>Montserrat-BoldItalic</vt:lpstr>
      <vt:lpstr>Montserrat-LightItalic</vt:lpstr>
      <vt:lpstr>Poppins</vt:lpstr>
      <vt:lpstr>Poppins Light</vt:lpstr>
      <vt:lpstr>rawline</vt:lpstr>
      <vt:lpstr>Söhne</vt:lpstr>
      <vt:lpstr>Tema do Office</vt:lpstr>
      <vt:lpstr>Office Theme</vt:lpstr>
      <vt:lpstr>Tema Laranja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_clientes PF</vt:lpstr>
      <vt:lpstr>Apresentação do PowerPoint</vt:lpstr>
      <vt:lpstr>Apresentação do PowerPoint</vt:lpstr>
      <vt:lpstr>_evolução do acompanhamento da satisfação dos clientes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Heitor Ruiz Leonel</dc:creator>
  <cp:lastModifiedBy>Heitor Ruiz Leonel</cp:lastModifiedBy>
  <cp:revision>9</cp:revision>
  <dcterms:created xsi:type="dcterms:W3CDTF">2024-08-06T01:18:15Z</dcterms:created>
  <dcterms:modified xsi:type="dcterms:W3CDTF">2024-08-07T00:23:39Z</dcterms:modified>
</cp:coreProperties>
</file>